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9.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0.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1.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2.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tags/tag16.xml" ContentType="application/vnd.openxmlformats-officedocument.presentationml.tags+xml"/>
  <Override PartName="/ppt/media/image139.jpg" ContentType="image/jp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63" r:id="rId1"/>
    <p:sldMasterId id="2147483677" r:id="rId2"/>
    <p:sldMasterId id="2147483683" r:id="rId3"/>
    <p:sldMasterId id="2147483689" r:id="rId4"/>
    <p:sldMasterId id="2147483696" r:id="rId5"/>
    <p:sldMasterId id="2147483705" r:id="rId6"/>
    <p:sldMasterId id="2147483714" r:id="rId7"/>
    <p:sldMasterId id="2147483723" r:id="rId8"/>
    <p:sldMasterId id="2147483732" r:id="rId9"/>
    <p:sldMasterId id="2147483741" r:id="rId10"/>
    <p:sldMasterId id="2147483748" r:id="rId11"/>
    <p:sldMasterId id="2147483755" r:id="rId12"/>
    <p:sldMasterId id="2147483762" r:id="rId13"/>
    <p:sldMasterId id="2147483769" r:id="rId14"/>
    <p:sldMasterId id="2147483776" r:id="rId15"/>
  </p:sldMasterIdLst>
  <p:notesMasterIdLst>
    <p:notesMasterId r:id="rId30"/>
  </p:notesMasterIdLst>
  <p:handoutMasterIdLst>
    <p:handoutMasterId r:id="rId31"/>
  </p:handoutMasterIdLst>
  <p:sldIdLst>
    <p:sldId id="430" r:id="rId16"/>
    <p:sldId id="1015" r:id="rId17"/>
    <p:sldId id="1016" r:id="rId18"/>
    <p:sldId id="1017" r:id="rId19"/>
    <p:sldId id="1019" r:id="rId20"/>
    <p:sldId id="1022" r:id="rId21"/>
    <p:sldId id="1023" r:id="rId22"/>
    <p:sldId id="1032" r:id="rId23"/>
    <p:sldId id="1033" r:id="rId24"/>
    <p:sldId id="1034" r:id="rId25"/>
    <p:sldId id="1035" r:id="rId26"/>
    <p:sldId id="1036" r:id="rId27"/>
    <p:sldId id="1037" r:id="rId28"/>
    <p:sldId id="423" r:id="rId29"/>
  </p:sldIdLst>
  <p:sldSz cx="12438063" cy="6996113"/>
  <p:notesSz cx="6858000" cy="9144000"/>
  <p:defaultTextStyle>
    <a:defPPr>
      <a:defRPr lang="en-US"/>
    </a:defPPr>
    <a:lvl1pPr marL="0" algn="l" defTabSz="1243330" rtl="0" eaLnBrk="1" latinLnBrk="0" hangingPunct="1">
      <a:defRPr sz="2400" kern="1200">
        <a:solidFill>
          <a:schemeClr val="tx1"/>
        </a:solidFill>
        <a:latin typeface="+mn-lt"/>
        <a:ea typeface="+mn-ea"/>
        <a:cs typeface="+mn-cs"/>
      </a:defRPr>
    </a:lvl1pPr>
    <a:lvl2pPr marL="621665" algn="l" defTabSz="1243330" rtl="0" eaLnBrk="1" latinLnBrk="0" hangingPunct="1">
      <a:defRPr sz="2400" kern="1200">
        <a:solidFill>
          <a:schemeClr val="tx1"/>
        </a:solidFill>
        <a:latin typeface="+mn-lt"/>
        <a:ea typeface="+mn-ea"/>
        <a:cs typeface="+mn-cs"/>
      </a:defRPr>
    </a:lvl2pPr>
    <a:lvl3pPr marL="1243330" algn="l" defTabSz="1243330" rtl="0" eaLnBrk="1" latinLnBrk="0" hangingPunct="1">
      <a:defRPr sz="2400" kern="1200">
        <a:solidFill>
          <a:schemeClr val="tx1"/>
        </a:solidFill>
        <a:latin typeface="+mn-lt"/>
        <a:ea typeface="+mn-ea"/>
        <a:cs typeface="+mn-cs"/>
      </a:defRPr>
    </a:lvl3pPr>
    <a:lvl4pPr marL="1865630" algn="l" defTabSz="1243330" rtl="0" eaLnBrk="1" latinLnBrk="0" hangingPunct="1">
      <a:defRPr sz="2400" kern="1200">
        <a:solidFill>
          <a:schemeClr val="tx1"/>
        </a:solidFill>
        <a:latin typeface="+mn-lt"/>
        <a:ea typeface="+mn-ea"/>
        <a:cs typeface="+mn-cs"/>
      </a:defRPr>
    </a:lvl4pPr>
    <a:lvl5pPr marL="2487295" algn="l" defTabSz="1243330" rtl="0" eaLnBrk="1" latinLnBrk="0" hangingPunct="1">
      <a:defRPr sz="2400" kern="1200">
        <a:solidFill>
          <a:schemeClr val="tx1"/>
        </a:solidFill>
        <a:latin typeface="+mn-lt"/>
        <a:ea typeface="+mn-ea"/>
        <a:cs typeface="+mn-cs"/>
      </a:defRPr>
    </a:lvl5pPr>
    <a:lvl6pPr marL="3108960" algn="l" defTabSz="1243330" rtl="0" eaLnBrk="1" latinLnBrk="0" hangingPunct="1">
      <a:defRPr sz="2400" kern="1200">
        <a:solidFill>
          <a:schemeClr val="tx1"/>
        </a:solidFill>
        <a:latin typeface="+mn-lt"/>
        <a:ea typeface="+mn-ea"/>
        <a:cs typeface="+mn-cs"/>
      </a:defRPr>
    </a:lvl6pPr>
    <a:lvl7pPr marL="3730625" algn="l" defTabSz="1243330" rtl="0" eaLnBrk="1" latinLnBrk="0" hangingPunct="1">
      <a:defRPr sz="2400" kern="1200">
        <a:solidFill>
          <a:schemeClr val="tx1"/>
        </a:solidFill>
        <a:latin typeface="+mn-lt"/>
        <a:ea typeface="+mn-ea"/>
        <a:cs typeface="+mn-cs"/>
      </a:defRPr>
    </a:lvl7pPr>
    <a:lvl8pPr marL="4352290" algn="l" defTabSz="1243330" rtl="0" eaLnBrk="1" latinLnBrk="0" hangingPunct="1">
      <a:defRPr sz="2400" kern="1200">
        <a:solidFill>
          <a:schemeClr val="tx1"/>
        </a:solidFill>
        <a:latin typeface="+mn-lt"/>
        <a:ea typeface="+mn-ea"/>
        <a:cs typeface="+mn-cs"/>
      </a:defRPr>
    </a:lvl8pPr>
    <a:lvl9pPr marL="4973955" algn="l" defTabSz="124333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6" userDrawn="1">
          <p15:clr>
            <a:srgbClr val="A4A3A4"/>
          </p15:clr>
        </p15:guide>
        <p15:guide id="2" pos="430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5B4A"/>
    <a:srgbClr val="FDD78A"/>
    <a:srgbClr val="2E5751"/>
    <a:srgbClr val="214A46"/>
    <a:srgbClr val="99CCFF"/>
    <a:srgbClr val="0000CC"/>
    <a:srgbClr val="0072C5"/>
    <a:srgbClr val="CEE6FD"/>
    <a:srgbClr val="DBEEF4"/>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897" autoAdjust="0"/>
    <p:restoredTop sz="93803" autoAdjust="0"/>
  </p:normalViewPr>
  <p:slideViewPr>
    <p:cSldViewPr>
      <p:cViewPr varScale="1">
        <p:scale>
          <a:sx n="68" d="100"/>
          <a:sy n="68" d="100"/>
        </p:scale>
        <p:origin x="606" y="78"/>
      </p:cViewPr>
      <p:guideLst>
        <p:guide orient="horz" pos="2156"/>
        <p:guide pos="4302"/>
      </p:guideLst>
    </p:cSldViewPr>
  </p:slideViewPr>
  <p:notesTextViewPr>
    <p:cViewPr>
      <p:scale>
        <a:sx n="100" d="100"/>
        <a:sy n="100" d="100"/>
      </p:scale>
      <p:origin x="0" y="0"/>
    </p:cViewPr>
  </p:notesTextViewPr>
  <p:notesViewPr>
    <p:cSldViewPr>
      <p:cViewPr varScale="1">
        <p:scale>
          <a:sx n="57" d="100"/>
          <a:sy n="57" d="100"/>
        </p:scale>
        <p:origin x="2832"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ennie%20Sun\Desktop\20200207&#12304;&#24180;&#25253;&#12305;\&#36130;&#21153;&#25968;&#25454;\CSI%202019&#24180;&#25253;-&#25968;&#25454;0325&#26089;&#29256;&#2641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97796432319"/>
          <c:y val="0.249888143176734"/>
          <c:w val="0.81812346466583397"/>
          <c:h val="0.63297539149888105"/>
        </c:manualLayout>
      </c:layout>
      <c:barChart>
        <c:barDir val="col"/>
        <c:grouping val="clustered"/>
        <c:varyColors val="0"/>
        <c:ser>
          <c:idx val="0"/>
          <c:order val="0"/>
          <c:tx>
            <c:strRef>
              <c:f>'员工&amp;收入'!$T$4</c:f>
              <c:strCache>
                <c:ptCount val="1"/>
                <c:pt idx="0">
                  <c:v> 总收入 </c:v>
                </c:pt>
              </c:strCache>
            </c:strRef>
          </c:tx>
          <c:spPr>
            <a:solidFill>
              <a:schemeClr val="accent1"/>
            </a:solidFill>
            <a:ln>
              <a:noFill/>
            </a:ln>
            <a:effectLst/>
          </c:spPr>
          <c:invertIfNegative val="0"/>
          <c:cat>
            <c:numRef>
              <c:f>'员工&amp;收入'!$U$1:$AK$1</c:f>
              <c:numCache>
                <c:formatCode>General</c:formatCode>
                <c:ptCount val="17"/>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pt idx="15">
                  <c:v>2018</c:v>
                </c:pt>
                <c:pt idx="16">
                  <c:v>2019</c:v>
                </c:pt>
              </c:numCache>
            </c:numRef>
          </c:cat>
          <c:val>
            <c:numRef>
              <c:f>'员工&amp;收入'!$U$4:$AK$4</c:f>
              <c:numCache>
                <c:formatCode>_ * #,##0_ ;_ * \-#,##0_ ;_ * "-"??_ ;_ @_ </c:formatCode>
                <c:ptCount val="17"/>
                <c:pt idx="0">
                  <c:v>166</c:v>
                </c:pt>
                <c:pt idx="1">
                  <c:v>294</c:v>
                </c:pt>
                <c:pt idx="2">
                  <c:v>383</c:v>
                </c:pt>
                <c:pt idx="3">
                  <c:v>355</c:v>
                </c:pt>
                <c:pt idx="4">
                  <c:v>812</c:v>
                </c:pt>
                <c:pt idx="5">
                  <c:v>983</c:v>
                </c:pt>
                <c:pt idx="6">
                  <c:v>1105</c:v>
                </c:pt>
                <c:pt idx="7">
                  <c:v>1601</c:v>
                </c:pt>
                <c:pt idx="8">
                  <c:v>2244</c:v>
                </c:pt>
                <c:pt idx="9">
                  <c:v>2768</c:v>
                </c:pt>
                <c:pt idx="10">
                  <c:v>3206</c:v>
                </c:pt>
                <c:pt idx="11">
                  <c:v>4429.2020000000002</c:v>
                </c:pt>
                <c:pt idx="12">
                  <c:v>5129</c:v>
                </c:pt>
                <c:pt idx="13">
                  <c:v>6783</c:v>
                </c:pt>
                <c:pt idx="14">
                  <c:v>9244</c:v>
                </c:pt>
                <c:pt idx="15">
                  <c:v>10585</c:v>
                </c:pt>
                <c:pt idx="16">
                  <c:v>12042</c:v>
                </c:pt>
              </c:numCache>
            </c:numRef>
          </c:val>
        </c:ser>
        <c:dLbls>
          <c:showLegendKey val="0"/>
          <c:showVal val="0"/>
          <c:showCatName val="0"/>
          <c:showSerName val="0"/>
          <c:showPercent val="0"/>
          <c:showBubbleSize val="0"/>
        </c:dLbls>
        <c:gapWidth val="128"/>
        <c:overlap val="-8"/>
        <c:axId val="193510992"/>
        <c:axId val="193511552"/>
      </c:barChart>
      <c:catAx>
        <c:axId val="193510992"/>
        <c:scaling>
          <c:orientation val="minMax"/>
        </c:scaling>
        <c:delete val="0"/>
        <c:axPos val="b"/>
        <c:numFmt formatCode="General" sourceLinked="0"/>
        <c:majorTickMark val="out"/>
        <c:minorTickMark val="none"/>
        <c:tickLblPos val="nextTo"/>
        <c:spPr>
          <a:noFill/>
          <a:ln w="9525" cap="flat" cmpd="sng" algn="ctr">
            <a:noFill/>
            <a:round/>
          </a:ln>
          <a:effectLst/>
        </c:spPr>
        <c:txPr>
          <a:bodyPr rot="-60000000" spcFirstLastPara="0" vertOverflow="ellipsis" vert="horz" wrap="square" anchor="ctr" anchorCtr="1" forceAA="0"/>
          <a:lstStyle/>
          <a:p>
            <a:pPr>
              <a:defRPr lang="zh-CN"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微软雅黑" panose="020B0503020204020204" pitchFamily="34" charset="-122"/>
                <a:sym typeface="微软雅黑" panose="020B0503020204020204" pitchFamily="34" charset="-122"/>
              </a:defRPr>
            </a:pPr>
            <a:endParaRPr lang="zh-CN"/>
          </a:p>
        </c:txPr>
        <c:crossAx val="193511552"/>
        <c:crosses val="autoZero"/>
        <c:auto val="1"/>
        <c:lblAlgn val="ctr"/>
        <c:lblOffset val="100"/>
        <c:noMultiLvlLbl val="0"/>
      </c:catAx>
      <c:valAx>
        <c:axId val="193511552"/>
        <c:scaling>
          <c:orientation val="minMax"/>
        </c:scaling>
        <c:delete val="0"/>
        <c:axPos val="l"/>
        <c:numFmt formatCode="_ * #,##0_ ;_ * \-#,##0_ ;_ * &quot;-&quot;??_ ;_ @_ " sourceLinked="1"/>
        <c:majorTickMark val="out"/>
        <c:minorTickMark val="none"/>
        <c:tickLblPos val="nextTo"/>
        <c:spPr>
          <a:noFill/>
          <a:ln>
            <a:noFill/>
          </a:ln>
          <a:effectLst/>
        </c:spPr>
        <c:txPr>
          <a:bodyPr rot="-60000000" spcFirstLastPara="0" vertOverflow="ellipsis" vert="horz" wrap="square" anchor="ctr" anchorCtr="1" forceAA="0"/>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193510992"/>
        <c:crosses val="autoZero"/>
        <c:crossBetween val="between"/>
      </c:valAx>
      <c:spPr>
        <a:noFill/>
        <a:ln w="25400">
          <a:noFill/>
        </a:ln>
        <a:effectLst/>
      </c:spPr>
    </c:plotArea>
    <c:legend>
      <c:legendPos val="t"/>
      <c:legendEntry>
        <c:idx val="0"/>
        <c:txPr>
          <a:bodyPr rot="0" spcFirstLastPara="0" vertOverflow="ellipsis" vert="horz" wrap="square" anchor="ctr" anchorCtr="1" forceAA="0"/>
          <a:lstStyle/>
          <a:p>
            <a:pPr>
              <a:defRPr lang="zh-CN" sz="1000" b="0" i="0" u="none" strike="noStrike" kern="1200" baseline="0">
                <a:solidFill>
                  <a:schemeClr val="tx1">
                    <a:lumMod val="65000"/>
                    <a:lumOff val="35000"/>
                  </a:schemeClr>
                </a:solidFill>
                <a:latin typeface="Microsoft YaHei UI Light" panose="020B0502040204020203" pitchFamily="34" charset="-122"/>
                <a:ea typeface="Microsoft YaHei UI Light" panose="020B0502040204020203" pitchFamily="34" charset="-122"/>
                <a:cs typeface="Microsoft YaHei UI Light" panose="020B0502040204020203" pitchFamily="34" charset="-122"/>
                <a:sym typeface="Microsoft YaHei UI Light" panose="020B0502040204020203" pitchFamily="34" charset="-122"/>
              </a:defRPr>
            </a:pPr>
            <a:endParaRPr lang="zh-CN"/>
          </a:p>
        </c:txPr>
      </c:legendEntry>
      <c:layout>
        <c:manualLayout>
          <c:xMode val="edge"/>
          <c:yMode val="edge"/>
          <c:x val="0.11114114658362099"/>
          <c:y val="3.5900562443642599E-2"/>
          <c:w val="0.16219133720145701"/>
          <c:h val="8.7682231143038206E-2"/>
        </c:manualLayout>
      </c:layout>
      <c:overlay val="0"/>
      <c:spPr>
        <a:noFill/>
        <a:ln>
          <a:noFill/>
        </a:ln>
        <a:effectLst/>
      </c:spPr>
      <c:txPr>
        <a:bodyPr rot="0" spcFirstLastPara="0" vertOverflow="ellipsis" vert="horz" wrap="square" anchor="ctr" anchorCtr="1" forceAA="0"/>
        <a:lstStyle/>
        <a:p>
          <a:pPr>
            <a:defRPr lang="zh-CN" sz="1000" b="0" i="0" u="none" strike="noStrike" kern="1200" baseline="0">
              <a:solidFill>
                <a:schemeClr val="tx1">
                  <a:lumMod val="65000"/>
                  <a:lumOff val="35000"/>
                </a:schemeClr>
              </a:solidFill>
              <a:latin typeface="Microsoft YaHei UI Light" panose="020B0502040204020203" pitchFamily="34" charset="-122"/>
              <a:ea typeface="Microsoft YaHei UI Light" panose="020B0502040204020203" pitchFamily="34" charset="-122"/>
              <a:cs typeface="Microsoft YaHei UI Light" panose="020B0502040204020203" pitchFamily="34" charset="-122"/>
              <a:sym typeface="Microsoft YaHei UI Light" panose="020B0502040204020203" pitchFamily="34" charset="-122"/>
            </a:defRPr>
          </a:pPr>
          <a:endParaRPr lang="zh-CN"/>
        </a:p>
      </c:txPr>
    </c:legend>
    <c:plotVisOnly val="1"/>
    <c:dispBlanksAs val="gap"/>
    <c:showDLblsOverMax val="0"/>
  </c:chart>
  <c:spPr>
    <a:solidFill>
      <a:schemeClr val="bg1"/>
    </a:solidFill>
    <a:ln w="9525" cap="flat" cmpd="sng" algn="ctr">
      <a:solidFill>
        <a:schemeClr val="tx1">
          <a:lumMod val="15000"/>
          <a:lumOff val="85000"/>
        </a:schemeClr>
      </a:solidFill>
      <a:round/>
    </a:ln>
    <a:effectLst>
      <a:outerShdw blurRad="63500" dist="37357" dir="2700000" sx="0" sy="0" rotWithShape="0">
        <a:scrgbClr r="0" g="0" b="0"/>
      </a:outerShdw>
    </a:effectLst>
  </c:spPr>
  <c:txPr>
    <a:bodyPr/>
    <a:lstStyle/>
    <a:p>
      <a:pPr>
        <a:defRPr lang="zh-CN"/>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FC70194-960A-0744-B78C-DF57613C89A1}" type="datetimeFigureOut">
              <a:rPr kumimoji="1" lang="zh-CN" altLang="en-US" smtClean="0"/>
              <a:t>2021/10/18</a:t>
            </a:fld>
            <a:endParaRPr kumimoji="1"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5" name="幻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4F3301F-DC51-E442-8CB1-EA26A441D7B7}" type="slidenum">
              <a:rPr kumimoji="1" lang="zh-CN" altLang="en-US" smtClean="0"/>
              <a:t>‹#›</a:t>
            </a:fld>
            <a:endParaRPr kumimoji="1" lang="zh-CN" altLang="en-US"/>
          </a:p>
        </p:txBody>
      </p:sp>
    </p:spTree>
    <p:extLst>
      <p:ext uri="{BB962C8B-B14F-4D97-AF65-F5344CB8AC3E}">
        <p14:creationId xmlns:p14="http://schemas.microsoft.com/office/powerpoint/2010/main" val="8408839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342CD11-5A95-45DE-838B-D448FDB93D1E}" type="datetimeFigureOut">
              <a:rPr lang="en-US" smtClean="0"/>
              <a:t>10/18/20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0EF5472-C5BF-4B3A-97B0-B70CE96F2D66}" type="slidenum">
              <a:rPr lang="en-US" smtClean="0"/>
              <a:t>‹#›</a:t>
            </a:fld>
            <a:endParaRPr lang="en-US"/>
          </a:p>
        </p:txBody>
      </p:sp>
    </p:spTree>
    <p:extLst>
      <p:ext uri="{BB962C8B-B14F-4D97-AF65-F5344CB8AC3E}">
        <p14:creationId xmlns:p14="http://schemas.microsoft.com/office/powerpoint/2010/main" val="260576063"/>
      </p:ext>
    </p:extLst>
  </p:cSld>
  <p:clrMap bg1="lt1" tx1="dk1" bg2="lt2" tx2="dk2" accent1="accent1" accent2="accent2" accent3="accent3" accent4="accent4" accent5="accent5" accent6="accent6" hlink="hlink" folHlink="folHlink"/>
  <p:notesStyle>
    <a:lvl1pPr marL="0" algn="l" defTabSz="1243330" rtl="0" eaLnBrk="1" latinLnBrk="0" hangingPunct="1">
      <a:defRPr sz="1600" kern="1200">
        <a:solidFill>
          <a:schemeClr val="tx1"/>
        </a:solidFill>
        <a:latin typeface="+mn-lt"/>
        <a:ea typeface="+mn-ea"/>
        <a:cs typeface="+mn-cs"/>
      </a:defRPr>
    </a:lvl1pPr>
    <a:lvl2pPr marL="621665" algn="l" defTabSz="1243330" rtl="0" eaLnBrk="1" latinLnBrk="0" hangingPunct="1">
      <a:defRPr sz="1600" kern="1200">
        <a:solidFill>
          <a:schemeClr val="tx1"/>
        </a:solidFill>
        <a:latin typeface="+mn-lt"/>
        <a:ea typeface="+mn-ea"/>
        <a:cs typeface="+mn-cs"/>
      </a:defRPr>
    </a:lvl2pPr>
    <a:lvl3pPr marL="1243330" algn="l" defTabSz="1243330" rtl="0" eaLnBrk="1" latinLnBrk="0" hangingPunct="1">
      <a:defRPr sz="1600" kern="1200">
        <a:solidFill>
          <a:schemeClr val="tx1"/>
        </a:solidFill>
        <a:latin typeface="+mn-lt"/>
        <a:ea typeface="+mn-ea"/>
        <a:cs typeface="+mn-cs"/>
      </a:defRPr>
    </a:lvl3pPr>
    <a:lvl4pPr marL="1865630" algn="l" defTabSz="1243330" rtl="0" eaLnBrk="1" latinLnBrk="0" hangingPunct="1">
      <a:defRPr sz="1600" kern="1200">
        <a:solidFill>
          <a:schemeClr val="tx1"/>
        </a:solidFill>
        <a:latin typeface="+mn-lt"/>
        <a:ea typeface="+mn-ea"/>
        <a:cs typeface="+mn-cs"/>
      </a:defRPr>
    </a:lvl4pPr>
    <a:lvl5pPr marL="2487295" algn="l" defTabSz="1243330" rtl="0" eaLnBrk="1" latinLnBrk="0" hangingPunct="1">
      <a:defRPr sz="1600" kern="1200">
        <a:solidFill>
          <a:schemeClr val="tx1"/>
        </a:solidFill>
        <a:latin typeface="+mn-lt"/>
        <a:ea typeface="+mn-ea"/>
        <a:cs typeface="+mn-cs"/>
      </a:defRPr>
    </a:lvl5pPr>
    <a:lvl6pPr marL="3108960" algn="l" defTabSz="1243330" rtl="0" eaLnBrk="1" latinLnBrk="0" hangingPunct="1">
      <a:defRPr sz="1600" kern="1200">
        <a:solidFill>
          <a:schemeClr val="tx1"/>
        </a:solidFill>
        <a:latin typeface="+mn-lt"/>
        <a:ea typeface="+mn-ea"/>
        <a:cs typeface="+mn-cs"/>
      </a:defRPr>
    </a:lvl6pPr>
    <a:lvl7pPr marL="3730625" algn="l" defTabSz="1243330" rtl="0" eaLnBrk="1" latinLnBrk="0" hangingPunct="1">
      <a:defRPr sz="1600" kern="1200">
        <a:solidFill>
          <a:schemeClr val="tx1"/>
        </a:solidFill>
        <a:latin typeface="+mn-lt"/>
        <a:ea typeface="+mn-ea"/>
        <a:cs typeface="+mn-cs"/>
      </a:defRPr>
    </a:lvl7pPr>
    <a:lvl8pPr marL="4352290" algn="l" defTabSz="1243330" rtl="0" eaLnBrk="1" latinLnBrk="0" hangingPunct="1">
      <a:defRPr sz="1600" kern="1200">
        <a:solidFill>
          <a:schemeClr val="tx1"/>
        </a:solidFill>
        <a:latin typeface="+mn-lt"/>
        <a:ea typeface="+mn-ea"/>
        <a:cs typeface="+mn-cs"/>
      </a:defRPr>
    </a:lvl8pPr>
    <a:lvl9pPr marL="4973955" algn="l" defTabSz="124333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0EF5472-C5BF-4B3A-97B0-B70CE96F2D66}" type="slidenum">
              <a:rPr lang="en-US" smtClean="0"/>
              <a:t>1</a:t>
            </a:fld>
            <a:endParaRPr lang="en-US"/>
          </a:p>
        </p:txBody>
      </p:sp>
    </p:spTree>
    <p:extLst>
      <p:ext uri="{BB962C8B-B14F-4D97-AF65-F5344CB8AC3E}">
        <p14:creationId xmlns:p14="http://schemas.microsoft.com/office/powerpoint/2010/main" val="2486660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30EF5472-C5BF-4B3A-97B0-B70CE96F2D66}" type="slidenum">
              <a:rPr lang="en-US" smtClean="0"/>
              <a:t>4</a:t>
            </a:fld>
            <a:endParaRPr lang="en-US"/>
          </a:p>
        </p:txBody>
      </p:sp>
    </p:spTree>
    <p:extLst>
      <p:ext uri="{BB962C8B-B14F-4D97-AF65-F5344CB8AC3E}">
        <p14:creationId xmlns:p14="http://schemas.microsoft.com/office/powerpoint/2010/main" val="6839161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0.xml"/><Relationship Id="rId4"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2.xml"/><Relationship Id="rId4" Type="http://schemas.openxmlformats.org/officeDocument/2006/relationships/image" Target="../media/image6.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3.xml"/><Relationship Id="rId4" Type="http://schemas.openxmlformats.org/officeDocument/2006/relationships/image" Target="../media/image6.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3.xml"/><Relationship Id="rId4" Type="http://schemas.openxmlformats.org/officeDocument/2006/relationships/image" Target="../media/image6.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4.xml"/><Relationship Id="rId4" Type="http://schemas.openxmlformats.org/officeDocument/2006/relationships/image" Target="../media/image6.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4.xml"/><Relationship Id="rId4" Type="http://schemas.openxmlformats.org/officeDocument/2006/relationships/image" Target="../media/image6.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5.xml"/><Relationship Id="rId4" Type="http://schemas.openxmlformats.org/officeDocument/2006/relationships/image" Target="../media/image6.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33642246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节标题">
    <p:spTree>
      <p:nvGrpSpPr>
        <p:cNvPr id="1" name=""/>
        <p:cNvGrpSpPr/>
        <p:nvPr/>
      </p:nvGrpSpPr>
      <p:grpSpPr>
        <a:xfrm>
          <a:off x="0" y="0"/>
          <a:ext cx="0" cy="0"/>
          <a:chOff x="0" y="0"/>
          <a:chExt cx="0" cy="0"/>
        </a:xfrm>
      </p:grpSpPr>
      <p:pic>
        <p:nvPicPr>
          <p:cNvPr id="7" name="图片 7" descr="2019干部大会-PPT底图jpg">
            <a:extLst>
              <a:ext uri="{FF2B5EF4-FFF2-40B4-BE49-F238E27FC236}">
                <a16:creationId xmlns:a16="http://schemas.microsoft.com/office/drawing/2014/main" xmlns="" id="{B9979FEE-B021-4F4C-AE70-1F2DC239431D}"/>
              </a:ext>
            </a:extLst>
          </p:cNvPr>
          <p:cNvPicPr>
            <a:picLocks noChangeAspect="1"/>
          </p:cNvPicPr>
          <p:nvPr userDrawn="1"/>
        </p:nvPicPr>
        <p:blipFill>
          <a:blip r:embed="rId2"/>
          <a:stretch>
            <a:fillRect/>
          </a:stretch>
        </p:blipFill>
        <p:spPr>
          <a:xfrm>
            <a:off x="-221" y="0"/>
            <a:ext cx="12438284" cy="6996114"/>
          </a:xfrm>
          <a:prstGeom prst="rect">
            <a:avLst/>
          </a:prstGeom>
          <a:noFill/>
          <a:ln w="9525">
            <a:noFill/>
          </a:ln>
        </p:spPr>
      </p:pic>
      <p:sp>
        <p:nvSpPr>
          <p:cNvPr id="1048756" name="灯片编号占位符 5"/>
          <p:cNvSpPr>
            <a:spLocks noGrp="1"/>
          </p:cNvSpPr>
          <p:nvPr>
            <p:ph type="sldNum" sz="quarter" idx="12"/>
          </p:nvPr>
        </p:nvSpPr>
        <p:spPr/>
        <p:txBody>
          <a:bodyPr/>
          <a:lstStyle/>
          <a:p>
            <a:fld id="{4B1B0860-3CE7-4EC1-80B2-E4FAEF86BBEB}" type="slidenum">
              <a:rPr lang="zh-CN" altLang="en-US" smtClean="0"/>
              <a:t>‹#›</a:t>
            </a:fld>
            <a:endParaRPr lang="zh-CN" altLang="en-US"/>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r>
              <a:rPr lang="zh-CN" altLang="en-US" sz="4080" b="1" dirty="0">
                <a:ln w="18415" cmpd="sng">
                  <a:noFill/>
                  <a:prstDash val="solid"/>
                </a:ln>
                <a:solidFill>
                  <a:srgbClr val="FFFFFF"/>
                </a:solidFill>
                <a:effectLst/>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normAutofit/>
          </a:bodyPr>
          <a:lstStyle>
            <a:lvl1pPr marL="466390" indent="-466390">
              <a:lnSpc>
                <a:spcPct val="150000"/>
              </a:lnSpc>
              <a:spcAft>
                <a:spcPts val="0"/>
              </a:spcAft>
              <a:buFont typeface="+mj-ea"/>
              <a:buAutoNum type="ea1JpnChsDbPeriod"/>
              <a:defRPr sz="3200" b="1">
                <a:solidFill>
                  <a:schemeClr val="bg1"/>
                </a:solidFill>
              </a:defRPr>
            </a:lvl1pPr>
          </a:lstStyle>
          <a:p>
            <a:pPr lvl="0"/>
            <a:r>
              <a:rPr lang="zh-CN" altLang="en-US" dirty="0"/>
              <a:t>单击此处编辑目录文本样式</a:t>
            </a:r>
            <a:endParaRPr lang="en-US" altLang="zh-CN" dirty="0"/>
          </a:p>
          <a:p>
            <a:pPr lvl="0"/>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31243738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8" name="图片 6" descr="WechatIMG2.jpeg">
            <a:extLst>
              <a:ext uri="{FF2B5EF4-FFF2-40B4-BE49-F238E27FC236}">
                <a16:creationId xmlns:a16="http://schemas.microsoft.com/office/drawing/2014/main" xmlns="" id="{1F45A940-4B22-444D-9800-8BDEEAA07EB8}"/>
              </a:ext>
            </a:extLst>
          </p:cNvPr>
          <p:cNvPicPr>
            <a:picLocks noChangeAspect="1"/>
          </p:cNvPicPr>
          <p:nvPr userDrawn="1"/>
        </p:nvPicPr>
        <p:blipFill>
          <a:blip r:embed="rId2"/>
          <a:srcRect b="74669"/>
          <a:stretch>
            <a:fillRect/>
          </a:stretch>
        </p:blipFill>
        <p:spPr>
          <a:xfrm>
            <a:off x="1" y="-14134"/>
            <a:ext cx="12447780" cy="874514"/>
          </a:xfrm>
          <a:prstGeom prst="rect">
            <a:avLst/>
          </a:prstGeom>
          <a:noFill/>
          <a:ln w="9525">
            <a:noFill/>
          </a:ln>
        </p:spPr>
      </p:pic>
      <p:sp>
        <p:nvSpPr>
          <p:cNvPr id="2" name="Holder 2"/>
          <p:cNvSpPr>
            <a:spLocks noGrp="1"/>
          </p:cNvSpPr>
          <p:nvPr>
            <p:ph type="title"/>
          </p:nvPr>
        </p:nvSpPr>
        <p:spPr>
          <a:xfrm>
            <a:off x="504031" y="0"/>
            <a:ext cx="11361855" cy="860380"/>
          </a:xfrm>
        </p:spPr>
        <p:txBody>
          <a:bodyPr lIns="0" tIns="0" rIns="0" bIns="0">
            <a:normAutofit/>
          </a:bodyPr>
          <a:lstStyle>
            <a:lvl1pPr>
              <a:defRPr sz="2856" b="1" kern="1200" dirty="0">
                <a:solidFill>
                  <a:schemeClr val="bg1"/>
                </a:solidFill>
                <a:effectLst/>
                <a:latin typeface="微软雅黑" panose="020B0503020204020204" charset="-122"/>
                <a:ea typeface="微软雅黑" panose="020B0503020204020204" charset="-122"/>
                <a:cs typeface="+mj-cs"/>
              </a:defRPr>
            </a:lvl1pPr>
          </a:lstStyle>
          <a:p>
            <a:endParaRPr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9" name="图片 6">
            <a:extLst>
              <a:ext uri="{FF2B5EF4-FFF2-40B4-BE49-F238E27FC236}">
                <a16:creationId xmlns:a16="http://schemas.microsoft.com/office/drawing/2014/main" xmlns="" id="{8CF339DD-3338-4C33-B2E6-9E776D6C17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32931" y="175434"/>
            <a:ext cx="1191369" cy="529475"/>
          </a:xfrm>
          <a:prstGeom prst="rect">
            <a:avLst/>
          </a:prstGeom>
        </p:spPr>
      </p:pic>
    </p:spTree>
    <p:extLst>
      <p:ext uri="{BB962C8B-B14F-4D97-AF65-F5344CB8AC3E}">
        <p14:creationId xmlns:p14="http://schemas.microsoft.com/office/powerpoint/2010/main" val="2520783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结束">
    <p:spTree>
      <p:nvGrpSpPr>
        <p:cNvPr id="1" name=""/>
        <p:cNvGrpSpPr/>
        <p:nvPr/>
      </p:nvGrpSpPr>
      <p:grpSpPr>
        <a:xfrm>
          <a:off x="0" y="0"/>
          <a:ext cx="0" cy="0"/>
          <a:chOff x="0" y="0"/>
          <a:chExt cx="0" cy="0"/>
        </a:xfrm>
      </p:grpSpPr>
      <p:pic>
        <p:nvPicPr>
          <p:cNvPr id="6" name="图片 7" descr="2019干部大会-PPT底图jpg">
            <a:extLst>
              <a:ext uri="{FF2B5EF4-FFF2-40B4-BE49-F238E27FC236}">
                <a16:creationId xmlns:a16="http://schemas.microsoft.com/office/drawing/2014/main" xmlns="" id="{53CAEA75-74AF-4733-B0B8-A619004D6FDE}"/>
              </a:ext>
            </a:extLst>
          </p:cNvPr>
          <p:cNvPicPr>
            <a:picLocks noChangeAspect="1"/>
          </p:cNvPicPr>
          <p:nvPr userDrawn="1"/>
        </p:nvPicPr>
        <p:blipFill>
          <a:blip r:embed="rId2"/>
          <a:stretch>
            <a:fillRect/>
          </a:stretch>
        </p:blipFill>
        <p:spPr>
          <a:xfrm>
            <a:off x="-221" y="-1"/>
            <a:ext cx="12438284" cy="6998357"/>
          </a:xfrm>
          <a:prstGeom prst="rect">
            <a:avLst/>
          </a:prstGeom>
          <a:noFill/>
          <a:ln w="9525">
            <a:noFill/>
          </a:ln>
        </p:spPr>
      </p:pic>
      <p:sp>
        <p:nvSpPr>
          <p:cNvPr id="1049394" name="文本框 1"/>
          <p:cNvSpPr>
            <a:spLocks noChangeArrowheads="1"/>
          </p:cNvSpPr>
          <p:nvPr userDrawn="1"/>
        </p:nvSpPr>
        <p:spPr bwMode="auto">
          <a:xfrm>
            <a:off x="2792401" y="2473605"/>
            <a:ext cx="8246308" cy="1907090"/>
          </a:xfrm>
          <a:prstGeom prst="rect">
            <a:avLst/>
          </a:prstGeom>
          <a:noFill/>
          <a:ln>
            <a:noFill/>
          </a:ln>
        </p:spPr>
        <p:txBody>
          <a:bodyPr wrap="square">
            <a:spAutoFit/>
          </a:bodyPr>
          <a:lstStyle/>
          <a:p>
            <a:pPr eaLnBrk="1" hangingPunct="1">
              <a:lnSpc>
                <a:spcPct val="135000"/>
              </a:lnSpc>
              <a:buFont typeface="Arial" panose="020B0604020202020204" pitchFamily="34" charset="0"/>
              <a:buNone/>
            </a:pPr>
            <a:r>
              <a:rPr lang="zh-CN" altLang="en-US"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rPr>
              <a:t>谢 谢！</a:t>
            </a:r>
            <a:endParaRPr lang="en-US" altLang="zh-CN"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endParaRPr>
          </a:p>
          <a:p>
            <a:pPr eaLnBrk="1" hangingPunct="1">
              <a:lnSpc>
                <a:spcPct val="135000"/>
              </a:lnSpc>
              <a:buFont typeface="Arial" panose="020B0604020202020204" pitchFamily="34" charset="0"/>
              <a:buNone/>
            </a:pPr>
            <a:r>
              <a:rPr lang="en-US" altLang="zh-CN"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2767546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3629666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11625929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8791405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395963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7661753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15740730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6527053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t>‹#›</a:t>
            </a:fld>
            <a:endParaRPr lang="zh-CN" altLang="en-US"/>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r>
              <a:rPr lang="zh-CN" altLang="en-US" sz="4080" b="1" dirty="0">
                <a:ln w="18415" cmpd="sng">
                  <a:noFill/>
                  <a:prstDash val="solid"/>
                </a:ln>
                <a:solidFill>
                  <a:srgbClr val="FFFFFF"/>
                </a:solidFill>
                <a:effectLst/>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normAutofit/>
          </a:bodyPr>
          <a:lstStyle>
            <a:lvl1pPr marL="466390" indent="-466390">
              <a:lnSpc>
                <a:spcPct val="150000"/>
              </a:lnSpc>
              <a:spcAft>
                <a:spcPts val="0"/>
              </a:spcAft>
              <a:buFont typeface="+mj-ea"/>
              <a:buAutoNum type="ea1JpnChsDbPeriod"/>
              <a:defRPr sz="3200" b="1">
                <a:solidFill>
                  <a:schemeClr val="bg1"/>
                </a:solidFill>
              </a:defRPr>
            </a:lvl1pPr>
          </a:lstStyle>
          <a:p>
            <a:pPr lvl="0"/>
            <a:r>
              <a:rPr lang="zh-CN" altLang="en-US" dirty="0"/>
              <a:t>单击此处编辑目录文本样式</a:t>
            </a:r>
            <a:endParaRPr lang="en-US" altLang="zh-CN" dirty="0"/>
          </a:p>
          <a:p>
            <a:pPr lvl="0"/>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200739956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2769811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38172359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9595665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626964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02172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1027"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21948"/>
            <a:ext cx="12438065" cy="7018061"/>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3"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sp>
        <p:nvSpPr>
          <p:cNvPr id="4" name="矩形 3"/>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7" name="图片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3983078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16"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10975"/>
            <a:ext cx="12438065" cy="7007088"/>
          </a:xfrm>
          <a:prstGeom prst="rect">
            <a:avLst/>
          </a:prstGeom>
          <a:noFill/>
          <a:extLst>
            <a:ext uri="{909E8E84-426E-40DD-AFC4-6F175D3DCCD1}">
              <a14:hiddenFill xmlns:a14="http://schemas.microsoft.com/office/drawing/2010/main">
                <a:solidFill>
                  <a:srgbClr val="FFFFFF"/>
                </a:solidFill>
              </a14:hiddenFill>
            </a:ext>
          </a:extLst>
        </p:spPr>
      </p:pic>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defRPr/>
            </a:pPr>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44"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1807322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14"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32923"/>
            <a:ext cx="12438065" cy="7029036"/>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defRPr/>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defRPr/>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sp>
        <p:nvSpPr>
          <p:cNvPr id="11"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sp>
        <p:nvSpPr>
          <p:cNvPr id="24"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15" name="图片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262142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1226023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967932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1048585" name="灯片编号占位符 4"/>
          <p:cNvSpPr>
            <a:spLocks noGrp="1"/>
          </p:cNvSpPr>
          <p:nvPr>
            <p:ph type="sldNum" sz="quarter" idx="12"/>
          </p:nvPr>
        </p:nvSpPr>
        <p:spPr/>
        <p:txBody>
          <a:bodyPr/>
          <a:lstStyle/>
          <a:p>
            <a:fld id="{4B1B0860-3CE7-4EC1-80B2-E4FAEF86BBEB}" type="slidenum">
              <a:rPr lang="zh-CN" altLang="en-US" smtClean="0"/>
              <a:t>‹#›</a:t>
            </a:fld>
            <a:endParaRPr lang="zh-CN" altLang="en-US"/>
          </a:p>
        </p:txBody>
      </p:sp>
      <p:sp>
        <p:nvSpPr>
          <p:cNvPr id="4" name="Holder 2">
            <a:extLst>
              <a:ext uri="{FF2B5EF4-FFF2-40B4-BE49-F238E27FC236}">
                <a16:creationId xmlns:a16="http://schemas.microsoft.com/office/drawing/2014/main" xmlns="" id="{FE6EB724-F35F-4DB5-8668-FA01561C749A}"/>
              </a:ext>
            </a:extLst>
          </p:cNvPr>
          <p:cNvSpPr>
            <a:spLocks noGrp="1"/>
          </p:cNvSpPr>
          <p:nvPr>
            <p:ph type="title"/>
          </p:nvPr>
        </p:nvSpPr>
        <p:spPr>
          <a:xfrm>
            <a:off x="213763" y="0"/>
            <a:ext cx="11652123" cy="866209"/>
          </a:xfrm>
        </p:spPr>
        <p:txBody>
          <a:bodyPr lIns="0" tIns="0" rIns="0" bIns="0">
            <a:normAutofit/>
          </a:bodyPr>
          <a:lstStyle>
            <a:lvl1pPr>
              <a:defRPr sz="2856" b="1" kern="1200" dirty="0">
                <a:solidFill>
                  <a:schemeClr val="bg1"/>
                </a:solidFill>
                <a:effectLst/>
                <a:latin typeface="微软雅黑" panose="020B0503020204020204" charset="-122"/>
                <a:ea typeface="微软雅黑" panose="020B0503020204020204" charset="-122"/>
                <a:cs typeface="+mj-cs"/>
              </a:defRPr>
            </a:lvl1pPr>
          </a:lstStyle>
          <a:p>
            <a:endParaRPr dirty="0"/>
          </a:p>
        </p:txBody>
      </p:sp>
    </p:spTree>
    <p:extLst>
      <p:ext uri="{BB962C8B-B14F-4D97-AF65-F5344CB8AC3E}">
        <p14:creationId xmlns:p14="http://schemas.microsoft.com/office/powerpoint/2010/main" val="35280478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8175210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标题幻灯片">
    <p:bg>
      <p:bgPr>
        <a:solidFill>
          <a:schemeClr val="bg1">
            <a:lumMod val="95000"/>
          </a:schemeClr>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621903" y="6484372"/>
            <a:ext cx="2902215" cy="372478"/>
          </a:xfrm>
        </p:spPr>
        <p:txBody>
          <a:bodyPr/>
          <a:lstStyle/>
          <a:p>
            <a:pPr defTabSz="932779"/>
            <a:fld id="{8035C5D1-AD16-4B01-871F-DE047A6CFB67}" type="datetimeFigureOut">
              <a:rPr lang="zh-CN" altLang="en-US" sz="1836" smtClean="0">
                <a:solidFill>
                  <a:prstClr val="black"/>
                </a:solidFill>
              </a:rPr>
              <a:pPr defTabSz="932779"/>
              <a:t>2021/10/18</a:t>
            </a:fld>
            <a:endParaRPr lang="zh-CN" altLang="en-US" sz="1836">
              <a:solidFill>
                <a:prstClr val="black"/>
              </a:solidFill>
            </a:endParaRPr>
          </a:p>
        </p:txBody>
      </p:sp>
      <p:sp>
        <p:nvSpPr>
          <p:cNvPr id="5" name="页脚占位符 4"/>
          <p:cNvSpPr>
            <a:spLocks noGrp="1"/>
          </p:cNvSpPr>
          <p:nvPr>
            <p:ph type="ftr" sz="quarter" idx="11"/>
          </p:nvPr>
        </p:nvSpPr>
        <p:spPr>
          <a:xfrm>
            <a:off x="4249672" y="6484372"/>
            <a:ext cx="3938720" cy="372478"/>
          </a:xfrm>
        </p:spPr>
        <p:txBody>
          <a:bodyPr/>
          <a:lstStyle/>
          <a:p>
            <a:pPr defTabSz="932779"/>
            <a:endParaRPr lang="zh-CN" altLang="en-US" sz="1836">
              <a:solidFill>
                <a:prstClr val="black"/>
              </a:solidFill>
            </a:endParaRPr>
          </a:p>
        </p:txBody>
      </p:sp>
      <p:sp>
        <p:nvSpPr>
          <p:cNvPr id="6" name="灯片编号占位符 5"/>
          <p:cNvSpPr>
            <a:spLocks noGrp="1"/>
          </p:cNvSpPr>
          <p:nvPr>
            <p:ph type="sldNum" sz="quarter" idx="12"/>
          </p:nvPr>
        </p:nvSpPr>
        <p:spPr/>
        <p:txBody>
          <a:bodyPr/>
          <a:lstStyle/>
          <a:p>
            <a:fld id="{8BCDE635-3FC4-4B83-A3D1-632FFA341E9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486753685"/>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2_标题和内容">
    <p:spTree>
      <p:nvGrpSpPr>
        <p:cNvPr id="1" name=""/>
        <p:cNvGrpSpPr/>
        <p:nvPr/>
      </p:nvGrpSpPr>
      <p:grpSpPr>
        <a:xfrm>
          <a:off x="0" y="0"/>
          <a:ext cx="0" cy="0"/>
          <a:chOff x="0" y="0"/>
          <a:chExt cx="0" cy="0"/>
        </a:xfrm>
      </p:grpSpPr>
      <p:sp>
        <p:nvSpPr>
          <p:cNvPr id="2" name="KSO_BT1"/>
          <p:cNvSpPr>
            <a:spLocks noGrp="1"/>
          </p:cNvSpPr>
          <p:nvPr>
            <p:ph type="title"/>
          </p:nvPr>
        </p:nvSpPr>
        <p:spPr>
          <a:xfrm>
            <a:off x="1" y="79"/>
            <a:ext cx="6666323" cy="626437"/>
          </a:xfrm>
          <a:prstGeom prst="rect">
            <a:avLst/>
          </a:prstGeom>
          <a:solidFill>
            <a:srgbClr val="0F83CB">
              <a:alpha val="69804"/>
            </a:srgbClr>
          </a:solidFill>
          <a:effectLst>
            <a:outerShdw blurRad="50800" dist="38100" dir="2700000" algn="tl" rotWithShape="0">
              <a:prstClr val="black">
                <a:alpha val="40000"/>
              </a:prstClr>
            </a:outerShdw>
          </a:effectLst>
        </p:spPr>
        <p:txBody>
          <a:bodyPr lIns="288000" rIns="108000" anchor="ctr" anchorCtr="0">
            <a:normAutofit/>
          </a:bodyPr>
          <a:lstStyle>
            <a:lvl1pPr>
              <a:defRPr sz="2856">
                <a:solidFill>
                  <a:schemeClr val="bg1"/>
                </a:solidFill>
              </a:defRPr>
            </a:lvl1pPr>
          </a:lstStyle>
          <a:p>
            <a:r>
              <a:rPr lang="zh-CN" altLang="en-US" dirty="0"/>
              <a:t>单击此处编辑母版标题样式</a:t>
            </a:r>
            <a:endParaRPr lang="en-US" dirty="0"/>
          </a:p>
        </p:txBody>
      </p:sp>
      <p:sp>
        <p:nvSpPr>
          <p:cNvPr id="3" name="日期占位符 2"/>
          <p:cNvSpPr>
            <a:spLocks noGrp="1"/>
          </p:cNvSpPr>
          <p:nvPr>
            <p:ph type="dt" sz="half" idx="10"/>
          </p:nvPr>
        </p:nvSpPr>
        <p:spPr>
          <a:xfrm>
            <a:off x="1356354" y="6512207"/>
            <a:ext cx="2798564" cy="372478"/>
          </a:xfrm>
          <a:prstGeom prst="rect">
            <a:avLst/>
          </a:prstGeom>
        </p:spPr>
        <p:txBody>
          <a:bodyPr/>
          <a:lstStyle/>
          <a:p>
            <a:pPr defTabSz="932779"/>
            <a:fld id="{B1411C03-EC5D-4CEF-859C-149E65B28A42}" type="datetimeFigureOut">
              <a:rPr lang="zh-CN" altLang="en-US" sz="1836" smtClean="0">
                <a:solidFill>
                  <a:prstClr val="black"/>
                </a:solidFill>
              </a:rPr>
              <a:pPr defTabSz="932779"/>
              <a:t>2021/10/18</a:t>
            </a:fld>
            <a:endParaRPr lang="zh-CN" altLang="en-US" sz="1836">
              <a:solidFill>
                <a:prstClr val="black"/>
              </a:solidFill>
            </a:endParaRPr>
          </a:p>
        </p:txBody>
      </p:sp>
      <p:sp>
        <p:nvSpPr>
          <p:cNvPr id="4" name="页脚占位符 3"/>
          <p:cNvSpPr>
            <a:spLocks noGrp="1"/>
          </p:cNvSpPr>
          <p:nvPr>
            <p:ph type="ftr" sz="quarter" idx="11"/>
          </p:nvPr>
        </p:nvSpPr>
        <p:spPr>
          <a:xfrm>
            <a:off x="4370731" y="6526129"/>
            <a:ext cx="4197846" cy="372478"/>
          </a:xfrm>
          <a:prstGeom prst="rect">
            <a:avLst/>
          </a:prstGeom>
        </p:spPr>
        <p:txBody>
          <a:bodyPr/>
          <a:lstStyle/>
          <a:p>
            <a:pPr defTabSz="932779"/>
            <a:endParaRPr lang="zh-CN" altLang="en-US" sz="1836">
              <a:solidFill>
                <a:prstClr val="black"/>
              </a:solidFill>
            </a:endParaRPr>
          </a:p>
        </p:txBody>
      </p:sp>
      <p:sp>
        <p:nvSpPr>
          <p:cNvPr id="5" name="灯片编号占位符 4"/>
          <p:cNvSpPr>
            <a:spLocks noGrp="1"/>
          </p:cNvSpPr>
          <p:nvPr>
            <p:ph type="sldNum" sz="quarter" idx="12"/>
          </p:nvPr>
        </p:nvSpPr>
        <p:spPr>
          <a:xfrm>
            <a:off x="8784382" y="6526129"/>
            <a:ext cx="2798564" cy="372478"/>
          </a:xfrm>
          <a:prstGeom prst="rect">
            <a:avLst/>
          </a:prstGeom>
        </p:spPr>
        <p:txBody>
          <a:bodyPr/>
          <a:lstStyle/>
          <a:p>
            <a:fld id="{008FDCAB-C7EC-4DF4-ABF8-BBE44B2C83F2}" type="slidenum">
              <a:rPr lang="zh-CN" altLang="en-US" smtClean="0">
                <a:solidFill>
                  <a:prstClr val="black">
                    <a:tint val="75000"/>
                  </a:prstClr>
                </a:solidFill>
              </a:rPr>
              <a:pPr/>
              <a:t>‹#›</a:t>
            </a:fld>
            <a:endParaRPr lang="zh-CN" altLang="en-US" dirty="0">
              <a:solidFill>
                <a:prstClr val="black">
                  <a:tint val="75000"/>
                </a:prstClr>
              </a:solidFill>
            </a:endParaRPr>
          </a:p>
        </p:txBody>
      </p:sp>
    </p:spTree>
    <p:extLst>
      <p:ext uri="{BB962C8B-B14F-4D97-AF65-F5344CB8AC3E}">
        <p14:creationId xmlns:p14="http://schemas.microsoft.com/office/powerpoint/2010/main" val="3332651432"/>
      </p:ext>
    </p:extLst>
  </p:cSld>
  <p:clrMapOvr>
    <a:masterClrMapping/>
  </p:clrMapOvr>
  <p:hf hdr="0" ftr="0"/>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1027"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21948"/>
            <a:ext cx="12438065" cy="7018061"/>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3"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sp>
        <p:nvSpPr>
          <p:cNvPr id="4" name="矩形 3"/>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7" name="图片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40298613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16"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10975"/>
            <a:ext cx="12438065" cy="7007088"/>
          </a:xfrm>
          <a:prstGeom prst="rect">
            <a:avLst/>
          </a:prstGeom>
          <a:noFill/>
          <a:extLst>
            <a:ext uri="{909E8E84-426E-40DD-AFC4-6F175D3DCCD1}">
              <a14:hiddenFill xmlns:a14="http://schemas.microsoft.com/office/drawing/2010/main">
                <a:solidFill>
                  <a:srgbClr val="FFFFFF"/>
                </a:solidFill>
              </a14:hiddenFill>
            </a:ext>
          </a:extLst>
        </p:spPr>
      </p:pic>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defRPr/>
            </a:pPr>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44"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30538971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14"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32923"/>
            <a:ext cx="12438065" cy="7029036"/>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defRPr/>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defRPr/>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sp>
        <p:nvSpPr>
          <p:cNvPr id="11"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sp>
        <p:nvSpPr>
          <p:cNvPr id="24"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15" name="图片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88647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139025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58881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0886642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标题幻灯片">
    <p:bg>
      <p:bgPr>
        <a:solidFill>
          <a:schemeClr val="bg1">
            <a:lumMod val="95000"/>
          </a:schemeClr>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621903" y="6484372"/>
            <a:ext cx="2902215" cy="372478"/>
          </a:xfrm>
        </p:spPr>
        <p:txBody>
          <a:bodyPr/>
          <a:lstStyle/>
          <a:p>
            <a:pPr defTabSz="932779"/>
            <a:fld id="{8035C5D1-AD16-4B01-871F-DE047A6CFB67}" type="datetimeFigureOut">
              <a:rPr lang="zh-CN" altLang="en-US" sz="1836" smtClean="0">
                <a:solidFill>
                  <a:prstClr val="black"/>
                </a:solidFill>
              </a:rPr>
              <a:pPr defTabSz="932779"/>
              <a:t>2021/10/18</a:t>
            </a:fld>
            <a:endParaRPr lang="zh-CN" altLang="en-US" sz="1836">
              <a:solidFill>
                <a:prstClr val="black"/>
              </a:solidFill>
            </a:endParaRPr>
          </a:p>
        </p:txBody>
      </p:sp>
      <p:sp>
        <p:nvSpPr>
          <p:cNvPr id="5" name="页脚占位符 4"/>
          <p:cNvSpPr>
            <a:spLocks noGrp="1"/>
          </p:cNvSpPr>
          <p:nvPr>
            <p:ph type="ftr" sz="quarter" idx="11"/>
          </p:nvPr>
        </p:nvSpPr>
        <p:spPr>
          <a:xfrm>
            <a:off x="4249672" y="6484372"/>
            <a:ext cx="3938720" cy="372478"/>
          </a:xfrm>
        </p:spPr>
        <p:txBody>
          <a:bodyPr/>
          <a:lstStyle/>
          <a:p>
            <a:pPr defTabSz="932779"/>
            <a:endParaRPr lang="zh-CN" altLang="en-US" sz="1836">
              <a:solidFill>
                <a:prstClr val="black"/>
              </a:solidFill>
            </a:endParaRPr>
          </a:p>
        </p:txBody>
      </p:sp>
      <p:sp>
        <p:nvSpPr>
          <p:cNvPr id="6" name="灯片编号占位符 5"/>
          <p:cNvSpPr>
            <a:spLocks noGrp="1"/>
          </p:cNvSpPr>
          <p:nvPr>
            <p:ph type="sldNum" sz="quarter" idx="12"/>
          </p:nvPr>
        </p:nvSpPr>
        <p:spPr/>
        <p:txBody>
          <a:bodyPr/>
          <a:lstStyle/>
          <a:p>
            <a:fld id="{8BCDE635-3FC4-4B83-A3D1-632FFA341E9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552330348"/>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07090"/>
          </a:xfrm>
          <a:prstGeom prst="rect">
            <a:avLst/>
          </a:prstGeom>
          <a:noFill/>
          <a:ln>
            <a:noFill/>
          </a:ln>
        </p:spPr>
        <p:txBody>
          <a:bodyPr wrap="square">
            <a:spAutoFit/>
          </a:bodyPr>
          <a:lstStyle/>
          <a:p>
            <a:pPr eaLnBrk="1" hangingPunct="1">
              <a:lnSpc>
                <a:spcPct val="135000"/>
              </a:lnSpc>
              <a:buFont typeface="Arial" panose="020B0604020202020204" pitchFamily="34" charset="0"/>
              <a:buNone/>
            </a:pPr>
            <a:r>
              <a:rPr lang="zh-CN" altLang="en-US"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rPr>
              <a:t>谢 谢！</a:t>
            </a:r>
            <a:endParaRPr lang="en-US" altLang="zh-CN"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endParaRPr>
          </a:p>
          <a:p>
            <a:pPr eaLnBrk="1" hangingPunct="1">
              <a:lnSpc>
                <a:spcPct val="135000"/>
              </a:lnSpc>
              <a:buFont typeface="Arial" panose="020B0604020202020204" pitchFamily="34" charset="0"/>
              <a:buNone/>
            </a:pPr>
            <a:r>
              <a:rPr lang="en-US" altLang="zh-CN"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471190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12_标题和内容">
    <p:spTree>
      <p:nvGrpSpPr>
        <p:cNvPr id="1" name=""/>
        <p:cNvGrpSpPr/>
        <p:nvPr/>
      </p:nvGrpSpPr>
      <p:grpSpPr>
        <a:xfrm>
          <a:off x="0" y="0"/>
          <a:ext cx="0" cy="0"/>
          <a:chOff x="0" y="0"/>
          <a:chExt cx="0" cy="0"/>
        </a:xfrm>
      </p:grpSpPr>
      <p:sp>
        <p:nvSpPr>
          <p:cNvPr id="2" name="KSO_BT1"/>
          <p:cNvSpPr>
            <a:spLocks noGrp="1"/>
          </p:cNvSpPr>
          <p:nvPr>
            <p:ph type="title"/>
          </p:nvPr>
        </p:nvSpPr>
        <p:spPr>
          <a:xfrm>
            <a:off x="1" y="79"/>
            <a:ext cx="6666323" cy="626437"/>
          </a:xfrm>
          <a:prstGeom prst="rect">
            <a:avLst/>
          </a:prstGeom>
          <a:solidFill>
            <a:srgbClr val="0F83CB">
              <a:alpha val="69804"/>
            </a:srgbClr>
          </a:solidFill>
          <a:effectLst>
            <a:outerShdw blurRad="50800" dist="38100" dir="2700000" algn="tl" rotWithShape="0">
              <a:prstClr val="black">
                <a:alpha val="40000"/>
              </a:prstClr>
            </a:outerShdw>
          </a:effectLst>
        </p:spPr>
        <p:txBody>
          <a:bodyPr lIns="288000" rIns="108000" anchor="ctr" anchorCtr="0">
            <a:normAutofit/>
          </a:bodyPr>
          <a:lstStyle>
            <a:lvl1pPr>
              <a:defRPr sz="2856">
                <a:solidFill>
                  <a:schemeClr val="bg1"/>
                </a:solidFill>
              </a:defRPr>
            </a:lvl1pPr>
          </a:lstStyle>
          <a:p>
            <a:r>
              <a:rPr lang="zh-CN" altLang="en-US" dirty="0"/>
              <a:t>单击此处编辑母版标题样式</a:t>
            </a:r>
            <a:endParaRPr lang="en-US" dirty="0"/>
          </a:p>
        </p:txBody>
      </p:sp>
      <p:sp>
        <p:nvSpPr>
          <p:cNvPr id="3" name="日期占位符 2"/>
          <p:cNvSpPr>
            <a:spLocks noGrp="1"/>
          </p:cNvSpPr>
          <p:nvPr>
            <p:ph type="dt" sz="half" idx="10"/>
          </p:nvPr>
        </p:nvSpPr>
        <p:spPr>
          <a:xfrm>
            <a:off x="1356354" y="6512207"/>
            <a:ext cx="2798564" cy="372478"/>
          </a:xfrm>
          <a:prstGeom prst="rect">
            <a:avLst/>
          </a:prstGeom>
        </p:spPr>
        <p:txBody>
          <a:bodyPr/>
          <a:lstStyle/>
          <a:p>
            <a:pPr defTabSz="932779"/>
            <a:fld id="{B1411C03-EC5D-4CEF-859C-149E65B28A42}" type="datetimeFigureOut">
              <a:rPr lang="zh-CN" altLang="en-US" sz="1836" smtClean="0">
                <a:solidFill>
                  <a:prstClr val="black"/>
                </a:solidFill>
              </a:rPr>
              <a:pPr defTabSz="932779"/>
              <a:t>2021/10/18</a:t>
            </a:fld>
            <a:endParaRPr lang="zh-CN" altLang="en-US" sz="1836">
              <a:solidFill>
                <a:prstClr val="black"/>
              </a:solidFill>
            </a:endParaRPr>
          </a:p>
        </p:txBody>
      </p:sp>
      <p:sp>
        <p:nvSpPr>
          <p:cNvPr id="4" name="页脚占位符 3"/>
          <p:cNvSpPr>
            <a:spLocks noGrp="1"/>
          </p:cNvSpPr>
          <p:nvPr>
            <p:ph type="ftr" sz="quarter" idx="11"/>
          </p:nvPr>
        </p:nvSpPr>
        <p:spPr>
          <a:xfrm>
            <a:off x="4370731" y="6526129"/>
            <a:ext cx="4197846" cy="372478"/>
          </a:xfrm>
          <a:prstGeom prst="rect">
            <a:avLst/>
          </a:prstGeom>
        </p:spPr>
        <p:txBody>
          <a:bodyPr/>
          <a:lstStyle/>
          <a:p>
            <a:pPr defTabSz="932779"/>
            <a:endParaRPr lang="zh-CN" altLang="en-US" sz="1836">
              <a:solidFill>
                <a:prstClr val="black"/>
              </a:solidFill>
            </a:endParaRPr>
          </a:p>
        </p:txBody>
      </p:sp>
      <p:sp>
        <p:nvSpPr>
          <p:cNvPr id="5" name="灯片编号占位符 4"/>
          <p:cNvSpPr>
            <a:spLocks noGrp="1"/>
          </p:cNvSpPr>
          <p:nvPr>
            <p:ph type="sldNum" sz="quarter" idx="12"/>
          </p:nvPr>
        </p:nvSpPr>
        <p:spPr>
          <a:xfrm>
            <a:off x="8784382" y="6526129"/>
            <a:ext cx="2798564" cy="372478"/>
          </a:xfrm>
          <a:prstGeom prst="rect">
            <a:avLst/>
          </a:prstGeom>
        </p:spPr>
        <p:txBody>
          <a:bodyPr/>
          <a:lstStyle/>
          <a:p>
            <a:fld id="{008FDCAB-C7EC-4DF4-ABF8-BBE44B2C83F2}" type="slidenum">
              <a:rPr lang="zh-CN" altLang="en-US" smtClean="0">
                <a:solidFill>
                  <a:prstClr val="black">
                    <a:tint val="75000"/>
                  </a:prstClr>
                </a:solidFill>
              </a:rPr>
              <a:pPr/>
              <a:t>‹#›</a:t>
            </a:fld>
            <a:endParaRPr lang="zh-CN" altLang="en-US" dirty="0">
              <a:solidFill>
                <a:prstClr val="black">
                  <a:tint val="75000"/>
                </a:prstClr>
              </a:solidFill>
            </a:endParaRPr>
          </a:p>
        </p:txBody>
      </p:sp>
    </p:spTree>
    <p:extLst>
      <p:ext uri="{BB962C8B-B14F-4D97-AF65-F5344CB8AC3E}">
        <p14:creationId xmlns:p14="http://schemas.microsoft.com/office/powerpoint/2010/main" val="592474930"/>
      </p:ext>
    </p:extLst>
  </p:cSld>
  <p:clrMapOvr>
    <a:masterClrMapping/>
  </p:clrMapOvr>
  <p:hf hdr="0" ftr="0"/>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1027"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21948"/>
            <a:ext cx="12438065" cy="7018061"/>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3"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sp>
        <p:nvSpPr>
          <p:cNvPr id="4" name="矩形 3"/>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7" name="图片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878677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16"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10975"/>
            <a:ext cx="12438065" cy="7007088"/>
          </a:xfrm>
          <a:prstGeom prst="rect">
            <a:avLst/>
          </a:prstGeom>
          <a:noFill/>
          <a:extLst>
            <a:ext uri="{909E8E84-426E-40DD-AFC4-6F175D3DCCD1}">
              <a14:hiddenFill xmlns:a14="http://schemas.microsoft.com/office/drawing/2010/main">
                <a:solidFill>
                  <a:srgbClr val="FFFFFF"/>
                </a:solidFill>
              </a14:hiddenFill>
            </a:ext>
          </a:extLst>
        </p:spPr>
      </p:pic>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defRPr/>
            </a:pPr>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44"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8509854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14"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32923"/>
            <a:ext cx="12438065" cy="7029036"/>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defRPr/>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defRPr/>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sp>
        <p:nvSpPr>
          <p:cNvPr id="11"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sp>
        <p:nvSpPr>
          <p:cNvPr id="24"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15" name="图片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753580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699566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687408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5111491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标题幻灯片">
    <p:bg>
      <p:bgPr>
        <a:solidFill>
          <a:schemeClr val="bg1">
            <a:lumMod val="95000"/>
          </a:schemeClr>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621903" y="6484372"/>
            <a:ext cx="2902215" cy="372478"/>
          </a:xfrm>
        </p:spPr>
        <p:txBody>
          <a:bodyPr/>
          <a:lstStyle/>
          <a:p>
            <a:pPr defTabSz="932779"/>
            <a:fld id="{8035C5D1-AD16-4B01-871F-DE047A6CFB67}" type="datetimeFigureOut">
              <a:rPr lang="zh-CN" altLang="en-US" sz="1836" smtClean="0">
                <a:solidFill>
                  <a:prstClr val="black"/>
                </a:solidFill>
              </a:rPr>
              <a:pPr defTabSz="932779"/>
              <a:t>2021/10/18</a:t>
            </a:fld>
            <a:endParaRPr lang="zh-CN" altLang="en-US" sz="1836">
              <a:solidFill>
                <a:prstClr val="black"/>
              </a:solidFill>
            </a:endParaRPr>
          </a:p>
        </p:txBody>
      </p:sp>
      <p:sp>
        <p:nvSpPr>
          <p:cNvPr id="5" name="页脚占位符 4"/>
          <p:cNvSpPr>
            <a:spLocks noGrp="1"/>
          </p:cNvSpPr>
          <p:nvPr>
            <p:ph type="ftr" sz="quarter" idx="11"/>
          </p:nvPr>
        </p:nvSpPr>
        <p:spPr>
          <a:xfrm>
            <a:off x="4249672" y="6484372"/>
            <a:ext cx="3938720" cy="372478"/>
          </a:xfrm>
        </p:spPr>
        <p:txBody>
          <a:bodyPr/>
          <a:lstStyle/>
          <a:p>
            <a:pPr defTabSz="932779"/>
            <a:endParaRPr lang="zh-CN" altLang="en-US" sz="1836">
              <a:solidFill>
                <a:prstClr val="black"/>
              </a:solidFill>
            </a:endParaRPr>
          </a:p>
        </p:txBody>
      </p:sp>
      <p:sp>
        <p:nvSpPr>
          <p:cNvPr id="6" name="灯片编号占位符 5"/>
          <p:cNvSpPr>
            <a:spLocks noGrp="1"/>
          </p:cNvSpPr>
          <p:nvPr>
            <p:ph type="sldNum" sz="quarter" idx="12"/>
          </p:nvPr>
        </p:nvSpPr>
        <p:spPr/>
        <p:txBody>
          <a:bodyPr/>
          <a:lstStyle/>
          <a:p>
            <a:fld id="{8BCDE635-3FC4-4B83-A3D1-632FFA341E9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045962171"/>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2_标题和内容">
    <p:spTree>
      <p:nvGrpSpPr>
        <p:cNvPr id="1" name=""/>
        <p:cNvGrpSpPr/>
        <p:nvPr/>
      </p:nvGrpSpPr>
      <p:grpSpPr>
        <a:xfrm>
          <a:off x="0" y="0"/>
          <a:ext cx="0" cy="0"/>
          <a:chOff x="0" y="0"/>
          <a:chExt cx="0" cy="0"/>
        </a:xfrm>
      </p:grpSpPr>
      <p:sp>
        <p:nvSpPr>
          <p:cNvPr id="2" name="KSO_BT1"/>
          <p:cNvSpPr>
            <a:spLocks noGrp="1"/>
          </p:cNvSpPr>
          <p:nvPr>
            <p:ph type="title"/>
          </p:nvPr>
        </p:nvSpPr>
        <p:spPr>
          <a:xfrm>
            <a:off x="1" y="79"/>
            <a:ext cx="6666323" cy="626437"/>
          </a:xfrm>
          <a:prstGeom prst="rect">
            <a:avLst/>
          </a:prstGeom>
          <a:solidFill>
            <a:srgbClr val="0F83CB">
              <a:alpha val="69804"/>
            </a:srgbClr>
          </a:solidFill>
          <a:effectLst>
            <a:outerShdw blurRad="50800" dist="38100" dir="2700000" algn="tl" rotWithShape="0">
              <a:prstClr val="black">
                <a:alpha val="40000"/>
              </a:prstClr>
            </a:outerShdw>
          </a:effectLst>
        </p:spPr>
        <p:txBody>
          <a:bodyPr lIns="288000" rIns="108000" anchor="ctr" anchorCtr="0">
            <a:normAutofit/>
          </a:bodyPr>
          <a:lstStyle>
            <a:lvl1pPr>
              <a:defRPr sz="2856">
                <a:solidFill>
                  <a:schemeClr val="bg1"/>
                </a:solidFill>
              </a:defRPr>
            </a:lvl1pPr>
          </a:lstStyle>
          <a:p>
            <a:r>
              <a:rPr lang="zh-CN" altLang="en-US" dirty="0"/>
              <a:t>单击此处编辑母版标题样式</a:t>
            </a:r>
            <a:endParaRPr lang="en-US" dirty="0"/>
          </a:p>
        </p:txBody>
      </p:sp>
      <p:sp>
        <p:nvSpPr>
          <p:cNvPr id="3" name="日期占位符 2"/>
          <p:cNvSpPr>
            <a:spLocks noGrp="1"/>
          </p:cNvSpPr>
          <p:nvPr>
            <p:ph type="dt" sz="half" idx="10"/>
          </p:nvPr>
        </p:nvSpPr>
        <p:spPr>
          <a:xfrm>
            <a:off x="1356354" y="6512207"/>
            <a:ext cx="2798564" cy="372478"/>
          </a:xfrm>
          <a:prstGeom prst="rect">
            <a:avLst/>
          </a:prstGeom>
        </p:spPr>
        <p:txBody>
          <a:bodyPr/>
          <a:lstStyle/>
          <a:p>
            <a:pPr defTabSz="932779"/>
            <a:fld id="{B1411C03-EC5D-4CEF-859C-149E65B28A42}" type="datetimeFigureOut">
              <a:rPr lang="zh-CN" altLang="en-US" sz="1836" smtClean="0">
                <a:solidFill>
                  <a:prstClr val="black"/>
                </a:solidFill>
              </a:rPr>
              <a:pPr defTabSz="932779"/>
              <a:t>2021/10/18</a:t>
            </a:fld>
            <a:endParaRPr lang="zh-CN" altLang="en-US" sz="1836">
              <a:solidFill>
                <a:prstClr val="black"/>
              </a:solidFill>
            </a:endParaRPr>
          </a:p>
        </p:txBody>
      </p:sp>
      <p:sp>
        <p:nvSpPr>
          <p:cNvPr id="4" name="页脚占位符 3"/>
          <p:cNvSpPr>
            <a:spLocks noGrp="1"/>
          </p:cNvSpPr>
          <p:nvPr>
            <p:ph type="ftr" sz="quarter" idx="11"/>
          </p:nvPr>
        </p:nvSpPr>
        <p:spPr>
          <a:xfrm>
            <a:off x="4370731" y="6526129"/>
            <a:ext cx="4197846" cy="372478"/>
          </a:xfrm>
          <a:prstGeom prst="rect">
            <a:avLst/>
          </a:prstGeom>
        </p:spPr>
        <p:txBody>
          <a:bodyPr/>
          <a:lstStyle/>
          <a:p>
            <a:pPr defTabSz="932779"/>
            <a:endParaRPr lang="zh-CN" altLang="en-US" sz="1836">
              <a:solidFill>
                <a:prstClr val="black"/>
              </a:solidFill>
            </a:endParaRPr>
          </a:p>
        </p:txBody>
      </p:sp>
      <p:sp>
        <p:nvSpPr>
          <p:cNvPr id="5" name="灯片编号占位符 4"/>
          <p:cNvSpPr>
            <a:spLocks noGrp="1"/>
          </p:cNvSpPr>
          <p:nvPr>
            <p:ph type="sldNum" sz="quarter" idx="12"/>
          </p:nvPr>
        </p:nvSpPr>
        <p:spPr>
          <a:xfrm>
            <a:off x="8784382" y="6526129"/>
            <a:ext cx="2798564" cy="372478"/>
          </a:xfrm>
          <a:prstGeom prst="rect">
            <a:avLst/>
          </a:prstGeom>
        </p:spPr>
        <p:txBody>
          <a:bodyPr/>
          <a:lstStyle/>
          <a:p>
            <a:fld id="{008FDCAB-C7EC-4DF4-ABF8-BBE44B2C83F2}" type="slidenum">
              <a:rPr lang="zh-CN" altLang="en-US" smtClean="0">
                <a:solidFill>
                  <a:prstClr val="black">
                    <a:tint val="75000"/>
                  </a:prstClr>
                </a:solidFill>
              </a:rPr>
              <a:pPr/>
              <a:t>‹#›</a:t>
            </a:fld>
            <a:endParaRPr lang="zh-CN" altLang="en-US" dirty="0">
              <a:solidFill>
                <a:prstClr val="black">
                  <a:tint val="75000"/>
                </a:prstClr>
              </a:solidFill>
            </a:endParaRPr>
          </a:p>
        </p:txBody>
      </p:sp>
    </p:spTree>
    <p:extLst>
      <p:ext uri="{BB962C8B-B14F-4D97-AF65-F5344CB8AC3E}">
        <p14:creationId xmlns:p14="http://schemas.microsoft.com/office/powerpoint/2010/main" val="4106878341"/>
      </p:ext>
    </p:extLst>
  </p:cSld>
  <p:clrMapOvr>
    <a:masterClrMapping/>
  </p:clrMapOvr>
  <p:hf hdr="0" ftr="0"/>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1027"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21948"/>
            <a:ext cx="12438065" cy="7018061"/>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3"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sp>
        <p:nvSpPr>
          <p:cNvPr id="4" name="矩形 3"/>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7" name="图片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41142793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2_标题幻灯片">
    <p:spTree>
      <p:nvGrpSpPr>
        <p:cNvPr id="1" name=""/>
        <p:cNvGrpSpPr/>
        <p:nvPr/>
      </p:nvGrpSpPr>
      <p:grpSpPr>
        <a:xfrm>
          <a:off x="0" y="0"/>
          <a:ext cx="0" cy="0"/>
          <a:chOff x="0" y="0"/>
          <a:chExt cx="0" cy="0"/>
        </a:xfrm>
      </p:grpSpPr>
      <p:pic>
        <p:nvPicPr>
          <p:cNvPr id="7" name="Picture 7">
            <a:extLst>
              <a:ext uri="{FF2B5EF4-FFF2-40B4-BE49-F238E27FC236}">
                <a16:creationId xmlns:a16="http://schemas.microsoft.com/office/drawing/2014/main" xmlns="" id="{89BCEE51-8A78-4C8B-9D18-390340F61D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20" y="-14135"/>
            <a:ext cx="12436444" cy="7010247"/>
          </a:xfrm>
          <a:prstGeom prst="rect">
            <a:avLst/>
          </a:prstGeom>
          <a:solidFill>
            <a:srgbClr val="005092"/>
          </a:solidFill>
          <a:ln>
            <a:noFill/>
          </a:ln>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8209933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16"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10975"/>
            <a:ext cx="12438065" cy="7007088"/>
          </a:xfrm>
          <a:prstGeom prst="rect">
            <a:avLst/>
          </a:prstGeom>
          <a:noFill/>
          <a:extLst>
            <a:ext uri="{909E8E84-426E-40DD-AFC4-6F175D3DCCD1}">
              <a14:hiddenFill xmlns:a14="http://schemas.microsoft.com/office/drawing/2010/main">
                <a:solidFill>
                  <a:srgbClr val="FFFFFF"/>
                </a:solidFill>
              </a14:hiddenFill>
            </a:ext>
          </a:extLst>
        </p:spPr>
      </p:pic>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defRPr/>
            </a:pPr>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44"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23069019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14"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32923"/>
            <a:ext cx="12438065" cy="7029036"/>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defRPr/>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defRPr/>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sp>
        <p:nvSpPr>
          <p:cNvPr id="11"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sp>
        <p:nvSpPr>
          <p:cNvPr id="24"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15" name="图片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3569112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2127393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4331281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590892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标题幻灯片">
    <p:bg>
      <p:bgPr>
        <a:solidFill>
          <a:schemeClr val="bg1">
            <a:lumMod val="95000"/>
          </a:schemeClr>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nvPr>
        </p:nvSpPr>
        <p:spPr>
          <a:xfrm>
            <a:off x="621903" y="6484372"/>
            <a:ext cx="2902215" cy="372478"/>
          </a:xfrm>
        </p:spPr>
        <p:txBody>
          <a:bodyPr/>
          <a:lstStyle/>
          <a:p>
            <a:pPr defTabSz="932779"/>
            <a:fld id="{8035C5D1-AD16-4B01-871F-DE047A6CFB67}" type="datetimeFigureOut">
              <a:rPr lang="zh-CN" altLang="en-US" sz="1836" smtClean="0">
                <a:solidFill>
                  <a:prstClr val="black"/>
                </a:solidFill>
              </a:rPr>
              <a:pPr defTabSz="932779"/>
              <a:t>2021/10/18</a:t>
            </a:fld>
            <a:endParaRPr lang="zh-CN" altLang="en-US" sz="1836">
              <a:solidFill>
                <a:prstClr val="black"/>
              </a:solidFill>
            </a:endParaRPr>
          </a:p>
        </p:txBody>
      </p:sp>
      <p:sp>
        <p:nvSpPr>
          <p:cNvPr id="5" name="页脚占位符 4"/>
          <p:cNvSpPr>
            <a:spLocks noGrp="1"/>
          </p:cNvSpPr>
          <p:nvPr>
            <p:ph type="ftr" sz="quarter" idx="11"/>
          </p:nvPr>
        </p:nvSpPr>
        <p:spPr>
          <a:xfrm>
            <a:off x="4249672" y="6484372"/>
            <a:ext cx="3938720" cy="372478"/>
          </a:xfrm>
        </p:spPr>
        <p:txBody>
          <a:bodyPr/>
          <a:lstStyle/>
          <a:p>
            <a:pPr defTabSz="932779"/>
            <a:endParaRPr lang="zh-CN" altLang="en-US" sz="1836">
              <a:solidFill>
                <a:prstClr val="black"/>
              </a:solidFill>
            </a:endParaRPr>
          </a:p>
        </p:txBody>
      </p:sp>
      <p:sp>
        <p:nvSpPr>
          <p:cNvPr id="6" name="灯片编号占位符 5"/>
          <p:cNvSpPr>
            <a:spLocks noGrp="1"/>
          </p:cNvSpPr>
          <p:nvPr>
            <p:ph type="sldNum" sz="quarter" idx="12"/>
          </p:nvPr>
        </p:nvSpPr>
        <p:spPr/>
        <p:txBody>
          <a:bodyPr/>
          <a:lstStyle/>
          <a:p>
            <a:fld id="{8BCDE635-3FC4-4B83-A3D1-632FFA341E9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787079383"/>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2_标题和内容">
    <p:spTree>
      <p:nvGrpSpPr>
        <p:cNvPr id="1" name=""/>
        <p:cNvGrpSpPr/>
        <p:nvPr/>
      </p:nvGrpSpPr>
      <p:grpSpPr>
        <a:xfrm>
          <a:off x="0" y="0"/>
          <a:ext cx="0" cy="0"/>
          <a:chOff x="0" y="0"/>
          <a:chExt cx="0" cy="0"/>
        </a:xfrm>
      </p:grpSpPr>
      <p:sp>
        <p:nvSpPr>
          <p:cNvPr id="2" name="KSO_BT1"/>
          <p:cNvSpPr>
            <a:spLocks noGrp="1"/>
          </p:cNvSpPr>
          <p:nvPr>
            <p:ph type="title"/>
          </p:nvPr>
        </p:nvSpPr>
        <p:spPr>
          <a:xfrm>
            <a:off x="1" y="79"/>
            <a:ext cx="6666323" cy="626437"/>
          </a:xfrm>
          <a:prstGeom prst="rect">
            <a:avLst/>
          </a:prstGeom>
          <a:solidFill>
            <a:srgbClr val="0F83CB">
              <a:alpha val="69804"/>
            </a:srgbClr>
          </a:solidFill>
          <a:effectLst>
            <a:outerShdw blurRad="50800" dist="38100" dir="2700000" algn="tl" rotWithShape="0">
              <a:prstClr val="black">
                <a:alpha val="40000"/>
              </a:prstClr>
            </a:outerShdw>
          </a:effectLst>
        </p:spPr>
        <p:txBody>
          <a:bodyPr lIns="288000" rIns="108000" anchor="ctr" anchorCtr="0">
            <a:normAutofit/>
          </a:bodyPr>
          <a:lstStyle>
            <a:lvl1pPr>
              <a:defRPr sz="2856">
                <a:solidFill>
                  <a:schemeClr val="bg1"/>
                </a:solidFill>
              </a:defRPr>
            </a:lvl1pPr>
          </a:lstStyle>
          <a:p>
            <a:r>
              <a:rPr lang="zh-CN" altLang="en-US" dirty="0"/>
              <a:t>单击此处编辑母版标题样式</a:t>
            </a:r>
            <a:endParaRPr lang="en-US" dirty="0"/>
          </a:p>
        </p:txBody>
      </p:sp>
      <p:sp>
        <p:nvSpPr>
          <p:cNvPr id="3" name="日期占位符 2"/>
          <p:cNvSpPr>
            <a:spLocks noGrp="1"/>
          </p:cNvSpPr>
          <p:nvPr>
            <p:ph type="dt" sz="half" idx="10"/>
          </p:nvPr>
        </p:nvSpPr>
        <p:spPr>
          <a:xfrm>
            <a:off x="1356354" y="6512207"/>
            <a:ext cx="2798564" cy="372478"/>
          </a:xfrm>
          <a:prstGeom prst="rect">
            <a:avLst/>
          </a:prstGeom>
        </p:spPr>
        <p:txBody>
          <a:bodyPr/>
          <a:lstStyle/>
          <a:p>
            <a:pPr defTabSz="932779"/>
            <a:fld id="{B1411C03-EC5D-4CEF-859C-149E65B28A42}" type="datetimeFigureOut">
              <a:rPr lang="zh-CN" altLang="en-US" sz="1836" smtClean="0">
                <a:solidFill>
                  <a:prstClr val="black"/>
                </a:solidFill>
              </a:rPr>
              <a:pPr defTabSz="932779"/>
              <a:t>2021/10/18</a:t>
            </a:fld>
            <a:endParaRPr lang="zh-CN" altLang="en-US" sz="1836">
              <a:solidFill>
                <a:prstClr val="black"/>
              </a:solidFill>
            </a:endParaRPr>
          </a:p>
        </p:txBody>
      </p:sp>
      <p:sp>
        <p:nvSpPr>
          <p:cNvPr id="4" name="页脚占位符 3"/>
          <p:cNvSpPr>
            <a:spLocks noGrp="1"/>
          </p:cNvSpPr>
          <p:nvPr>
            <p:ph type="ftr" sz="quarter" idx="11"/>
          </p:nvPr>
        </p:nvSpPr>
        <p:spPr>
          <a:xfrm>
            <a:off x="4370731" y="6526129"/>
            <a:ext cx="4197846" cy="372478"/>
          </a:xfrm>
          <a:prstGeom prst="rect">
            <a:avLst/>
          </a:prstGeom>
        </p:spPr>
        <p:txBody>
          <a:bodyPr/>
          <a:lstStyle/>
          <a:p>
            <a:pPr defTabSz="932779"/>
            <a:endParaRPr lang="zh-CN" altLang="en-US" sz="1836">
              <a:solidFill>
                <a:prstClr val="black"/>
              </a:solidFill>
            </a:endParaRPr>
          </a:p>
        </p:txBody>
      </p:sp>
      <p:sp>
        <p:nvSpPr>
          <p:cNvPr id="5" name="灯片编号占位符 4"/>
          <p:cNvSpPr>
            <a:spLocks noGrp="1"/>
          </p:cNvSpPr>
          <p:nvPr>
            <p:ph type="sldNum" sz="quarter" idx="12"/>
          </p:nvPr>
        </p:nvSpPr>
        <p:spPr>
          <a:xfrm>
            <a:off x="8784382" y="6526129"/>
            <a:ext cx="2798564" cy="372478"/>
          </a:xfrm>
          <a:prstGeom prst="rect">
            <a:avLst/>
          </a:prstGeom>
        </p:spPr>
        <p:txBody>
          <a:bodyPr/>
          <a:lstStyle/>
          <a:p>
            <a:fld id="{008FDCAB-C7EC-4DF4-ABF8-BBE44B2C83F2}" type="slidenum">
              <a:rPr lang="zh-CN" altLang="en-US" smtClean="0">
                <a:solidFill>
                  <a:prstClr val="black">
                    <a:tint val="75000"/>
                  </a:prstClr>
                </a:solidFill>
              </a:rPr>
              <a:pPr/>
              <a:t>‹#›</a:t>
            </a:fld>
            <a:endParaRPr lang="zh-CN" altLang="en-US" dirty="0">
              <a:solidFill>
                <a:prstClr val="black">
                  <a:tint val="75000"/>
                </a:prstClr>
              </a:solidFill>
            </a:endParaRPr>
          </a:p>
        </p:txBody>
      </p:sp>
    </p:spTree>
    <p:extLst>
      <p:ext uri="{BB962C8B-B14F-4D97-AF65-F5344CB8AC3E}">
        <p14:creationId xmlns:p14="http://schemas.microsoft.com/office/powerpoint/2010/main" val="3224871185"/>
      </p:ext>
    </p:extLst>
  </p:cSld>
  <p:clrMapOvr>
    <a:masterClrMapping/>
  </p:clrMapOvr>
  <p:hf hdr="0" ftr="0"/>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1027"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21948"/>
            <a:ext cx="12438065" cy="7018061"/>
          </a:xfrm>
          <a:prstGeom prst="rect">
            <a:avLst/>
          </a:prstGeom>
          <a:noFill/>
          <a:extLst>
            <a:ext uri="{909E8E84-426E-40DD-AFC4-6F175D3DCCD1}">
              <a14:hiddenFill xmlns:a14="http://schemas.microsoft.com/office/drawing/2010/main">
                <a:solidFill>
                  <a:srgbClr val="FFFFFF"/>
                </a:solidFill>
              </a14:hiddenFill>
            </a:ext>
          </a:extLst>
        </p:spPr>
      </p:pic>
      <p:sp>
        <p:nvSpPr>
          <p:cNvPr id="2"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3"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sp>
        <p:nvSpPr>
          <p:cNvPr id="4" name="矩形 3"/>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5" name="图片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7" name="图片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25341450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16"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10975"/>
            <a:ext cx="12438065" cy="7007088"/>
          </a:xfrm>
          <a:prstGeom prst="rect">
            <a:avLst/>
          </a:prstGeom>
          <a:noFill/>
          <a:extLst>
            <a:ext uri="{909E8E84-426E-40DD-AFC4-6F175D3DCCD1}">
              <a14:hiddenFill xmlns:a14="http://schemas.microsoft.com/office/drawing/2010/main">
                <a:solidFill>
                  <a:srgbClr val="FFFFFF"/>
                </a:solidFill>
              </a14:hiddenFill>
            </a:ext>
          </a:extLst>
        </p:spPr>
      </p:pic>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3"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defRPr/>
            </a:pPr>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44"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7" name="图片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7828788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030712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节标题">
    <p:spTree>
      <p:nvGrpSpPr>
        <p:cNvPr id="1" name=""/>
        <p:cNvGrpSpPr/>
        <p:nvPr/>
      </p:nvGrpSpPr>
      <p:grpSpPr>
        <a:xfrm>
          <a:off x="0" y="0"/>
          <a:ext cx="0" cy="0"/>
          <a:chOff x="0" y="0"/>
          <a:chExt cx="0" cy="0"/>
        </a:xfrm>
      </p:grpSpPr>
      <p:pic>
        <p:nvPicPr>
          <p:cNvPr id="7" name="Picture 7">
            <a:extLst>
              <a:ext uri="{FF2B5EF4-FFF2-40B4-BE49-F238E27FC236}">
                <a16:creationId xmlns:a16="http://schemas.microsoft.com/office/drawing/2014/main" xmlns="" id="{07333706-252B-4A38-8A5B-BD665AB49D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20" y="-14135"/>
            <a:ext cx="12436444" cy="7010247"/>
          </a:xfrm>
          <a:prstGeom prst="rect">
            <a:avLst/>
          </a:prstGeom>
          <a:solidFill>
            <a:srgbClr val="005092"/>
          </a:solidFill>
          <a:ln>
            <a:noFill/>
          </a:ln>
        </p:spPr>
      </p:pic>
      <p:sp>
        <p:nvSpPr>
          <p:cNvPr id="1048756" name="灯片编号占位符 5"/>
          <p:cNvSpPr>
            <a:spLocks noGrp="1"/>
          </p:cNvSpPr>
          <p:nvPr>
            <p:ph type="sldNum" sz="quarter" idx="12"/>
          </p:nvPr>
        </p:nvSpPr>
        <p:spPr/>
        <p:txBody>
          <a:bodyPr/>
          <a:lstStyle/>
          <a:p>
            <a:fld id="{4B1B0860-3CE7-4EC1-80B2-E4FAEF86BBEB}" type="slidenum">
              <a:rPr lang="zh-CN" altLang="en-US" smtClean="0"/>
              <a:t>‹#›</a:t>
            </a:fld>
            <a:endParaRPr lang="zh-CN" altLang="en-US"/>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r>
              <a:rPr lang="zh-CN" altLang="en-US" sz="4080" b="1" dirty="0">
                <a:ln w="18415" cmpd="sng">
                  <a:noFill/>
                  <a:prstDash val="solid"/>
                </a:ln>
                <a:solidFill>
                  <a:srgbClr val="FFFFFF"/>
                </a:solidFill>
                <a:effectLst/>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normAutofit/>
          </a:bodyPr>
          <a:lstStyle>
            <a:lvl1pPr marL="466390" indent="-466390">
              <a:lnSpc>
                <a:spcPct val="150000"/>
              </a:lnSpc>
              <a:spcAft>
                <a:spcPts val="0"/>
              </a:spcAft>
              <a:buFont typeface="+mj-ea"/>
              <a:buAutoNum type="ea1JpnChsDbPeriod"/>
              <a:defRPr sz="3200" b="1">
                <a:solidFill>
                  <a:schemeClr val="bg1"/>
                </a:solidFill>
              </a:defRPr>
            </a:lvl1pPr>
          </a:lstStyle>
          <a:p>
            <a:pPr lvl="0"/>
            <a:r>
              <a:rPr lang="zh-CN" altLang="en-US" dirty="0"/>
              <a:t>单击此处编辑目录文本样式</a:t>
            </a:r>
            <a:endParaRPr lang="en-US" altLang="zh-CN" dirty="0"/>
          </a:p>
          <a:p>
            <a:pPr lvl="0"/>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grpSp>
        <p:nvGrpSpPr>
          <p:cNvPr id="9" name="Group 4">
            <a:extLst>
              <a:ext uri="{FF2B5EF4-FFF2-40B4-BE49-F238E27FC236}">
                <a16:creationId xmlns:a16="http://schemas.microsoft.com/office/drawing/2014/main" xmlns="" id="{AE264CC6-8DA7-4884-A041-1EFDCF1998F8}"/>
              </a:ext>
            </a:extLst>
          </p:cNvPr>
          <p:cNvGrpSpPr>
            <a:grpSpLocks noChangeAspect="1"/>
          </p:cNvGrpSpPr>
          <p:nvPr userDrawn="1"/>
        </p:nvGrpSpPr>
        <p:grpSpPr bwMode="auto">
          <a:xfrm>
            <a:off x="5689116" y="4170849"/>
            <a:ext cx="6747327" cy="2812257"/>
            <a:chOff x="3108" y="2901"/>
            <a:chExt cx="2877" cy="1294"/>
          </a:xfrm>
          <a:solidFill>
            <a:srgbClr val="99CCFF"/>
          </a:solidFill>
        </p:grpSpPr>
        <p:sp>
          <p:nvSpPr>
            <p:cNvPr id="10" name="Freeform 6">
              <a:extLst>
                <a:ext uri="{FF2B5EF4-FFF2-40B4-BE49-F238E27FC236}">
                  <a16:creationId xmlns:a16="http://schemas.microsoft.com/office/drawing/2014/main" xmlns="" id="{996F7D6F-820B-43E5-8786-70C6020BC9B7}"/>
                </a:ext>
              </a:extLst>
            </p:cNvPr>
            <p:cNvSpPr/>
            <p:nvPr userDrawn="1"/>
          </p:nvSpPr>
          <p:spPr bwMode="auto">
            <a:xfrm>
              <a:off x="4687" y="2901"/>
              <a:ext cx="1298" cy="1294"/>
            </a:xfrm>
            <a:custGeom>
              <a:avLst/>
              <a:gdLst>
                <a:gd name="T0" fmla="*/ 229 w 548"/>
                <a:gd name="T1" fmla="*/ 478 h 545"/>
                <a:gd name="T2" fmla="*/ 248 w 548"/>
                <a:gd name="T3" fmla="*/ 452 h 545"/>
                <a:gd name="T4" fmla="*/ 267 w 548"/>
                <a:gd name="T5" fmla="*/ 379 h 545"/>
                <a:gd name="T6" fmla="*/ 247 w 548"/>
                <a:gd name="T7" fmla="*/ 357 h 545"/>
                <a:gd name="T8" fmla="*/ 231 w 548"/>
                <a:gd name="T9" fmla="*/ 283 h 545"/>
                <a:gd name="T10" fmla="*/ 227 w 548"/>
                <a:gd name="T11" fmla="*/ 241 h 545"/>
                <a:gd name="T12" fmla="*/ 201 w 548"/>
                <a:gd name="T13" fmla="*/ 218 h 545"/>
                <a:gd name="T14" fmla="*/ 216 w 548"/>
                <a:gd name="T15" fmla="*/ 196 h 545"/>
                <a:gd name="T16" fmla="*/ 212 w 548"/>
                <a:gd name="T17" fmla="*/ 141 h 545"/>
                <a:gd name="T18" fmla="*/ 216 w 548"/>
                <a:gd name="T19" fmla="*/ 124 h 545"/>
                <a:gd name="T20" fmla="*/ 221 w 548"/>
                <a:gd name="T21" fmla="*/ 101 h 545"/>
                <a:gd name="T22" fmla="*/ 220 w 548"/>
                <a:gd name="T23" fmla="*/ 77 h 545"/>
                <a:gd name="T24" fmla="*/ 211 w 548"/>
                <a:gd name="T25" fmla="*/ 71 h 545"/>
                <a:gd name="T26" fmla="*/ 208 w 548"/>
                <a:gd name="T27" fmla="*/ 35 h 545"/>
                <a:gd name="T28" fmla="*/ 211 w 548"/>
                <a:gd name="T29" fmla="*/ 21 h 545"/>
                <a:gd name="T30" fmla="*/ 266 w 548"/>
                <a:gd name="T31" fmla="*/ 33 h 545"/>
                <a:gd name="T32" fmla="*/ 299 w 548"/>
                <a:gd name="T33" fmla="*/ 38 h 545"/>
                <a:gd name="T34" fmla="*/ 320 w 548"/>
                <a:gd name="T35" fmla="*/ 57 h 545"/>
                <a:gd name="T36" fmla="*/ 358 w 548"/>
                <a:gd name="T37" fmla="*/ 99 h 545"/>
                <a:gd name="T38" fmla="*/ 356 w 548"/>
                <a:gd name="T39" fmla="*/ 124 h 545"/>
                <a:gd name="T40" fmla="*/ 398 w 548"/>
                <a:gd name="T41" fmla="*/ 137 h 545"/>
                <a:gd name="T42" fmla="*/ 376 w 548"/>
                <a:gd name="T43" fmla="*/ 190 h 545"/>
                <a:gd name="T44" fmla="*/ 376 w 548"/>
                <a:gd name="T45" fmla="*/ 222 h 545"/>
                <a:gd name="T46" fmla="*/ 365 w 548"/>
                <a:gd name="T47" fmla="*/ 202 h 545"/>
                <a:gd name="T48" fmla="*/ 362 w 548"/>
                <a:gd name="T49" fmla="*/ 213 h 545"/>
                <a:gd name="T50" fmla="*/ 360 w 548"/>
                <a:gd name="T51" fmla="*/ 250 h 545"/>
                <a:gd name="T52" fmla="*/ 364 w 548"/>
                <a:gd name="T53" fmla="*/ 285 h 545"/>
                <a:gd name="T54" fmla="*/ 410 w 548"/>
                <a:gd name="T55" fmla="*/ 321 h 545"/>
                <a:gd name="T56" fmla="*/ 369 w 548"/>
                <a:gd name="T57" fmla="*/ 292 h 545"/>
                <a:gd name="T58" fmla="*/ 356 w 548"/>
                <a:gd name="T59" fmla="*/ 284 h 545"/>
                <a:gd name="T60" fmla="*/ 349 w 548"/>
                <a:gd name="T61" fmla="*/ 240 h 545"/>
                <a:gd name="T62" fmla="*/ 305 w 548"/>
                <a:gd name="T63" fmla="*/ 243 h 545"/>
                <a:gd name="T64" fmla="*/ 298 w 548"/>
                <a:gd name="T65" fmla="*/ 338 h 545"/>
                <a:gd name="T66" fmla="*/ 302 w 548"/>
                <a:gd name="T67" fmla="*/ 389 h 545"/>
                <a:gd name="T68" fmla="*/ 297 w 548"/>
                <a:gd name="T69" fmla="*/ 445 h 545"/>
                <a:gd name="T70" fmla="*/ 332 w 548"/>
                <a:gd name="T71" fmla="*/ 445 h 545"/>
                <a:gd name="T72" fmla="*/ 390 w 548"/>
                <a:gd name="T73" fmla="*/ 461 h 545"/>
                <a:gd name="T74" fmla="*/ 424 w 548"/>
                <a:gd name="T75" fmla="*/ 459 h 545"/>
                <a:gd name="T76" fmla="*/ 429 w 548"/>
                <a:gd name="T77" fmla="*/ 449 h 545"/>
                <a:gd name="T78" fmla="*/ 440 w 548"/>
                <a:gd name="T79" fmla="*/ 455 h 545"/>
                <a:gd name="T80" fmla="*/ 466 w 548"/>
                <a:gd name="T81" fmla="*/ 449 h 545"/>
                <a:gd name="T82" fmla="*/ 504 w 548"/>
                <a:gd name="T83" fmla="*/ 451 h 545"/>
                <a:gd name="T84" fmla="*/ 536 w 548"/>
                <a:gd name="T85" fmla="*/ 453 h 545"/>
                <a:gd name="T86" fmla="*/ 548 w 548"/>
                <a:gd name="T87" fmla="*/ 500 h 545"/>
                <a:gd name="T88" fmla="*/ 10 w 548"/>
                <a:gd name="T89" fmla="*/ 541 h 545"/>
                <a:gd name="T90" fmla="*/ 41 w 548"/>
                <a:gd name="T91" fmla="*/ 530 h 545"/>
                <a:gd name="T92" fmla="*/ 77 w 548"/>
                <a:gd name="T93" fmla="*/ 519 h 545"/>
                <a:gd name="T94" fmla="*/ 115 w 548"/>
                <a:gd name="T95" fmla="*/ 509 h 545"/>
                <a:gd name="T96" fmla="*/ 140 w 548"/>
                <a:gd name="T97" fmla="*/ 501 h 545"/>
                <a:gd name="T98" fmla="*/ 179 w 548"/>
                <a:gd name="T99" fmla="*/ 487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8" h="545">
                  <a:moveTo>
                    <a:pt x="194" y="481"/>
                  </a:moveTo>
                  <a:cubicBezTo>
                    <a:pt x="203" y="483"/>
                    <a:pt x="211" y="485"/>
                    <a:pt x="217" y="486"/>
                  </a:cubicBezTo>
                  <a:cubicBezTo>
                    <a:pt x="222" y="483"/>
                    <a:pt x="225" y="480"/>
                    <a:pt x="229" y="478"/>
                  </a:cubicBezTo>
                  <a:cubicBezTo>
                    <a:pt x="237" y="475"/>
                    <a:pt x="241" y="469"/>
                    <a:pt x="247" y="463"/>
                  </a:cubicBezTo>
                  <a:cubicBezTo>
                    <a:pt x="249" y="461"/>
                    <a:pt x="250" y="458"/>
                    <a:pt x="252" y="456"/>
                  </a:cubicBezTo>
                  <a:cubicBezTo>
                    <a:pt x="251" y="455"/>
                    <a:pt x="250" y="453"/>
                    <a:pt x="248" y="452"/>
                  </a:cubicBezTo>
                  <a:cubicBezTo>
                    <a:pt x="252" y="437"/>
                    <a:pt x="256" y="422"/>
                    <a:pt x="266" y="409"/>
                  </a:cubicBezTo>
                  <a:cubicBezTo>
                    <a:pt x="266" y="405"/>
                    <a:pt x="264" y="400"/>
                    <a:pt x="264" y="394"/>
                  </a:cubicBezTo>
                  <a:cubicBezTo>
                    <a:pt x="264" y="389"/>
                    <a:pt x="266" y="384"/>
                    <a:pt x="267" y="379"/>
                  </a:cubicBezTo>
                  <a:cubicBezTo>
                    <a:pt x="264" y="378"/>
                    <a:pt x="263" y="377"/>
                    <a:pt x="261" y="376"/>
                  </a:cubicBezTo>
                  <a:cubicBezTo>
                    <a:pt x="255" y="372"/>
                    <a:pt x="249" y="369"/>
                    <a:pt x="249" y="361"/>
                  </a:cubicBezTo>
                  <a:cubicBezTo>
                    <a:pt x="249" y="359"/>
                    <a:pt x="247" y="359"/>
                    <a:pt x="247" y="357"/>
                  </a:cubicBezTo>
                  <a:cubicBezTo>
                    <a:pt x="243" y="350"/>
                    <a:pt x="241" y="341"/>
                    <a:pt x="239" y="333"/>
                  </a:cubicBezTo>
                  <a:cubicBezTo>
                    <a:pt x="237" y="323"/>
                    <a:pt x="235" y="312"/>
                    <a:pt x="233" y="302"/>
                  </a:cubicBezTo>
                  <a:cubicBezTo>
                    <a:pt x="232" y="295"/>
                    <a:pt x="232" y="289"/>
                    <a:pt x="231" y="283"/>
                  </a:cubicBezTo>
                  <a:cubicBezTo>
                    <a:pt x="231" y="279"/>
                    <a:pt x="230" y="274"/>
                    <a:pt x="230" y="270"/>
                  </a:cubicBezTo>
                  <a:cubicBezTo>
                    <a:pt x="229" y="265"/>
                    <a:pt x="231" y="260"/>
                    <a:pt x="229" y="255"/>
                  </a:cubicBezTo>
                  <a:cubicBezTo>
                    <a:pt x="227" y="250"/>
                    <a:pt x="228" y="246"/>
                    <a:pt x="227" y="241"/>
                  </a:cubicBezTo>
                  <a:cubicBezTo>
                    <a:pt x="220" y="237"/>
                    <a:pt x="211" y="235"/>
                    <a:pt x="205" y="227"/>
                  </a:cubicBezTo>
                  <a:cubicBezTo>
                    <a:pt x="205" y="226"/>
                    <a:pt x="204" y="224"/>
                    <a:pt x="204" y="222"/>
                  </a:cubicBezTo>
                  <a:cubicBezTo>
                    <a:pt x="203" y="220"/>
                    <a:pt x="202" y="219"/>
                    <a:pt x="201" y="218"/>
                  </a:cubicBezTo>
                  <a:cubicBezTo>
                    <a:pt x="201" y="214"/>
                    <a:pt x="201" y="210"/>
                    <a:pt x="201" y="206"/>
                  </a:cubicBezTo>
                  <a:cubicBezTo>
                    <a:pt x="203" y="204"/>
                    <a:pt x="205" y="202"/>
                    <a:pt x="208" y="200"/>
                  </a:cubicBezTo>
                  <a:cubicBezTo>
                    <a:pt x="210" y="199"/>
                    <a:pt x="214" y="201"/>
                    <a:pt x="216" y="196"/>
                  </a:cubicBezTo>
                  <a:cubicBezTo>
                    <a:pt x="214" y="188"/>
                    <a:pt x="211" y="179"/>
                    <a:pt x="212" y="170"/>
                  </a:cubicBezTo>
                  <a:cubicBezTo>
                    <a:pt x="213" y="161"/>
                    <a:pt x="215" y="153"/>
                    <a:pt x="217" y="145"/>
                  </a:cubicBezTo>
                  <a:cubicBezTo>
                    <a:pt x="216" y="144"/>
                    <a:pt x="214" y="142"/>
                    <a:pt x="212" y="141"/>
                  </a:cubicBezTo>
                  <a:cubicBezTo>
                    <a:pt x="213" y="136"/>
                    <a:pt x="216" y="136"/>
                    <a:pt x="220" y="136"/>
                  </a:cubicBezTo>
                  <a:cubicBezTo>
                    <a:pt x="220" y="133"/>
                    <a:pt x="220" y="130"/>
                    <a:pt x="220" y="127"/>
                  </a:cubicBezTo>
                  <a:cubicBezTo>
                    <a:pt x="219" y="126"/>
                    <a:pt x="218" y="125"/>
                    <a:pt x="216" y="124"/>
                  </a:cubicBezTo>
                  <a:cubicBezTo>
                    <a:pt x="216" y="121"/>
                    <a:pt x="216" y="119"/>
                    <a:pt x="218" y="116"/>
                  </a:cubicBezTo>
                  <a:cubicBezTo>
                    <a:pt x="219" y="114"/>
                    <a:pt x="220" y="110"/>
                    <a:pt x="221" y="107"/>
                  </a:cubicBezTo>
                  <a:cubicBezTo>
                    <a:pt x="222" y="105"/>
                    <a:pt x="222" y="103"/>
                    <a:pt x="221" y="101"/>
                  </a:cubicBezTo>
                  <a:cubicBezTo>
                    <a:pt x="218" y="97"/>
                    <a:pt x="216" y="92"/>
                    <a:pt x="214" y="87"/>
                  </a:cubicBezTo>
                  <a:cubicBezTo>
                    <a:pt x="211" y="82"/>
                    <a:pt x="212" y="82"/>
                    <a:pt x="215" y="77"/>
                  </a:cubicBezTo>
                  <a:cubicBezTo>
                    <a:pt x="217" y="77"/>
                    <a:pt x="219" y="77"/>
                    <a:pt x="220" y="77"/>
                  </a:cubicBezTo>
                  <a:cubicBezTo>
                    <a:pt x="219" y="75"/>
                    <a:pt x="217" y="74"/>
                    <a:pt x="216" y="72"/>
                  </a:cubicBezTo>
                  <a:cubicBezTo>
                    <a:pt x="216" y="72"/>
                    <a:pt x="217" y="71"/>
                    <a:pt x="217" y="71"/>
                  </a:cubicBezTo>
                  <a:cubicBezTo>
                    <a:pt x="215" y="71"/>
                    <a:pt x="213" y="71"/>
                    <a:pt x="211" y="71"/>
                  </a:cubicBezTo>
                  <a:cubicBezTo>
                    <a:pt x="205" y="66"/>
                    <a:pt x="204" y="58"/>
                    <a:pt x="205" y="50"/>
                  </a:cubicBezTo>
                  <a:cubicBezTo>
                    <a:pt x="203" y="49"/>
                    <a:pt x="202" y="48"/>
                    <a:pt x="200" y="47"/>
                  </a:cubicBezTo>
                  <a:cubicBezTo>
                    <a:pt x="203" y="43"/>
                    <a:pt x="206" y="39"/>
                    <a:pt x="208" y="35"/>
                  </a:cubicBezTo>
                  <a:cubicBezTo>
                    <a:pt x="202" y="34"/>
                    <a:pt x="195" y="33"/>
                    <a:pt x="188" y="29"/>
                  </a:cubicBezTo>
                  <a:cubicBezTo>
                    <a:pt x="191" y="24"/>
                    <a:pt x="195" y="23"/>
                    <a:pt x="200" y="23"/>
                  </a:cubicBezTo>
                  <a:cubicBezTo>
                    <a:pt x="204" y="23"/>
                    <a:pt x="208" y="22"/>
                    <a:pt x="211" y="21"/>
                  </a:cubicBezTo>
                  <a:cubicBezTo>
                    <a:pt x="216" y="14"/>
                    <a:pt x="216" y="5"/>
                    <a:pt x="223" y="0"/>
                  </a:cubicBezTo>
                  <a:cubicBezTo>
                    <a:pt x="240" y="1"/>
                    <a:pt x="256" y="4"/>
                    <a:pt x="268" y="19"/>
                  </a:cubicBezTo>
                  <a:cubicBezTo>
                    <a:pt x="268" y="23"/>
                    <a:pt x="267" y="28"/>
                    <a:pt x="266" y="33"/>
                  </a:cubicBezTo>
                  <a:cubicBezTo>
                    <a:pt x="270" y="39"/>
                    <a:pt x="280" y="41"/>
                    <a:pt x="282" y="50"/>
                  </a:cubicBezTo>
                  <a:cubicBezTo>
                    <a:pt x="285" y="50"/>
                    <a:pt x="287" y="50"/>
                    <a:pt x="290" y="50"/>
                  </a:cubicBezTo>
                  <a:cubicBezTo>
                    <a:pt x="293" y="46"/>
                    <a:pt x="296" y="42"/>
                    <a:pt x="299" y="38"/>
                  </a:cubicBezTo>
                  <a:cubicBezTo>
                    <a:pt x="301" y="38"/>
                    <a:pt x="303" y="38"/>
                    <a:pt x="305" y="38"/>
                  </a:cubicBezTo>
                  <a:cubicBezTo>
                    <a:pt x="308" y="42"/>
                    <a:pt x="313" y="44"/>
                    <a:pt x="315" y="49"/>
                  </a:cubicBezTo>
                  <a:cubicBezTo>
                    <a:pt x="316" y="52"/>
                    <a:pt x="318" y="54"/>
                    <a:pt x="320" y="57"/>
                  </a:cubicBezTo>
                  <a:cubicBezTo>
                    <a:pt x="325" y="56"/>
                    <a:pt x="327" y="61"/>
                    <a:pt x="332" y="62"/>
                  </a:cubicBezTo>
                  <a:cubicBezTo>
                    <a:pt x="342" y="64"/>
                    <a:pt x="349" y="70"/>
                    <a:pt x="353" y="80"/>
                  </a:cubicBezTo>
                  <a:cubicBezTo>
                    <a:pt x="355" y="86"/>
                    <a:pt x="356" y="93"/>
                    <a:pt x="358" y="99"/>
                  </a:cubicBezTo>
                  <a:cubicBezTo>
                    <a:pt x="359" y="105"/>
                    <a:pt x="356" y="110"/>
                    <a:pt x="355" y="115"/>
                  </a:cubicBezTo>
                  <a:cubicBezTo>
                    <a:pt x="353" y="114"/>
                    <a:pt x="352" y="114"/>
                    <a:pt x="350" y="113"/>
                  </a:cubicBezTo>
                  <a:cubicBezTo>
                    <a:pt x="351" y="118"/>
                    <a:pt x="353" y="121"/>
                    <a:pt x="356" y="124"/>
                  </a:cubicBezTo>
                  <a:cubicBezTo>
                    <a:pt x="355" y="127"/>
                    <a:pt x="355" y="127"/>
                    <a:pt x="355" y="133"/>
                  </a:cubicBezTo>
                  <a:cubicBezTo>
                    <a:pt x="361" y="129"/>
                    <a:pt x="367" y="125"/>
                    <a:pt x="373" y="121"/>
                  </a:cubicBezTo>
                  <a:cubicBezTo>
                    <a:pt x="384" y="121"/>
                    <a:pt x="392" y="127"/>
                    <a:pt x="398" y="137"/>
                  </a:cubicBezTo>
                  <a:cubicBezTo>
                    <a:pt x="403" y="143"/>
                    <a:pt x="405" y="150"/>
                    <a:pt x="404" y="158"/>
                  </a:cubicBezTo>
                  <a:cubicBezTo>
                    <a:pt x="403" y="166"/>
                    <a:pt x="401" y="174"/>
                    <a:pt x="395" y="179"/>
                  </a:cubicBezTo>
                  <a:cubicBezTo>
                    <a:pt x="387" y="186"/>
                    <a:pt x="387" y="187"/>
                    <a:pt x="376" y="190"/>
                  </a:cubicBezTo>
                  <a:cubicBezTo>
                    <a:pt x="374" y="191"/>
                    <a:pt x="373" y="192"/>
                    <a:pt x="371" y="192"/>
                  </a:cubicBezTo>
                  <a:cubicBezTo>
                    <a:pt x="374" y="197"/>
                    <a:pt x="373" y="202"/>
                    <a:pt x="374" y="207"/>
                  </a:cubicBezTo>
                  <a:cubicBezTo>
                    <a:pt x="374" y="212"/>
                    <a:pt x="375" y="217"/>
                    <a:pt x="376" y="222"/>
                  </a:cubicBezTo>
                  <a:cubicBezTo>
                    <a:pt x="372" y="223"/>
                    <a:pt x="368" y="224"/>
                    <a:pt x="366" y="219"/>
                  </a:cubicBezTo>
                  <a:cubicBezTo>
                    <a:pt x="366" y="214"/>
                    <a:pt x="366" y="208"/>
                    <a:pt x="366" y="202"/>
                  </a:cubicBezTo>
                  <a:cubicBezTo>
                    <a:pt x="365" y="202"/>
                    <a:pt x="365" y="202"/>
                    <a:pt x="365" y="202"/>
                  </a:cubicBezTo>
                  <a:cubicBezTo>
                    <a:pt x="364" y="203"/>
                    <a:pt x="364" y="204"/>
                    <a:pt x="364" y="205"/>
                  </a:cubicBezTo>
                  <a:cubicBezTo>
                    <a:pt x="363" y="206"/>
                    <a:pt x="362" y="207"/>
                    <a:pt x="362" y="208"/>
                  </a:cubicBezTo>
                  <a:cubicBezTo>
                    <a:pt x="362" y="210"/>
                    <a:pt x="362" y="211"/>
                    <a:pt x="362" y="213"/>
                  </a:cubicBezTo>
                  <a:cubicBezTo>
                    <a:pt x="362" y="214"/>
                    <a:pt x="362" y="215"/>
                    <a:pt x="361" y="217"/>
                  </a:cubicBezTo>
                  <a:cubicBezTo>
                    <a:pt x="358" y="225"/>
                    <a:pt x="356" y="234"/>
                    <a:pt x="360" y="243"/>
                  </a:cubicBezTo>
                  <a:cubicBezTo>
                    <a:pt x="361" y="245"/>
                    <a:pt x="360" y="248"/>
                    <a:pt x="360" y="250"/>
                  </a:cubicBezTo>
                  <a:cubicBezTo>
                    <a:pt x="360" y="254"/>
                    <a:pt x="360" y="257"/>
                    <a:pt x="362" y="261"/>
                  </a:cubicBezTo>
                  <a:cubicBezTo>
                    <a:pt x="364" y="267"/>
                    <a:pt x="363" y="274"/>
                    <a:pt x="366" y="281"/>
                  </a:cubicBezTo>
                  <a:cubicBezTo>
                    <a:pt x="366" y="282"/>
                    <a:pt x="365" y="284"/>
                    <a:pt x="364" y="285"/>
                  </a:cubicBezTo>
                  <a:cubicBezTo>
                    <a:pt x="366" y="287"/>
                    <a:pt x="369" y="289"/>
                    <a:pt x="372" y="290"/>
                  </a:cubicBezTo>
                  <a:cubicBezTo>
                    <a:pt x="379" y="292"/>
                    <a:pt x="385" y="297"/>
                    <a:pt x="390" y="302"/>
                  </a:cubicBezTo>
                  <a:cubicBezTo>
                    <a:pt x="397" y="308"/>
                    <a:pt x="402" y="314"/>
                    <a:pt x="410" y="321"/>
                  </a:cubicBezTo>
                  <a:cubicBezTo>
                    <a:pt x="406" y="320"/>
                    <a:pt x="405" y="320"/>
                    <a:pt x="404" y="319"/>
                  </a:cubicBezTo>
                  <a:cubicBezTo>
                    <a:pt x="395" y="312"/>
                    <a:pt x="387" y="304"/>
                    <a:pt x="378" y="297"/>
                  </a:cubicBezTo>
                  <a:cubicBezTo>
                    <a:pt x="375" y="295"/>
                    <a:pt x="372" y="293"/>
                    <a:pt x="369" y="292"/>
                  </a:cubicBezTo>
                  <a:cubicBezTo>
                    <a:pt x="366" y="291"/>
                    <a:pt x="363" y="292"/>
                    <a:pt x="359" y="291"/>
                  </a:cubicBezTo>
                  <a:cubicBezTo>
                    <a:pt x="358" y="290"/>
                    <a:pt x="354" y="289"/>
                    <a:pt x="354" y="285"/>
                  </a:cubicBezTo>
                  <a:cubicBezTo>
                    <a:pt x="355" y="285"/>
                    <a:pt x="356" y="284"/>
                    <a:pt x="356" y="284"/>
                  </a:cubicBezTo>
                  <a:cubicBezTo>
                    <a:pt x="357" y="284"/>
                    <a:pt x="358" y="285"/>
                    <a:pt x="359" y="286"/>
                  </a:cubicBezTo>
                  <a:cubicBezTo>
                    <a:pt x="359" y="285"/>
                    <a:pt x="360" y="285"/>
                    <a:pt x="360" y="284"/>
                  </a:cubicBezTo>
                  <a:cubicBezTo>
                    <a:pt x="360" y="279"/>
                    <a:pt x="353" y="247"/>
                    <a:pt x="349" y="240"/>
                  </a:cubicBezTo>
                  <a:cubicBezTo>
                    <a:pt x="344" y="244"/>
                    <a:pt x="339" y="249"/>
                    <a:pt x="333" y="254"/>
                  </a:cubicBezTo>
                  <a:cubicBezTo>
                    <a:pt x="332" y="253"/>
                    <a:pt x="330" y="251"/>
                    <a:pt x="328" y="249"/>
                  </a:cubicBezTo>
                  <a:cubicBezTo>
                    <a:pt x="320" y="251"/>
                    <a:pt x="313" y="247"/>
                    <a:pt x="305" y="243"/>
                  </a:cubicBezTo>
                  <a:cubicBezTo>
                    <a:pt x="302" y="253"/>
                    <a:pt x="302" y="262"/>
                    <a:pt x="303" y="271"/>
                  </a:cubicBezTo>
                  <a:cubicBezTo>
                    <a:pt x="303" y="281"/>
                    <a:pt x="299" y="290"/>
                    <a:pt x="298" y="299"/>
                  </a:cubicBezTo>
                  <a:cubicBezTo>
                    <a:pt x="296" y="312"/>
                    <a:pt x="296" y="325"/>
                    <a:pt x="298" y="338"/>
                  </a:cubicBezTo>
                  <a:cubicBezTo>
                    <a:pt x="298" y="339"/>
                    <a:pt x="299" y="339"/>
                    <a:pt x="299" y="340"/>
                  </a:cubicBezTo>
                  <a:cubicBezTo>
                    <a:pt x="298" y="349"/>
                    <a:pt x="302" y="358"/>
                    <a:pt x="300" y="367"/>
                  </a:cubicBezTo>
                  <a:cubicBezTo>
                    <a:pt x="299" y="375"/>
                    <a:pt x="303" y="381"/>
                    <a:pt x="302" y="389"/>
                  </a:cubicBezTo>
                  <a:cubicBezTo>
                    <a:pt x="302" y="396"/>
                    <a:pt x="303" y="403"/>
                    <a:pt x="302" y="410"/>
                  </a:cubicBezTo>
                  <a:cubicBezTo>
                    <a:pt x="301" y="419"/>
                    <a:pt x="301" y="429"/>
                    <a:pt x="297" y="438"/>
                  </a:cubicBezTo>
                  <a:cubicBezTo>
                    <a:pt x="296" y="440"/>
                    <a:pt x="297" y="442"/>
                    <a:pt x="297" y="445"/>
                  </a:cubicBezTo>
                  <a:cubicBezTo>
                    <a:pt x="300" y="446"/>
                    <a:pt x="303" y="445"/>
                    <a:pt x="306" y="443"/>
                  </a:cubicBezTo>
                  <a:cubicBezTo>
                    <a:pt x="312" y="441"/>
                    <a:pt x="317" y="437"/>
                    <a:pt x="325" y="437"/>
                  </a:cubicBezTo>
                  <a:cubicBezTo>
                    <a:pt x="327" y="440"/>
                    <a:pt x="329" y="443"/>
                    <a:pt x="332" y="445"/>
                  </a:cubicBezTo>
                  <a:cubicBezTo>
                    <a:pt x="335" y="447"/>
                    <a:pt x="336" y="449"/>
                    <a:pt x="337" y="453"/>
                  </a:cubicBezTo>
                  <a:cubicBezTo>
                    <a:pt x="337" y="456"/>
                    <a:pt x="339" y="458"/>
                    <a:pt x="339" y="461"/>
                  </a:cubicBezTo>
                  <a:cubicBezTo>
                    <a:pt x="356" y="461"/>
                    <a:pt x="373" y="461"/>
                    <a:pt x="390" y="461"/>
                  </a:cubicBezTo>
                  <a:cubicBezTo>
                    <a:pt x="395" y="460"/>
                    <a:pt x="401" y="460"/>
                    <a:pt x="406" y="455"/>
                  </a:cubicBezTo>
                  <a:cubicBezTo>
                    <a:pt x="410" y="457"/>
                    <a:pt x="414" y="463"/>
                    <a:pt x="419" y="457"/>
                  </a:cubicBezTo>
                  <a:cubicBezTo>
                    <a:pt x="421" y="458"/>
                    <a:pt x="423" y="458"/>
                    <a:pt x="424" y="459"/>
                  </a:cubicBezTo>
                  <a:cubicBezTo>
                    <a:pt x="425" y="458"/>
                    <a:pt x="426" y="457"/>
                    <a:pt x="427" y="456"/>
                  </a:cubicBezTo>
                  <a:cubicBezTo>
                    <a:pt x="426" y="455"/>
                    <a:pt x="426" y="454"/>
                    <a:pt x="425" y="453"/>
                  </a:cubicBezTo>
                  <a:cubicBezTo>
                    <a:pt x="426" y="451"/>
                    <a:pt x="428" y="450"/>
                    <a:pt x="429" y="449"/>
                  </a:cubicBezTo>
                  <a:cubicBezTo>
                    <a:pt x="433" y="452"/>
                    <a:pt x="431" y="454"/>
                    <a:pt x="429" y="456"/>
                  </a:cubicBezTo>
                  <a:cubicBezTo>
                    <a:pt x="430" y="456"/>
                    <a:pt x="430" y="457"/>
                    <a:pt x="431" y="457"/>
                  </a:cubicBezTo>
                  <a:cubicBezTo>
                    <a:pt x="434" y="458"/>
                    <a:pt x="437" y="455"/>
                    <a:pt x="440" y="455"/>
                  </a:cubicBezTo>
                  <a:cubicBezTo>
                    <a:pt x="443" y="456"/>
                    <a:pt x="445" y="453"/>
                    <a:pt x="447" y="452"/>
                  </a:cubicBezTo>
                  <a:cubicBezTo>
                    <a:pt x="450" y="450"/>
                    <a:pt x="452" y="449"/>
                    <a:pt x="456" y="449"/>
                  </a:cubicBezTo>
                  <a:cubicBezTo>
                    <a:pt x="459" y="449"/>
                    <a:pt x="463" y="449"/>
                    <a:pt x="466" y="449"/>
                  </a:cubicBezTo>
                  <a:cubicBezTo>
                    <a:pt x="471" y="449"/>
                    <a:pt x="476" y="449"/>
                    <a:pt x="481" y="448"/>
                  </a:cubicBezTo>
                  <a:cubicBezTo>
                    <a:pt x="487" y="446"/>
                    <a:pt x="493" y="449"/>
                    <a:pt x="499" y="452"/>
                  </a:cubicBezTo>
                  <a:cubicBezTo>
                    <a:pt x="500" y="452"/>
                    <a:pt x="502" y="451"/>
                    <a:pt x="504" y="451"/>
                  </a:cubicBezTo>
                  <a:cubicBezTo>
                    <a:pt x="505" y="451"/>
                    <a:pt x="508" y="452"/>
                    <a:pt x="509" y="451"/>
                  </a:cubicBezTo>
                  <a:cubicBezTo>
                    <a:pt x="513" y="447"/>
                    <a:pt x="516" y="449"/>
                    <a:pt x="519" y="451"/>
                  </a:cubicBezTo>
                  <a:cubicBezTo>
                    <a:pt x="523" y="453"/>
                    <a:pt x="531" y="454"/>
                    <a:pt x="536" y="453"/>
                  </a:cubicBezTo>
                  <a:cubicBezTo>
                    <a:pt x="537" y="453"/>
                    <a:pt x="539" y="453"/>
                    <a:pt x="540" y="453"/>
                  </a:cubicBezTo>
                  <a:cubicBezTo>
                    <a:pt x="542" y="454"/>
                    <a:pt x="545" y="455"/>
                    <a:pt x="548" y="456"/>
                  </a:cubicBezTo>
                  <a:cubicBezTo>
                    <a:pt x="548" y="470"/>
                    <a:pt x="548" y="485"/>
                    <a:pt x="548" y="500"/>
                  </a:cubicBezTo>
                  <a:cubicBezTo>
                    <a:pt x="548" y="515"/>
                    <a:pt x="548" y="530"/>
                    <a:pt x="548" y="545"/>
                  </a:cubicBezTo>
                  <a:cubicBezTo>
                    <a:pt x="365" y="545"/>
                    <a:pt x="183" y="545"/>
                    <a:pt x="0" y="545"/>
                  </a:cubicBezTo>
                  <a:cubicBezTo>
                    <a:pt x="6" y="541"/>
                    <a:pt x="6" y="541"/>
                    <a:pt x="10" y="541"/>
                  </a:cubicBezTo>
                  <a:cubicBezTo>
                    <a:pt x="16" y="542"/>
                    <a:pt x="21" y="539"/>
                    <a:pt x="26" y="537"/>
                  </a:cubicBezTo>
                  <a:cubicBezTo>
                    <a:pt x="30" y="536"/>
                    <a:pt x="33" y="535"/>
                    <a:pt x="37" y="534"/>
                  </a:cubicBezTo>
                  <a:cubicBezTo>
                    <a:pt x="38" y="533"/>
                    <a:pt x="39" y="532"/>
                    <a:pt x="41" y="530"/>
                  </a:cubicBezTo>
                  <a:cubicBezTo>
                    <a:pt x="47" y="535"/>
                    <a:pt x="53" y="528"/>
                    <a:pt x="58" y="530"/>
                  </a:cubicBezTo>
                  <a:cubicBezTo>
                    <a:pt x="64" y="528"/>
                    <a:pt x="67" y="522"/>
                    <a:pt x="73" y="524"/>
                  </a:cubicBezTo>
                  <a:cubicBezTo>
                    <a:pt x="75" y="522"/>
                    <a:pt x="76" y="520"/>
                    <a:pt x="77" y="519"/>
                  </a:cubicBezTo>
                  <a:cubicBezTo>
                    <a:pt x="84" y="517"/>
                    <a:pt x="88" y="515"/>
                    <a:pt x="95" y="513"/>
                  </a:cubicBezTo>
                  <a:cubicBezTo>
                    <a:pt x="96" y="512"/>
                    <a:pt x="97" y="510"/>
                    <a:pt x="98" y="509"/>
                  </a:cubicBezTo>
                  <a:cubicBezTo>
                    <a:pt x="105" y="509"/>
                    <a:pt x="110" y="509"/>
                    <a:pt x="115" y="509"/>
                  </a:cubicBezTo>
                  <a:cubicBezTo>
                    <a:pt x="116" y="508"/>
                    <a:pt x="117" y="506"/>
                    <a:pt x="119" y="505"/>
                  </a:cubicBezTo>
                  <a:cubicBezTo>
                    <a:pt x="125" y="505"/>
                    <a:pt x="132" y="504"/>
                    <a:pt x="137" y="499"/>
                  </a:cubicBezTo>
                  <a:cubicBezTo>
                    <a:pt x="138" y="499"/>
                    <a:pt x="139" y="500"/>
                    <a:pt x="140" y="501"/>
                  </a:cubicBezTo>
                  <a:cubicBezTo>
                    <a:pt x="147" y="498"/>
                    <a:pt x="152" y="493"/>
                    <a:pt x="160" y="493"/>
                  </a:cubicBezTo>
                  <a:cubicBezTo>
                    <a:pt x="163" y="493"/>
                    <a:pt x="166" y="490"/>
                    <a:pt x="170" y="489"/>
                  </a:cubicBezTo>
                  <a:cubicBezTo>
                    <a:pt x="173" y="489"/>
                    <a:pt x="176" y="488"/>
                    <a:pt x="179" y="487"/>
                  </a:cubicBezTo>
                  <a:cubicBezTo>
                    <a:pt x="184" y="486"/>
                    <a:pt x="190" y="487"/>
                    <a:pt x="194" y="48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sz="1800"/>
            </a:p>
          </p:txBody>
        </p:sp>
        <p:sp>
          <p:nvSpPr>
            <p:cNvPr id="11" name="Freeform 7">
              <a:extLst>
                <a:ext uri="{FF2B5EF4-FFF2-40B4-BE49-F238E27FC236}">
                  <a16:creationId xmlns:a16="http://schemas.microsoft.com/office/drawing/2014/main" xmlns="" id="{E60D52CE-C6EF-43B8-A978-351CBE3E7C57}"/>
                </a:ext>
              </a:extLst>
            </p:cNvPr>
            <p:cNvSpPr/>
            <p:nvPr userDrawn="1"/>
          </p:nvSpPr>
          <p:spPr bwMode="auto">
            <a:xfrm>
              <a:off x="3108" y="4121"/>
              <a:ext cx="1300" cy="74"/>
            </a:xfrm>
            <a:custGeom>
              <a:avLst/>
              <a:gdLst>
                <a:gd name="T0" fmla="*/ 0 w 549"/>
                <a:gd name="T1" fmla="*/ 31 h 31"/>
                <a:gd name="T2" fmla="*/ 17 w 549"/>
                <a:gd name="T3" fmla="*/ 26 h 31"/>
                <a:gd name="T4" fmla="*/ 30 w 549"/>
                <a:gd name="T5" fmla="*/ 23 h 31"/>
                <a:gd name="T6" fmla="*/ 38 w 549"/>
                <a:gd name="T7" fmla="*/ 22 h 31"/>
                <a:gd name="T8" fmla="*/ 57 w 549"/>
                <a:gd name="T9" fmla="*/ 18 h 31"/>
                <a:gd name="T10" fmla="*/ 71 w 549"/>
                <a:gd name="T11" fmla="*/ 15 h 31"/>
                <a:gd name="T12" fmla="*/ 83 w 549"/>
                <a:gd name="T13" fmla="*/ 12 h 31"/>
                <a:gd name="T14" fmla="*/ 84 w 549"/>
                <a:gd name="T15" fmla="*/ 12 h 31"/>
                <a:gd name="T16" fmla="*/ 105 w 549"/>
                <a:gd name="T17" fmla="*/ 10 h 31"/>
                <a:gd name="T18" fmla="*/ 144 w 549"/>
                <a:gd name="T19" fmla="*/ 20 h 31"/>
                <a:gd name="T20" fmla="*/ 158 w 549"/>
                <a:gd name="T21" fmla="*/ 16 h 31"/>
                <a:gd name="T22" fmla="*/ 174 w 549"/>
                <a:gd name="T23" fmla="*/ 12 h 31"/>
                <a:gd name="T24" fmla="*/ 208 w 549"/>
                <a:gd name="T25" fmla="*/ 10 h 31"/>
                <a:gd name="T26" fmla="*/ 213 w 549"/>
                <a:gd name="T27" fmla="*/ 10 h 31"/>
                <a:gd name="T28" fmla="*/ 228 w 549"/>
                <a:gd name="T29" fmla="*/ 8 h 31"/>
                <a:gd name="T30" fmla="*/ 260 w 549"/>
                <a:gd name="T31" fmla="*/ 0 h 31"/>
                <a:gd name="T32" fmla="*/ 277 w 549"/>
                <a:gd name="T33" fmla="*/ 0 h 31"/>
                <a:gd name="T34" fmla="*/ 305 w 549"/>
                <a:gd name="T35" fmla="*/ 2 h 31"/>
                <a:gd name="T36" fmla="*/ 320 w 549"/>
                <a:gd name="T37" fmla="*/ 2 h 31"/>
                <a:gd name="T38" fmla="*/ 337 w 549"/>
                <a:gd name="T39" fmla="*/ 1 h 31"/>
                <a:gd name="T40" fmla="*/ 338 w 549"/>
                <a:gd name="T41" fmla="*/ 0 h 31"/>
                <a:gd name="T42" fmla="*/ 359 w 549"/>
                <a:gd name="T43" fmla="*/ 0 h 31"/>
                <a:gd name="T44" fmla="*/ 385 w 549"/>
                <a:gd name="T45" fmla="*/ 2 h 31"/>
                <a:gd name="T46" fmla="*/ 402 w 549"/>
                <a:gd name="T47" fmla="*/ 6 h 31"/>
                <a:gd name="T48" fmla="*/ 420 w 549"/>
                <a:gd name="T49" fmla="*/ 6 h 31"/>
                <a:gd name="T50" fmla="*/ 429 w 549"/>
                <a:gd name="T51" fmla="*/ 8 h 31"/>
                <a:gd name="T52" fmla="*/ 437 w 549"/>
                <a:gd name="T53" fmla="*/ 10 h 31"/>
                <a:gd name="T54" fmla="*/ 443 w 549"/>
                <a:gd name="T55" fmla="*/ 10 h 31"/>
                <a:gd name="T56" fmla="*/ 461 w 549"/>
                <a:gd name="T57" fmla="*/ 12 h 31"/>
                <a:gd name="T58" fmla="*/ 464 w 549"/>
                <a:gd name="T59" fmla="*/ 12 h 31"/>
                <a:gd name="T60" fmla="*/ 475 w 549"/>
                <a:gd name="T61" fmla="*/ 11 h 31"/>
                <a:gd name="T62" fmla="*/ 486 w 549"/>
                <a:gd name="T63" fmla="*/ 12 h 31"/>
                <a:gd name="T64" fmla="*/ 492 w 549"/>
                <a:gd name="T65" fmla="*/ 13 h 31"/>
                <a:gd name="T66" fmla="*/ 507 w 549"/>
                <a:gd name="T67" fmla="*/ 18 h 31"/>
                <a:gd name="T68" fmla="*/ 512 w 549"/>
                <a:gd name="T69" fmla="*/ 20 h 31"/>
                <a:gd name="T70" fmla="*/ 517 w 549"/>
                <a:gd name="T71" fmla="*/ 22 h 31"/>
                <a:gd name="T72" fmla="*/ 549 w 549"/>
                <a:gd name="T73" fmla="*/ 29 h 31"/>
                <a:gd name="T74" fmla="*/ 549 w 549"/>
                <a:gd name="T75" fmla="*/ 31 h 31"/>
                <a:gd name="T76" fmla="*/ 548 w 549"/>
                <a:gd name="T77" fmla="*/ 31 h 31"/>
                <a:gd name="T78" fmla="*/ 0 w 549"/>
                <a:gd name="T7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9" h="31">
                  <a:moveTo>
                    <a:pt x="0" y="31"/>
                  </a:moveTo>
                  <a:cubicBezTo>
                    <a:pt x="6" y="30"/>
                    <a:pt x="12" y="28"/>
                    <a:pt x="17" y="26"/>
                  </a:cubicBezTo>
                  <a:cubicBezTo>
                    <a:pt x="21" y="24"/>
                    <a:pt x="25" y="23"/>
                    <a:pt x="30" y="23"/>
                  </a:cubicBezTo>
                  <a:cubicBezTo>
                    <a:pt x="33" y="24"/>
                    <a:pt x="35" y="23"/>
                    <a:pt x="38" y="22"/>
                  </a:cubicBezTo>
                  <a:cubicBezTo>
                    <a:pt x="44" y="20"/>
                    <a:pt x="51" y="19"/>
                    <a:pt x="57" y="18"/>
                  </a:cubicBezTo>
                  <a:cubicBezTo>
                    <a:pt x="62" y="17"/>
                    <a:pt x="67" y="18"/>
                    <a:pt x="71" y="15"/>
                  </a:cubicBezTo>
                  <a:cubicBezTo>
                    <a:pt x="75" y="13"/>
                    <a:pt x="80" y="16"/>
                    <a:pt x="83" y="12"/>
                  </a:cubicBezTo>
                  <a:cubicBezTo>
                    <a:pt x="83" y="12"/>
                    <a:pt x="83" y="12"/>
                    <a:pt x="84" y="12"/>
                  </a:cubicBezTo>
                  <a:cubicBezTo>
                    <a:pt x="91" y="13"/>
                    <a:pt x="98" y="10"/>
                    <a:pt x="105" y="10"/>
                  </a:cubicBezTo>
                  <a:cubicBezTo>
                    <a:pt x="119" y="10"/>
                    <a:pt x="132" y="13"/>
                    <a:pt x="144" y="20"/>
                  </a:cubicBezTo>
                  <a:cubicBezTo>
                    <a:pt x="149" y="19"/>
                    <a:pt x="153" y="14"/>
                    <a:pt x="158" y="16"/>
                  </a:cubicBezTo>
                  <a:cubicBezTo>
                    <a:pt x="163" y="12"/>
                    <a:pt x="169" y="15"/>
                    <a:pt x="174" y="12"/>
                  </a:cubicBezTo>
                  <a:cubicBezTo>
                    <a:pt x="185" y="11"/>
                    <a:pt x="197" y="11"/>
                    <a:pt x="208" y="10"/>
                  </a:cubicBezTo>
                  <a:cubicBezTo>
                    <a:pt x="210" y="10"/>
                    <a:pt x="212" y="9"/>
                    <a:pt x="213" y="10"/>
                  </a:cubicBezTo>
                  <a:cubicBezTo>
                    <a:pt x="219" y="14"/>
                    <a:pt x="223" y="11"/>
                    <a:pt x="228" y="8"/>
                  </a:cubicBezTo>
                  <a:cubicBezTo>
                    <a:pt x="238" y="3"/>
                    <a:pt x="249" y="0"/>
                    <a:pt x="260" y="0"/>
                  </a:cubicBezTo>
                  <a:cubicBezTo>
                    <a:pt x="266" y="1"/>
                    <a:pt x="271" y="0"/>
                    <a:pt x="277" y="0"/>
                  </a:cubicBezTo>
                  <a:cubicBezTo>
                    <a:pt x="286" y="1"/>
                    <a:pt x="295" y="2"/>
                    <a:pt x="305" y="2"/>
                  </a:cubicBezTo>
                  <a:cubicBezTo>
                    <a:pt x="310" y="7"/>
                    <a:pt x="315" y="3"/>
                    <a:pt x="320" y="2"/>
                  </a:cubicBezTo>
                  <a:cubicBezTo>
                    <a:pt x="326" y="2"/>
                    <a:pt x="332" y="4"/>
                    <a:pt x="337" y="1"/>
                  </a:cubicBezTo>
                  <a:cubicBezTo>
                    <a:pt x="337" y="0"/>
                    <a:pt x="337" y="0"/>
                    <a:pt x="338" y="0"/>
                  </a:cubicBezTo>
                  <a:cubicBezTo>
                    <a:pt x="345" y="4"/>
                    <a:pt x="352" y="2"/>
                    <a:pt x="359" y="0"/>
                  </a:cubicBezTo>
                  <a:cubicBezTo>
                    <a:pt x="368" y="4"/>
                    <a:pt x="376" y="2"/>
                    <a:pt x="385" y="2"/>
                  </a:cubicBezTo>
                  <a:cubicBezTo>
                    <a:pt x="390" y="7"/>
                    <a:pt x="396" y="3"/>
                    <a:pt x="402" y="6"/>
                  </a:cubicBezTo>
                  <a:cubicBezTo>
                    <a:pt x="407" y="8"/>
                    <a:pt x="414" y="6"/>
                    <a:pt x="420" y="6"/>
                  </a:cubicBezTo>
                  <a:cubicBezTo>
                    <a:pt x="423" y="6"/>
                    <a:pt x="426" y="8"/>
                    <a:pt x="429" y="8"/>
                  </a:cubicBezTo>
                  <a:cubicBezTo>
                    <a:pt x="431" y="9"/>
                    <a:pt x="434" y="7"/>
                    <a:pt x="437" y="10"/>
                  </a:cubicBezTo>
                  <a:cubicBezTo>
                    <a:pt x="438" y="11"/>
                    <a:pt x="441" y="10"/>
                    <a:pt x="443" y="10"/>
                  </a:cubicBezTo>
                  <a:cubicBezTo>
                    <a:pt x="449" y="11"/>
                    <a:pt x="455" y="9"/>
                    <a:pt x="461" y="12"/>
                  </a:cubicBezTo>
                  <a:cubicBezTo>
                    <a:pt x="462" y="12"/>
                    <a:pt x="463" y="12"/>
                    <a:pt x="464" y="12"/>
                  </a:cubicBezTo>
                  <a:cubicBezTo>
                    <a:pt x="467" y="13"/>
                    <a:pt x="470" y="8"/>
                    <a:pt x="475" y="11"/>
                  </a:cubicBezTo>
                  <a:cubicBezTo>
                    <a:pt x="477" y="13"/>
                    <a:pt x="482" y="12"/>
                    <a:pt x="486" y="12"/>
                  </a:cubicBezTo>
                  <a:cubicBezTo>
                    <a:pt x="488" y="12"/>
                    <a:pt x="490" y="12"/>
                    <a:pt x="492" y="13"/>
                  </a:cubicBezTo>
                  <a:cubicBezTo>
                    <a:pt x="497" y="16"/>
                    <a:pt x="502" y="16"/>
                    <a:pt x="507" y="18"/>
                  </a:cubicBezTo>
                  <a:cubicBezTo>
                    <a:pt x="508" y="18"/>
                    <a:pt x="510" y="18"/>
                    <a:pt x="512" y="20"/>
                  </a:cubicBezTo>
                  <a:cubicBezTo>
                    <a:pt x="513" y="22"/>
                    <a:pt x="515" y="21"/>
                    <a:pt x="517" y="22"/>
                  </a:cubicBezTo>
                  <a:cubicBezTo>
                    <a:pt x="527" y="24"/>
                    <a:pt x="538" y="27"/>
                    <a:pt x="549" y="29"/>
                  </a:cubicBezTo>
                  <a:cubicBezTo>
                    <a:pt x="549" y="30"/>
                    <a:pt x="549" y="30"/>
                    <a:pt x="549" y="31"/>
                  </a:cubicBezTo>
                  <a:cubicBezTo>
                    <a:pt x="548" y="31"/>
                    <a:pt x="548" y="31"/>
                    <a:pt x="548" y="31"/>
                  </a:cubicBezTo>
                  <a:cubicBezTo>
                    <a:pt x="365" y="31"/>
                    <a:pt x="183" y="31"/>
                    <a:pt x="0" y="3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GB" sz="1800"/>
            </a:p>
          </p:txBody>
        </p:sp>
      </p:grpSp>
    </p:spTree>
    <p:extLst>
      <p:ext uri="{BB962C8B-B14F-4D97-AF65-F5344CB8AC3E}">
        <p14:creationId xmlns:p14="http://schemas.microsoft.com/office/powerpoint/2010/main" val="41612257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6404276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3" name="内容占位符 2"/>
          <p:cNvSpPr>
            <a:spLocks noGrp="1"/>
          </p:cNvSpPr>
          <p:nvPr>
            <p:ph sz="half" idx="1"/>
          </p:nvPr>
        </p:nvSpPr>
        <p:spPr>
          <a:xfrm>
            <a:off x="587607" y="1111148"/>
            <a:ext cx="5553687" cy="5190213"/>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296769" y="1111148"/>
            <a:ext cx="5553687" cy="5190213"/>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7" name="灯片编号占位符 6"/>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25988476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587606" y="76782"/>
            <a:ext cx="8924555" cy="701212"/>
          </a:xfrm>
        </p:spPr>
        <p:txBody>
          <a:bodyPr/>
          <a:lstStyle/>
          <a:p>
            <a:r>
              <a:rPr lang="zh-CN" altLang="en-US"/>
              <a:t>单击此处编辑母版标题样式</a:t>
            </a:r>
          </a:p>
        </p:txBody>
      </p:sp>
      <p:sp>
        <p:nvSpPr>
          <p:cNvPr id="3" name="文本占位符 2"/>
          <p:cNvSpPr>
            <a:spLocks noGrp="1"/>
          </p:cNvSpPr>
          <p:nvPr>
            <p:ph type="body" idx="1"/>
          </p:nvPr>
        </p:nvSpPr>
        <p:spPr>
          <a:xfrm>
            <a:off x="587607" y="1102425"/>
            <a:ext cx="5531014" cy="623979"/>
          </a:xfrm>
        </p:spPr>
        <p:txBody>
          <a:bodyPr anchor="t"/>
          <a:lstStyle>
            <a:lvl1pPr marL="0" indent="0">
              <a:buNone/>
              <a:defRPr sz="2448" b="1"/>
            </a:lvl1pPr>
            <a:lvl2pPr marL="466390" indent="0">
              <a:buNone/>
              <a:defRPr sz="2040" b="1"/>
            </a:lvl2pPr>
            <a:lvl3pPr marL="932779" indent="0">
              <a:buNone/>
              <a:defRPr sz="1836" b="1"/>
            </a:lvl3pPr>
            <a:lvl4pPr marL="1399169" indent="0">
              <a:buNone/>
              <a:defRPr sz="1632" b="1"/>
            </a:lvl4pPr>
            <a:lvl5pPr marL="1865559" indent="0">
              <a:buNone/>
              <a:defRPr sz="1632" b="1"/>
            </a:lvl5pPr>
            <a:lvl6pPr marL="2331949" indent="0">
              <a:buNone/>
              <a:defRPr sz="1632" b="1"/>
            </a:lvl6pPr>
            <a:lvl7pPr marL="2798338" indent="0">
              <a:buNone/>
              <a:defRPr sz="1632" b="1"/>
            </a:lvl7pPr>
            <a:lvl8pPr marL="3264728" indent="0">
              <a:buNone/>
              <a:defRPr sz="1632" b="1"/>
            </a:lvl8pPr>
            <a:lvl9pPr marL="3731118" indent="0">
              <a:buNone/>
              <a:defRPr sz="1632" b="1"/>
            </a:lvl9pPr>
          </a:lstStyle>
          <a:p>
            <a:pPr lvl="0"/>
            <a:r>
              <a:rPr lang="zh-CN" altLang="en-US"/>
              <a:t>单击此处编辑母版文本样式</a:t>
            </a:r>
          </a:p>
        </p:txBody>
      </p:sp>
      <p:sp>
        <p:nvSpPr>
          <p:cNvPr id="4" name="内容占位符 3"/>
          <p:cNvSpPr>
            <a:spLocks noGrp="1"/>
          </p:cNvSpPr>
          <p:nvPr>
            <p:ph sz="half" idx="2"/>
          </p:nvPr>
        </p:nvSpPr>
        <p:spPr>
          <a:xfrm>
            <a:off x="587607" y="1851707"/>
            <a:ext cx="5531014" cy="446261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296769" y="1102425"/>
            <a:ext cx="5553687" cy="623979"/>
          </a:xfrm>
        </p:spPr>
        <p:txBody>
          <a:bodyPr anchor="t"/>
          <a:lstStyle>
            <a:lvl1pPr marL="0" indent="0">
              <a:buNone/>
              <a:defRPr sz="2448" b="1"/>
            </a:lvl1pPr>
            <a:lvl2pPr marL="466390" indent="0">
              <a:buNone/>
              <a:defRPr sz="2040" b="1"/>
            </a:lvl2pPr>
            <a:lvl3pPr marL="932779" indent="0">
              <a:buNone/>
              <a:defRPr sz="1836" b="1"/>
            </a:lvl3pPr>
            <a:lvl4pPr marL="1399169" indent="0">
              <a:buNone/>
              <a:defRPr sz="1632" b="1"/>
            </a:lvl4pPr>
            <a:lvl5pPr marL="1865559" indent="0">
              <a:buNone/>
              <a:defRPr sz="1632" b="1"/>
            </a:lvl5pPr>
            <a:lvl6pPr marL="2331949" indent="0">
              <a:buNone/>
              <a:defRPr sz="1632" b="1"/>
            </a:lvl6pPr>
            <a:lvl7pPr marL="2798338" indent="0">
              <a:buNone/>
              <a:defRPr sz="1632" b="1"/>
            </a:lvl7pPr>
            <a:lvl8pPr marL="3264728" indent="0">
              <a:buNone/>
              <a:defRPr sz="1632" b="1"/>
            </a:lvl8pPr>
            <a:lvl9pPr marL="3731118" indent="0">
              <a:buNone/>
              <a:defRPr sz="1632" b="1"/>
            </a:lvl9pPr>
          </a:lstStyle>
          <a:p>
            <a:pPr lvl="0"/>
            <a:r>
              <a:rPr lang="zh-CN" altLang="en-US"/>
              <a:t>单击此处编辑母版文本样式</a:t>
            </a:r>
          </a:p>
        </p:txBody>
      </p:sp>
      <p:sp>
        <p:nvSpPr>
          <p:cNvPr id="6" name="内容占位符 5"/>
          <p:cNvSpPr>
            <a:spLocks noGrp="1"/>
          </p:cNvSpPr>
          <p:nvPr>
            <p:ph sz="quarter" idx="4"/>
          </p:nvPr>
        </p:nvSpPr>
        <p:spPr>
          <a:xfrm>
            <a:off x="6296769" y="1851707"/>
            <a:ext cx="5553687" cy="4462610"/>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9" name="灯片编号占位符 8"/>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7770317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18420292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14" name="Picture 3" descr="C:\Users\qq\Desktop\金沙江.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513" r="14530" b="4258"/>
          <a:stretch>
            <a:fillRect/>
          </a:stretch>
        </p:blipFill>
        <p:spPr bwMode="auto">
          <a:xfrm>
            <a:off x="-2" y="-32923"/>
            <a:ext cx="12438065" cy="7029036"/>
          </a:xfrm>
          <a:prstGeom prst="rect">
            <a:avLst/>
          </a:prstGeom>
          <a:noFill/>
          <a:extLst>
            <a:ext uri="{909E8E84-426E-40DD-AFC4-6F175D3DCCD1}">
              <a14:hiddenFill xmlns:a14="http://schemas.microsoft.com/office/drawing/2010/main">
                <a:solidFill>
                  <a:srgbClr val="FFFFFF"/>
                </a:solidFill>
              </a14:hiddenFill>
            </a:ext>
          </a:extLst>
        </p:spPr>
      </p:pic>
      <p:sp>
        <p:nvSpPr>
          <p:cNvPr id="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defRPr/>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defRPr/>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sp>
        <p:nvSpPr>
          <p:cNvPr id="11"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sp>
        <p:nvSpPr>
          <p:cNvPr id="24" name="矩形 10"/>
          <p:cNvSpPr/>
          <p:nvPr userDrawn="1"/>
        </p:nvSpPr>
        <p:spPr>
          <a:xfrm>
            <a:off x="11537217" y="6838995"/>
            <a:ext cx="183633" cy="157119"/>
          </a:xfrm>
          <a:prstGeom prst="rect">
            <a:avLst/>
          </a:prstGeom>
          <a:solidFill>
            <a:srgbClr val="0346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endParaRPr lang="zh-CN" altLang="en-US" sz="1836">
              <a:solidFill>
                <a:prstClr val="white"/>
              </a:solidFill>
            </a:endParaRPr>
          </a:p>
        </p:txBody>
      </p:sp>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768792" y="376621"/>
            <a:ext cx="1191369" cy="529475"/>
          </a:xfrm>
          <a:prstGeom prst="rect">
            <a:avLst/>
          </a:prstGeom>
        </p:spPr>
      </p:pic>
      <p:pic>
        <p:nvPicPr>
          <p:cNvPr id="15" name="图片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3766458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5128249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40055500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92967571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4185996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499339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9" name="Picture 7">
            <a:extLst>
              <a:ext uri="{FF2B5EF4-FFF2-40B4-BE49-F238E27FC236}">
                <a16:creationId xmlns:a16="http://schemas.microsoft.com/office/drawing/2014/main" xmlns="" id="{909C45D1-956B-45CA-9B80-955768D347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20" y="-14134"/>
            <a:ext cx="12436444" cy="874514"/>
          </a:xfrm>
          <a:prstGeom prst="rect">
            <a:avLst/>
          </a:prstGeom>
          <a:solidFill>
            <a:srgbClr val="005092"/>
          </a:solidFill>
          <a:ln>
            <a:noFill/>
          </a:ln>
        </p:spPr>
      </p:pic>
      <p:sp>
        <p:nvSpPr>
          <p:cNvPr id="2" name="Holder 2"/>
          <p:cNvSpPr>
            <a:spLocks noGrp="1"/>
          </p:cNvSpPr>
          <p:nvPr>
            <p:ph type="title"/>
          </p:nvPr>
        </p:nvSpPr>
        <p:spPr>
          <a:xfrm>
            <a:off x="351631" y="0"/>
            <a:ext cx="11514255" cy="860380"/>
          </a:xfrm>
        </p:spPr>
        <p:txBody>
          <a:bodyPr lIns="0" tIns="0" rIns="0" bIns="0">
            <a:normAutofit/>
          </a:bodyPr>
          <a:lstStyle>
            <a:lvl1pPr>
              <a:defRPr sz="2856" b="1" kern="1200" dirty="0">
                <a:solidFill>
                  <a:schemeClr val="bg1"/>
                </a:solidFill>
                <a:effectLst/>
                <a:latin typeface="微软雅黑" panose="020B0503020204020204" charset="-122"/>
                <a:ea typeface="微软雅黑" panose="020B0503020204020204" charset="-122"/>
                <a:cs typeface="+mj-cs"/>
              </a:defRPr>
            </a:lvl1pPr>
          </a:lstStyle>
          <a:p>
            <a:endParaRPr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10" name="图片 6">
            <a:extLst>
              <a:ext uri="{FF2B5EF4-FFF2-40B4-BE49-F238E27FC236}">
                <a16:creationId xmlns:a16="http://schemas.microsoft.com/office/drawing/2014/main" xmlns="" id="{4F1DFDA1-879A-4C18-A33D-178299C85DC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32931" y="175434"/>
            <a:ext cx="1191369" cy="529475"/>
          </a:xfrm>
          <a:prstGeom prst="rect">
            <a:avLst/>
          </a:prstGeom>
        </p:spPr>
      </p:pic>
    </p:spTree>
    <p:extLst>
      <p:ext uri="{BB962C8B-B14F-4D97-AF65-F5344CB8AC3E}">
        <p14:creationId xmlns:p14="http://schemas.microsoft.com/office/powerpoint/2010/main" val="28272787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27868" y="458340"/>
            <a:ext cx="10382328" cy="889089"/>
          </a:xfrm>
          <a:prstGeom prst="rect">
            <a:avLst/>
          </a:prstGeom>
        </p:spPr>
        <p:txBody>
          <a:bodyPr/>
          <a:lstStyle/>
          <a:p>
            <a:r>
              <a:rPr lang="en-US"/>
              <a:t>Click to edit Master title style</a:t>
            </a:r>
          </a:p>
        </p:txBody>
      </p:sp>
      <p:sp>
        <p:nvSpPr>
          <p:cNvPr id="4" name="Content Placeholder 3"/>
          <p:cNvSpPr>
            <a:spLocks noGrp="1"/>
          </p:cNvSpPr>
          <p:nvPr>
            <p:ph sz="quarter" idx="10"/>
          </p:nvPr>
        </p:nvSpPr>
        <p:spPr>
          <a:xfrm>
            <a:off x="1039347" y="1661178"/>
            <a:ext cx="10359372" cy="4677076"/>
          </a:xfrm>
          <a:prstGeom prst="rect">
            <a:avLst/>
          </a:prstGeom>
        </p:spPr>
        <p:txBody>
          <a:bodyPr/>
          <a:lstStyle>
            <a:lvl1pPr>
              <a:defRPr sz="3261"/>
            </a:lvl1pPr>
            <a:lvl2pPr>
              <a:defRPr sz="2752"/>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478202"/>
      </p:ext>
    </p:extLst>
  </p:cSld>
  <p:clrMapOvr>
    <a:masterClrMapping/>
  </p:clrMapOvr>
  <p:transition>
    <p:fade thruBlk="1"/>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960507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38767772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3684855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31112210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33385861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15651830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10321267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2435404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0093183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结束">
    <p:spTree>
      <p:nvGrpSpPr>
        <p:cNvPr id="1" name=""/>
        <p:cNvGrpSpPr/>
        <p:nvPr/>
      </p:nvGrpSpPr>
      <p:grpSpPr>
        <a:xfrm>
          <a:off x="0" y="0"/>
          <a:ext cx="0" cy="0"/>
          <a:chOff x="0" y="0"/>
          <a:chExt cx="0" cy="0"/>
        </a:xfrm>
      </p:grpSpPr>
      <p:pic>
        <p:nvPicPr>
          <p:cNvPr id="6" name="Picture 7">
            <a:extLst>
              <a:ext uri="{FF2B5EF4-FFF2-40B4-BE49-F238E27FC236}">
                <a16:creationId xmlns:a16="http://schemas.microsoft.com/office/drawing/2014/main" xmlns="" id="{E4ED3A56-D48A-490E-95D5-ADBEE6BB60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20" y="-14135"/>
            <a:ext cx="12436444" cy="7010247"/>
          </a:xfrm>
          <a:prstGeom prst="rect">
            <a:avLst/>
          </a:prstGeom>
          <a:solidFill>
            <a:srgbClr val="005092"/>
          </a:solidFill>
          <a:ln>
            <a:noFill/>
          </a:ln>
        </p:spPr>
      </p:pic>
      <p:sp>
        <p:nvSpPr>
          <p:cNvPr id="1049394" name="文本框 1"/>
          <p:cNvSpPr>
            <a:spLocks noChangeArrowheads="1"/>
          </p:cNvSpPr>
          <p:nvPr userDrawn="1"/>
        </p:nvSpPr>
        <p:spPr bwMode="auto">
          <a:xfrm>
            <a:off x="2792401" y="2473605"/>
            <a:ext cx="8246308" cy="1907090"/>
          </a:xfrm>
          <a:prstGeom prst="rect">
            <a:avLst/>
          </a:prstGeom>
          <a:noFill/>
          <a:ln>
            <a:noFill/>
          </a:ln>
        </p:spPr>
        <p:txBody>
          <a:bodyPr wrap="square">
            <a:spAutoFit/>
          </a:bodyPr>
          <a:lstStyle/>
          <a:p>
            <a:pPr eaLnBrk="1" hangingPunct="1">
              <a:lnSpc>
                <a:spcPct val="135000"/>
              </a:lnSpc>
              <a:buFont typeface="Arial" panose="020B0604020202020204" pitchFamily="34" charset="0"/>
              <a:buNone/>
            </a:pPr>
            <a:r>
              <a:rPr lang="zh-CN" altLang="en-US"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rPr>
              <a:t>谢 谢！</a:t>
            </a:r>
            <a:endParaRPr lang="en-US" altLang="zh-CN"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endParaRPr>
          </a:p>
          <a:p>
            <a:pPr eaLnBrk="1" hangingPunct="1">
              <a:lnSpc>
                <a:spcPct val="135000"/>
              </a:lnSpc>
              <a:buFont typeface="Arial" panose="020B0604020202020204" pitchFamily="34" charset="0"/>
              <a:buNone/>
            </a:pPr>
            <a:r>
              <a:rPr lang="en-US" altLang="zh-CN" sz="4488" i="0" dirty="0">
                <a:ln w="18415" cmpd="sng">
                  <a:solidFill>
                    <a:srgbClr val="FFFFFF"/>
                  </a:solidFill>
                  <a:prstDash val="solid"/>
                </a:ln>
                <a:solidFill>
                  <a:srgbClr val="FFFFFF"/>
                </a:solidFill>
                <a:effectLst/>
                <a:latin typeface="微软雅黑" panose="020B0503020204020204" charset="-122"/>
                <a:ea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2701718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27868" y="458340"/>
            <a:ext cx="10382328" cy="889089"/>
          </a:xfrm>
          <a:prstGeom prst="rect">
            <a:avLst/>
          </a:prstGeom>
        </p:spPr>
        <p:txBody>
          <a:bodyPr/>
          <a:lstStyle/>
          <a:p>
            <a:r>
              <a:rPr lang="en-US"/>
              <a:t>Click to edit Master title style</a:t>
            </a:r>
          </a:p>
        </p:txBody>
      </p:sp>
      <p:sp>
        <p:nvSpPr>
          <p:cNvPr id="4" name="Content Placeholder 3"/>
          <p:cNvSpPr>
            <a:spLocks noGrp="1"/>
          </p:cNvSpPr>
          <p:nvPr>
            <p:ph sz="quarter" idx="10"/>
          </p:nvPr>
        </p:nvSpPr>
        <p:spPr>
          <a:xfrm>
            <a:off x="1039347" y="1661178"/>
            <a:ext cx="10359372" cy="4677076"/>
          </a:xfrm>
          <a:prstGeom prst="rect">
            <a:avLst/>
          </a:prstGeom>
        </p:spPr>
        <p:txBody>
          <a:bodyPr/>
          <a:lstStyle>
            <a:lvl1pPr>
              <a:defRPr sz="3261"/>
            </a:lvl1pPr>
            <a:lvl2pPr>
              <a:defRPr sz="2752"/>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8707914"/>
      </p:ext>
    </p:extLst>
  </p:cSld>
  <p:clrMapOvr>
    <a:masterClrMapping/>
  </p:clrMapOvr>
  <p:transition>
    <p:fade thruBlk="1"/>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2711105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39222585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785480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677913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1200926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27868" y="458340"/>
            <a:ext cx="10382328" cy="889089"/>
          </a:xfrm>
          <a:prstGeom prst="rect">
            <a:avLst/>
          </a:prstGeom>
        </p:spPr>
        <p:txBody>
          <a:bodyPr/>
          <a:lstStyle/>
          <a:p>
            <a:r>
              <a:rPr lang="en-US"/>
              <a:t>Click to edit Master title style</a:t>
            </a:r>
          </a:p>
        </p:txBody>
      </p:sp>
      <p:sp>
        <p:nvSpPr>
          <p:cNvPr id="4" name="Content Placeholder 3"/>
          <p:cNvSpPr>
            <a:spLocks noGrp="1"/>
          </p:cNvSpPr>
          <p:nvPr>
            <p:ph sz="quarter" idx="10"/>
          </p:nvPr>
        </p:nvSpPr>
        <p:spPr>
          <a:xfrm>
            <a:off x="1039347" y="1661178"/>
            <a:ext cx="10359372" cy="4677076"/>
          </a:xfrm>
          <a:prstGeom prst="rect">
            <a:avLst/>
          </a:prstGeom>
        </p:spPr>
        <p:txBody>
          <a:bodyPr/>
          <a:lstStyle>
            <a:lvl1pPr>
              <a:defRPr sz="3261"/>
            </a:lvl1pPr>
            <a:lvl2pPr>
              <a:defRPr sz="2752"/>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3637249"/>
      </p:ext>
    </p:extLst>
  </p:cSld>
  <p:clrMapOvr>
    <a:masterClrMapping/>
  </p:clrMapOvr>
  <p:transition>
    <p:fade thruBlk="1"/>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76378461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11699303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0633670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标题幻灯片">
    <p:spTree>
      <p:nvGrpSpPr>
        <p:cNvPr id="1" name=""/>
        <p:cNvGrpSpPr/>
        <p:nvPr/>
      </p:nvGrpSpPr>
      <p:grpSpPr>
        <a:xfrm>
          <a:off x="0" y="0"/>
          <a:ext cx="0" cy="0"/>
          <a:chOff x="0" y="0"/>
          <a:chExt cx="0" cy="0"/>
        </a:xfrm>
      </p:grpSpPr>
      <p:pic>
        <p:nvPicPr>
          <p:cNvPr id="7" name="图片 7" descr="2019干部大会-PPT底图jpg">
            <a:extLst>
              <a:ext uri="{FF2B5EF4-FFF2-40B4-BE49-F238E27FC236}">
                <a16:creationId xmlns:a16="http://schemas.microsoft.com/office/drawing/2014/main" xmlns="" id="{CFA5AC93-E6E9-41CE-8FE4-6FE29ACD9E3B}"/>
              </a:ext>
            </a:extLst>
          </p:cNvPr>
          <p:cNvPicPr>
            <a:picLocks noChangeAspect="1"/>
          </p:cNvPicPr>
          <p:nvPr userDrawn="1"/>
        </p:nvPicPr>
        <p:blipFill>
          <a:blip r:embed="rId2"/>
          <a:stretch>
            <a:fillRect/>
          </a:stretch>
        </p:blipFill>
        <p:spPr>
          <a:xfrm>
            <a:off x="-221" y="-1"/>
            <a:ext cx="12438284" cy="6998357"/>
          </a:xfrm>
          <a:prstGeom prst="rect">
            <a:avLst/>
          </a:prstGeom>
          <a:noFill/>
          <a:ln w="9525">
            <a:noFill/>
          </a:ln>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21913192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985406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27868" y="458340"/>
            <a:ext cx="10382328" cy="889089"/>
          </a:xfrm>
          <a:prstGeom prst="rect">
            <a:avLst/>
          </a:prstGeom>
        </p:spPr>
        <p:txBody>
          <a:bodyPr/>
          <a:lstStyle/>
          <a:p>
            <a:r>
              <a:rPr lang="en-US"/>
              <a:t>Click to edit Master title style</a:t>
            </a:r>
          </a:p>
        </p:txBody>
      </p:sp>
      <p:sp>
        <p:nvSpPr>
          <p:cNvPr id="4" name="Content Placeholder 3"/>
          <p:cNvSpPr>
            <a:spLocks noGrp="1"/>
          </p:cNvSpPr>
          <p:nvPr>
            <p:ph sz="quarter" idx="10"/>
          </p:nvPr>
        </p:nvSpPr>
        <p:spPr>
          <a:xfrm>
            <a:off x="1039347" y="1661178"/>
            <a:ext cx="10359372" cy="4677076"/>
          </a:xfrm>
          <a:prstGeom prst="rect">
            <a:avLst/>
          </a:prstGeom>
        </p:spPr>
        <p:txBody>
          <a:bodyPr/>
          <a:lstStyle>
            <a:lvl1pPr>
              <a:defRPr sz="3261"/>
            </a:lvl1pPr>
            <a:lvl2pPr>
              <a:defRPr sz="2752"/>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101825"/>
      </p:ext>
    </p:extLst>
  </p:cSld>
  <p:clrMapOvr>
    <a:masterClrMapping/>
  </p:clrMapOvr>
  <p:transition>
    <p:fade thruBlk="1"/>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pic>
        <p:nvPicPr>
          <p:cNvPr id="2097155"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21948"/>
            <a:ext cx="12438065" cy="7018061"/>
          </a:xfrm>
          <a:prstGeom prst="rect">
            <a:avLst/>
          </a:prstGeom>
          <a:noFill/>
        </p:spPr>
      </p:pic>
      <p:sp>
        <p:nvSpPr>
          <p:cNvPr id="1048579" name="标题 1"/>
          <p:cNvSpPr>
            <a:spLocks noGrp="1"/>
          </p:cNvSpPr>
          <p:nvPr>
            <p:ph type="ctrTitle"/>
          </p:nvPr>
        </p:nvSpPr>
        <p:spPr>
          <a:xfrm>
            <a:off x="466427" y="1144966"/>
            <a:ext cx="11971636" cy="2435684"/>
          </a:xfrm>
        </p:spPr>
        <p:txBody>
          <a:bodyPr anchor="b">
            <a:normAutofit/>
          </a:bodyPr>
          <a:lstStyle>
            <a:lvl1pPr algn="l">
              <a:lnSpc>
                <a:spcPct val="150000"/>
              </a:lnSpc>
              <a:defRPr sz="4896" b="1"/>
            </a:lvl1pPr>
          </a:lstStyle>
          <a:p>
            <a:r>
              <a:rPr lang="zh-CN" altLang="en-US" dirty="0"/>
              <a:t>单击此处编辑母版标题样式</a:t>
            </a:r>
          </a:p>
        </p:txBody>
      </p:sp>
      <p:sp>
        <p:nvSpPr>
          <p:cNvPr id="1048580" name="副标题 2"/>
          <p:cNvSpPr>
            <a:spLocks noGrp="1"/>
          </p:cNvSpPr>
          <p:nvPr>
            <p:ph type="subTitle" idx="1"/>
          </p:nvPr>
        </p:nvSpPr>
        <p:spPr>
          <a:xfrm>
            <a:off x="466427" y="3674579"/>
            <a:ext cx="11971636" cy="1689107"/>
          </a:xfrm>
        </p:spPr>
        <p:txBody>
          <a:bodyPr anchor="ctr"/>
          <a:lstStyle>
            <a:lvl1pPr marL="0" indent="0" algn="l">
              <a:buNone/>
              <a:defRPr sz="2448">
                <a:solidFill>
                  <a:schemeClr val="bg1"/>
                </a:solidFill>
              </a:defRPr>
            </a:lvl1pPr>
            <a:lvl2pPr marL="466390" indent="0" algn="ctr">
              <a:buNone/>
              <a:defRPr sz="2040"/>
            </a:lvl2pPr>
            <a:lvl3pPr marL="932779" indent="0" algn="ctr">
              <a:buNone/>
              <a:defRPr sz="1836"/>
            </a:lvl3pPr>
            <a:lvl4pPr marL="1399169" indent="0" algn="ctr">
              <a:buNone/>
              <a:defRPr sz="1632"/>
            </a:lvl4pPr>
            <a:lvl5pPr marL="1865559" indent="0" algn="ctr">
              <a:buNone/>
              <a:defRPr sz="1632"/>
            </a:lvl5pPr>
            <a:lvl6pPr marL="2331949" indent="0" algn="ctr">
              <a:buNone/>
              <a:defRPr sz="1632"/>
            </a:lvl6pPr>
            <a:lvl7pPr marL="2798338" indent="0" algn="ctr">
              <a:buNone/>
              <a:defRPr sz="1632"/>
            </a:lvl7pPr>
            <a:lvl8pPr marL="3264728" indent="0" algn="ctr">
              <a:buNone/>
              <a:defRPr sz="1632"/>
            </a:lvl8pPr>
            <a:lvl9pPr marL="3731118" indent="0" algn="ctr">
              <a:buNone/>
              <a:defRPr sz="1632"/>
            </a:lvl9pPr>
          </a:lstStyle>
          <a:p>
            <a:r>
              <a:rPr lang="zh-CN" altLang="en-US" dirty="0"/>
              <a:t>单击此处编辑母版副标题样式</a:t>
            </a:r>
          </a:p>
        </p:txBody>
      </p:sp>
      <p:pic>
        <p:nvPicPr>
          <p:cNvPr id="2097156" name="图片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157" name="图片 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1436698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2097204"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10975"/>
            <a:ext cx="12438065" cy="7007088"/>
          </a:xfrm>
          <a:prstGeom prst="rect">
            <a:avLst/>
          </a:prstGeom>
          <a:noFill/>
        </p:spPr>
      </p:pic>
      <p:sp>
        <p:nvSpPr>
          <p:cNvPr id="104875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
        <p:nvSpPr>
          <p:cNvPr id="1048757" name="文本框 4"/>
          <p:cNvSpPr txBox="1">
            <a:spLocks noChangeArrowheads="1"/>
          </p:cNvSpPr>
          <p:nvPr userDrawn="1"/>
        </p:nvSpPr>
        <p:spPr bwMode="auto">
          <a:xfrm>
            <a:off x="587607" y="241169"/>
            <a:ext cx="3888229" cy="734701"/>
          </a:xfrm>
          <a:prstGeom prst="rect">
            <a:avLst/>
          </a:prstGeom>
          <a:noFill/>
          <a:ln>
            <a:noFill/>
          </a:ln>
        </p:spPr>
        <p:txBody>
          <a:bodyPr wrap="square">
            <a:spAutoFit/>
          </a:bodyPr>
          <a:lstStyle>
            <a:lvl1pPr>
              <a:defRPr kumimoji="1" sz="2400">
                <a:solidFill>
                  <a:schemeClr val="tx1"/>
                </a:solidFill>
                <a:latin typeface="Arial" panose="020B0604020202020204" pitchFamily="34" charset="0"/>
                <a:ea typeface="宋体" panose="02010600030101010101" pitchFamily="2" charset="-122"/>
                <a:cs typeface="宋体" panose="02010600030101010101" pitchFamily="2" charset="-122"/>
              </a:defRPr>
            </a:lvl1pPr>
            <a:lvl2pPr marL="742950" indent="-285750">
              <a:defRPr kumimoji="1" sz="2400">
                <a:solidFill>
                  <a:schemeClr val="tx1"/>
                </a:solidFill>
                <a:latin typeface="Arial" panose="020B0604020202020204" pitchFamily="34" charset="0"/>
                <a:ea typeface="宋体" panose="02010600030101010101" pitchFamily="2" charset="-122"/>
              </a:defRPr>
            </a:lvl2pPr>
            <a:lvl3pPr marL="1143000" indent="-228600">
              <a:defRPr kumimoji="1" sz="2400">
                <a:solidFill>
                  <a:schemeClr val="tx1"/>
                </a:solidFill>
                <a:latin typeface="Arial" panose="020B0604020202020204" pitchFamily="34" charset="0"/>
                <a:ea typeface="宋体" panose="02010600030101010101" pitchFamily="2" charset="-122"/>
              </a:defRPr>
            </a:lvl3pPr>
            <a:lvl4pPr marL="1600200" indent="-228600">
              <a:defRPr kumimoji="1" sz="2400">
                <a:solidFill>
                  <a:schemeClr val="tx1"/>
                </a:solidFill>
                <a:latin typeface="Arial" panose="020B0604020202020204" pitchFamily="34" charset="0"/>
                <a:ea typeface="宋体" panose="02010600030101010101" pitchFamily="2" charset="-122"/>
              </a:defRPr>
            </a:lvl4pPr>
            <a:lvl5pPr marL="2057400" indent="-228600">
              <a:defRPr kumimoji="1" sz="2400">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kumimoji="1" sz="2400">
                <a:solidFill>
                  <a:schemeClr val="tx1"/>
                </a:solidFill>
                <a:latin typeface="Arial" panose="020B0604020202020204" pitchFamily="34" charset="0"/>
                <a:ea typeface="宋体" panose="02010600030101010101" pitchFamily="2" charset="-122"/>
              </a:defRPr>
            </a:lvl9pPr>
          </a:lstStyle>
          <a:p>
            <a:pPr defTabSz="932779"/>
            <a:r>
              <a:rPr lang="zh-CN" altLang="en-US" sz="4080" b="1" dirty="0">
                <a:ln w="18415" cmpd="sng">
                  <a:noFill/>
                  <a:prstDash val="solid"/>
                </a:ln>
                <a:solidFill>
                  <a:srgbClr val="FFFFFF"/>
                </a:solidFill>
                <a:latin typeface="微软雅黑" panose="020B0503020204020204" charset="-122"/>
                <a:ea typeface="微软雅黑" panose="020B0503020204020204" charset="-122"/>
                <a:cs typeface="微软雅黑" panose="020B0503020204020204" charset="-122"/>
              </a:rPr>
              <a:t>目录</a:t>
            </a:r>
          </a:p>
        </p:txBody>
      </p:sp>
      <p:sp>
        <p:nvSpPr>
          <p:cNvPr id="1048758" name="文本占位符 43"/>
          <p:cNvSpPr>
            <a:spLocks noGrp="1"/>
          </p:cNvSpPr>
          <p:nvPr>
            <p:ph type="body" sz="quarter" idx="13" hasCustomPrompt="1"/>
          </p:nvPr>
        </p:nvSpPr>
        <p:spPr>
          <a:xfrm>
            <a:off x="587606" y="1387437"/>
            <a:ext cx="6052124" cy="4813040"/>
          </a:xfrm>
        </p:spPr>
        <p:txBody>
          <a:bodyPr/>
          <a:lstStyle>
            <a:lvl1pPr marL="466390" indent="-466390">
              <a:lnSpc>
                <a:spcPct val="150000"/>
              </a:lnSpc>
              <a:spcAft>
                <a:spcPts val="306"/>
              </a:spcAft>
              <a:buFont typeface="+mj-lt"/>
              <a:buAutoNum type="arabicPeriod"/>
              <a:defRPr>
                <a:solidFill>
                  <a:schemeClr val="bg1"/>
                </a:solidFill>
              </a:defRPr>
            </a:lvl1pPr>
          </a:lstStyle>
          <a:p>
            <a:pPr lvl="0"/>
            <a:r>
              <a:rPr lang="zh-CN" altLang="en-US" dirty="0"/>
              <a:t>单击此处编辑目录文本样式</a:t>
            </a:r>
            <a:endParaRPr lang="en-US" altLang="zh-CN" dirty="0"/>
          </a:p>
        </p:txBody>
      </p:sp>
      <p:pic>
        <p:nvPicPr>
          <p:cNvPr id="2097205" name="图片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spTree>
    <p:extLst>
      <p:ext uri="{BB962C8B-B14F-4D97-AF65-F5344CB8AC3E}">
        <p14:creationId xmlns:p14="http://schemas.microsoft.com/office/powerpoint/2010/main" val="34009212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1048584" name="标题 1"/>
          <p:cNvSpPr>
            <a:spLocks noGrp="1"/>
          </p:cNvSpPr>
          <p:nvPr>
            <p:ph type="title"/>
          </p:nvPr>
        </p:nvSpPr>
        <p:spPr>
          <a:xfrm>
            <a:off x="330386" y="89405"/>
            <a:ext cx="9181776" cy="660743"/>
          </a:xfrm>
        </p:spPr>
        <p:txBody>
          <a:bodyPr/>
          <a:lstStyle/>
          <a:p>
            <a:r>
              <a:rPr lang="zh-CN" altLang="en-US" dirty="0"/>
              <a:t>单击此处编辑母版标题样式</a:t>
            </a:r>
          </a:p>
        </p:txBody>
      </p:sp>
      <p:sp>
        <p:nvSpPr>
          <p:cNvPr id="1048585" name="灯片编号占位符 4"/>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2594521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2097383" name="Picture 3" descr="C:\Users\qq\Desktop\金沙江.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a:fillRect/>
          </a:stretch>
        </p:blipFill>
        <p:spPr bwMode="auto">
          <a:xfrm>
            <a:off x="-2" y="-32923"/>
            <a:ext cx="12438065" cy="7029036"/>
          </a:xfrm>
          <a:prstGeom prst="rect">
            <a:avLst/>
          </a:prstGeom>
          <a:noFill/>
        </p:spPr>
      </p:pic>
      <p:sp>
        <p:nvSpPr>
          <p:cNvPr id="1049394" name="文本框 1"/>
          <p:cNvSpPr>
            <a:spLocks noChangeArrowheads="1"/>
          </p:cNvSpPr>
          <p:nvPr userDrawn="1"/>
        </p:nvSpPr>
        <p:spPr bwMode="auto">
          <a:xfrm>
            <a:off x="2792401" y="2473605"/>
            <a:ext cx="8246308" cy="1996487"/>
          </a:xfrm>
          <a:prstGeom prst="rect">
            <a:avLst/>
          </a:prstGeom>
          <a:noFill/>
          <a:ln>
            <a:noFill/>
          </a:ln>
        </p:spPr>
        <p:txBody>
          <a:bodyPr wrap="square">
            <a:spAutoFit/>
          </a:bodyPr>
          <a:lstStyle/>
          <a:p>
            <a:pPr defTabSz="932779">
              <a:lnSpc>
                <a:spcPct val="135000"/>
              </a:lnSpc>
              <a:buFont typeface="Arial" panose="020B0604020202020204" pitchFamily="34" charset="0"/>
              <a:buNone/>
            </a:pPr>
            <a:r>
              <a:rPr lang="zh-CN" altLang="en-US"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谢 谢！</a:t>
            </a:r>
            <a:endPar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endParaRPr>
          </a:p>
          <a:p>
            <a:pPr defTabSz="932779">
              <a:lnSpc>
                <a:spcPct val="135000"/>
              </a:lnSpc>
              <a:buFont typeface="Arial" panose="020B0604020202020204" pitchFamily="34" charset="0"/>
              <a:buNone/>
            </a:pPr>
            <a:r>
              <a:rPr lang="en-US" altLang="zh-CN" sz="4488" dirty="0">
                <a:ln w="18415" cmpd="sng">
                  <a:solidFill>
                    <a:srgbClr val="FFFFFF"/>
                  </a:solidFill>
                  <a:prstDash val="solid"/>
                </a:ln>
                <a:solidFill>
                  <a:srgbClr val="FFFFFF"/>
                </a:solidFill>
                <a:latin typeface="微软雅黑" panose="020B0503020204020204" charset="-122"/>
                <a:cs typeface="微软雅黑" panose="020B0503020204020204" charset="-122"/>
                <a:sym typeface="微软雅黑" panose="020B0503020204020204" charset="-122"/>
              </a:rPr>
              <a:t>Thanks!</a:t>
            </a:r>
          </a:p>
        </p:txBody>
      </p:sp>
      <p:pic>
        <p:nvPicPr>
          <p:cNvPr id="2097384" name="图片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768792" y="376621"/>
            <a:ext cx="1191369" cy="529475"/>
          </a:xfrm>
          <a:prstGeom prst="rect">
            <a:avLst/>
          </a:prstGeom>
        </p:spPr>
      </p:pic>
      <p:pic>
        <p:nvPicPr>
          <p:cNvPr id="2097385" name="图片 1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78236" y="6291311"/>
            <a:ext cx="7014634" cy="380087"/>
          </a:xfrm>
          <a:prstGeom prst="rect">
            <a:avLst/>
          </a:prstGeom>
        </p:spPr>
      </p:pic>
    </p:spTree>
    <p:extLst>
      <p:ext uri="{BB962C8B-B14F-4D97-AF65-F5344CB8AC3E}">
        <p14:creationId xmlns:p14="http://schemas.microsoft.com/office/powerpoint/2010/main" val="633663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49394"/>
                                        </p:tgtEl>
                                        <p:attrNameLst>
                                          <p:attrName>style.visibility</p:attrName>
                                        </p:attrNameLst>
                                      </p:cBhvr>
                                      <p:to>
                                        <p:strVal val="visible"/>
                                      </p:to>
                                    </p:set>
                                    <p:anim calcmode="lin" valueType="num">
                                      <p:cBhvr>
                                        <p:cTn id="7" dur="500" fill="hold"/>
                                        <p:tgtEl>
                                          <p:spTgt spid="1049394"/>
                                        </p:tgtEl>
                                        <p:attrNameLst>
                                          <p:attrName>ppt_w</p:attrName>
                                        </p:attrNameLst>
                                      </p:cBhvr>
                                      <p:tavLst>
                                        <p:tav tm="0">
                                          <p:val>
                                            <p:fltVal val="0"/>
                                          </p:val>
                                        </p:tav>
                                        <p:tav tm="100000">
                                          <p:val>
                                            <p:strVal val="#ppt_w"/>
                                          </p:val>
                                        </p:tav>
                                      </p:tavLst>
                                    </p:anim>
                                    <p:anim calcmode="lin" valueType="num">
                                      <p:cBhvr>
                                        <p:cTn id="8" dur="500" fill="hold"/>
                                        <p:tgtEl>
                                          <p:spTgt spid="1049394"/>
                                        </p:tgtEl>
                                        <p:attrNameLst>
                                          <p:attrName>ppt_h</p:attrName>
                                        </p:attrNameLst>
                                      </p:cBhvr>
                                      <p:tavLst>
                                        <p:tav tm="0">
                                          <p:val>
                                            <p:fltVal val="0"/>
                                          </p:val>
                                        </p:tav>
                                        <p:tav tm="100000">
                                          <p:val>
                                            <p:strVal val="#ppt_h"/>
                                          </p:val>
                                        </p:tav>
                                      </p:tavLst>
                                    </p:anim>
                                    <p:animEffect transition="in" filter="fade">
                                      <p:cBhvr>
                                        <p:cTn id="9" dur="500"/>
                                        <p:tgtEl>
                                          <p:spTgt spid="10493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320669" y="89405"/>
            <a:ext cx="9191493" cy="660743"/>
          </a:xfrm>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灯片编号占位符 5"/>
          <p:cNvSpPr>
            <a:spLocks noGrp="1"/>
          </p:cNvSpPr>
          <p:nvPr>
            <p:ph type="sldNum" sz="quarter" idx="12"/>
          </p:nvPr>
        </p:nvSpPr>
        <p:spPr/>
        <p:txBody>
          <a:bodyPr/>
          <a:lstStyle/>
          <a:p>
            <a:fld id="{4B1B0860-3CE7-4EC1-80B2-E4FAEF86BBEB}"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0973315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027868" y="458340"/>
            <a:ext cx="10382328" cy="889089"/>
          </a:xfrm>
          <a:prstGeom prst="rect">
            <a:avLst/>
          </a:prstGeom>
        </p:spPr>
        <p:txBody>
          <a:bodyPr/>
          <a:lstStyle/>
          <a:p>
            <a:r>
              <a:rPr lang="en-US"/>
              <a:t>Click to edit Master title style</a:t>
            </a:r>
          </a:p>
        </p:txBody>
      </p:sp>
      <p:sp>
        <p:nvSpPr>
          <p:cNvPr id="4" name="Content Placeholder 3"/>
          <p:cNvSpPr>
            <a:spLocks noGrp="1"/>
          </p:cNvSpPr>
          <p:nvPr>
            <p:ph sz="quarter" idx="10"/>
          </p:nvPr>
        </p:nvSpPr>
        <p:spPr>
          <a:xfrm>
            <a:off x="1039347" y="1661178"/>
            <a:ext cx="10359372" cy="4677076"/>
          </a:xfrm>
          <a:prstGeom prst="rect">
            <a:avLst/>
          </a:prstGeom>
        </p:spPr>
        <p:txBody>
          <a:bodyPr/>
          <a:lstStyle>
            <a:lvl1pPr>
              <a:defRPr sz="3261"/>
            </a:lvl1pPr>
            <a:lvl2pPr>
              <a:defRPr sz="2752"/>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891632"/>
      </p:ext>
    </p:extLst>
  </p:cSld>
  <p:clrMapOvr>
    <a:masterClrMapping/>
  </p:clrMapOvr>
  <p:transition>
    <p:fade thruBlk="1"/>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67.xml"/><Relationship Id="rId7" Type="http://schemas.openxmlformats.org/officeDocument/2006/relationships/theme" Target="../theme/theme10.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10" Type="http://schemas.openxmlformats.org/officeDocument/2006/relationships/image" Target="../media/image3.png"/><Relationship Id="rId4" Type="http://schemas.openxmlformats.org/officeDocument/2006/relationships/slideLayout" Target="../slideLayouts/slideLayout68.xml"/><Relationship Id="rId9" Type="http://schemas.openxmlformats.org/officeDocument/2006/relationships/image" Target="../media/image2.png"/></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73.xml"/><Relationship Id="rId7" Type="http://schemas.openxmlformats.org/officeDocument/2006/relationships/image" Target="../media/image2.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image" Target="../media/image1.png"/><Relationship Id="rId5" Type="http://schemas.openxmlformats.org/officeDocument/2006/relationships/theme" Target="../theme/theme11.xml"/><Relationship Id="rId4" Type="http://schemas.openxmlformats.org/officeDocument/2006/relationships/slideLayout" Target="../slideLayouts/slideLayout74.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77.xml"/><Relationship Id="rId7" Type="http://schemas.openxmlformats.org/officeDocument/2006/relationships/theme" Target="../theme/theme12.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10" Type="http://schemas.openxmlformats.org/officeDocument/2006/relationships/image" Target="../media/image3.png"/><Relationship Id="rId4" Type="http://schemas.openxmlformats.org/officeDocument/2006/relationships/slideLayout" Target="../slideLayouts/slideLayout78.xml"/><Relationship Id="rId9"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3.xml"/><Relationship Id="rId7" Type="http://schemas.openxmlformats.org/officeDocument/2006/relationships/theme" Target="../theme/theme13.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10" Type="http://schemas.openxmlformats.org/officeDocument/2006/relationships/image" Target="../media/image3.png"/><Relationship Id="rId4" Type="http://schemas.openxmlformats.org/officeDocument/2006/relationships/slideLayout" Target="../slideLayouts/slideLayout84.xml"/><Relationship Id="rId9" Type="http://schemas.openxmlformats.org/officeDocument/2006/relationships/image" Target="../media/image2.png"/></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89.xml"/><Relationship Id="rId7" Type="http://schemas.openxmlformats.org/officeDocument/2006/relationships/image" Target="../media/image1.png"/><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theme" Target="../theme/theme14.xml"/><Relationship Id="rId5" Type="http://schemas.openxmlformats.org/officeDocument/2006/relationships/slideLayout" Target="../slideLayouts/slideLayout91.xml"/><Relationship Id="rId4" Type="http://schemas.openxmlformats.org/officeDocument/2006/relationships/slideLayout" Target="../slideLayouts/slideLayout90.xml"/><Relationship Id="rId9"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94.xml"/><Relationship Id="rId7" Type="http://schemas.openxmlformats.org/officeDocument/2006/relationships/theme" Target="../theme/theme15.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5" Type="http://schemas.openxmlformats.org/officeDocument/2006/relationships/slideLayout" Target="../slideLayouts/slideLayout96.xml"/><Relationship Id="rId10" Type="http://schemas.openxmlformats.org/officeDocument/2006/relationships/image" Target="../media/image3.png"/><Relationship Id="rId4" Type="http://schemas.openxmlformats.org/officeDocument/2006/relationships/slideLayout" Target="../slideLayouts/slideLayout95.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5.xml"/><Relationship Id="rId7"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1.png"/><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9.xml"/><Relationship Id="rId7" Type="http://schemas.openxmlformats.org/officeDocument/2006/relationships/image" Target="../media/image2.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3.xml"/><Relationship Id="rId7" Type="http://schemas.openxmlformats.org/officeDocument/2006/relationships/image" Target="../media/image2.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1.png"/><Relationship Id="rId5" Type="http://schemas.openxmlformats.org/officeDocument/2006/relationships/theme" Target="../theme/theme4.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image" Target="../media/image10.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2.png"/><Relationship Id="rId5" Type="http://schemas.openxmlformats.org/officeDocument/2006/relationships/slideLayout" Target="../slideLayouts/slideLayout29.xml"/><Relationship Id="rId10" Type="http://schemas.openxmlformats.org/officeDocument/2006/relationships/image" Target="../media/image1.png"/><Relationship Id="rId4" Type="http://schemas.openxmlformats.org/officeDocument/2006/relationships/slideLayout" Target="../slideLayouts/slideLayout28.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10.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2.png"/><Relationship Id="rId5" Type="http://schemas.openxmlformats.org/officeDocument/2006/relationships/slideLayout" Target="../slideLayouts/slideLayout37.xml"/><Relationship Id="rId10" Type="http://schemas.openxmlformats.org/officeDocument/2006/relationships/image" Target="../media/image1.png"/><Relationship Id="rId4" Type="http://schemas.openxmlformats.org/officeDocument/2006/relationships/slideLayout" Target="../slideLayouts/slideLayout36.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image" Target="../media/image10.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2.png"/><Relationship Id="rId5" Type="http://schemas.openxmlformats.org/officeDocument/2006/relationships/slideLayout" Target="../slideLayouts/slideLayout45.xml"/><Relationship Id="rId10" Type="http://schemas.openxmlformats.org/officeDocument/2006/relationships/image" Target="../media/image1.png"/><Relationship Id="rId4" Type="http://schemas.openxmlformats.org/officeDocument/2006/relationships/slideLayout" Target="../slideLayouts/slideLayout44.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image" Target="../media/image10.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image" Target="../media/image2.png"/><Relationship Id="rId5" Type="http://schemas.openxmlformats.org/officeDocument/2006/relationships/slideLayout" Target="../slideLayouts/slideLayout53.xml"/><Relationship Id="rId10" Type="http://schemas.openxmlformats.org/officeDocument/2006/relationships/image" Target="../media/image1.png"/><Relationship Id="rId4" Type="http://schemas.openxmlformats.org/officeDocument/2006/relationships/slideLayout" Target="../slideLayouts/slideLayout52.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image" Target="../media/image10.png"/><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2.png"/><Relationship Id="rId5" Type="http://schemas.openxmlformats.org/officeDocument/2006/relationships/slideLayout" Target="../slideLayouts/slideLayout61.xml"/><Relationship Id="rId10" Type="http://schemas.openxmlformats.org/officeDocument/2006/relationships/image" Target="../media/image1.png"/><Relationship Id="rId4" Type="http://schemas.openxmlformats.org/officeDocument/2006/relationships/slideLayout" Target="../slideLayouts/slideLayout60.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14"/>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fld id="{4B1B0860-3CE7-4EC1-80B2-E4FAEF86BBEB}" type="slidenum">
              <a:rPr lang="zh-CN" altLang="en-US" smtClean="0"/>
              <a:t>‹#›</a:t>
            </a:fld>
            <a:endParaRPr lang="zh-CN" altLang="en-US"/>
          </a:p>
        </p:txBody>
      </p:sp>
      <p:pic>
        <p:nvPicPr>
          <p:cNvPr id="2097153" name="Picture 2" descr="F:\Design\CSI Default\brand\中软国际LOGO_白.png"/>
          <p:cNvPicPr>
            <a:picLocks noChangeAspect="1" noChangeArrowheads="1"/>
          </p:cNvPicPr>
          <p:nvPr userDrawn="1"/>
        </p:nvPicPr>
        <p:blipFill>
          <a:blip r:embed="rId15"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4113626114"/>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73" r:id="rId5"/>
    <p:sldLayoutId id="2147483674" r:id="rId6"/>
    <p:sldLayoutId id="2147483669" r:id="rId7"/>
    <p:sldLayoutId id="2147483675" r:id="rId8"/>
    <p:sldLayoutId id="2147483671" r:id="rId9"/>
    <p:sldLayoutId id="2147483672" r:id="rId10"/>
    <p:sldLayoutId id="2147483670" r:id="rId11"/>
    <p:sldLayoutId id="2147483676" r:id="rId12"/>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8"/>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9"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368594877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6"/>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7"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726429539"/>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8"/>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9"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177844203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8"/>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9"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36326906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7"/>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8"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175551813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5" r:id="rId5"/>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8"/>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9"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4242820978"/>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6" cstate="print"/>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7"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159703821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6" cstate="print"/>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7"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36173706"/>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97152" name="图片 4"/>
          <p:cNvPicPr>
            <a:picLocks noChangeAspect="1"/>
          </p:cNvPicPr>
          <p:nvPr userDrawn="1"/>
        </p:nvPicPr>
        <p:blipFill>
          <a:blip r:embed="rId6" cstate="print"/>
          <a:stretch>
            <a:fillRect/>
          </a:stretch>
        </p:blipFill>
        <p:spPr>
          <a:xfrm>
            <a:off x="0" y="-10974"/>
            <a:ext cx="12438063" cy="842124"/>
          </a:xfrm>
          <a:prstGeom prst="rect">
            <a:avLst/>
          </a:prstGeom>
        </p:spPr>
      </p:pic>
      <p:sp>
        <p:nvSpPr>
          <p:cNvPr id="1048576"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1048577"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1048578"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2097153" name="Picture 2" descr="F:\Design\CSI Default\brand\中软国际LOGO_白.png"/>
          <p:cNvPicPr>
            <a:picLocks noChangeAspect="1" noChangeArrowheads="1"/>
          </p:cNvPicPr>
          <p:nvPr userDrawn="1"/>
        </p:nvPicPr>
        <p:blipFill>
          <a:blip r:embed="rId7" cstate="print"/>
          <a:srcRect/>
          <a:stretch>
            <a:fillRect/>
          </a:stretch>
        </p:blipFill>
        <p:spPr bwMode="auto">
          <a:xfrm>
            <a:off x="9593265" y="142664"/>
            <a:ext cx="1278890" cy="567136"/>
          </a:xfrm>
          <a:prstGeom prst="rect">
            <a:avLst/>
          </a:prstGeom>
          <a:noFill/>
        </p:spPr>
      </p:pic>
      <p:pic>
        <p:nvPicPr>
          <p:cNvPr id="2097154" name="图片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906860244"/>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10974"/>
            <a:ext cx="12438063" cy="842124"/>
          </a:xfrm>
          <a:prstGeom prst="rect">
            <a:avLst/>
          </a:prstGeom>
        </p:spPr>
      </p:pic>
      <p:sp>
        <p:nvSpPr>
          <p:cNvPr id="2"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11" name="Picture 2" descr="F:\Design\CSI Default\brand\中软国际LOGO_白.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9593265" y="142664"/>
            <a:ext cx="1278890" cy="567136"/>
          </a:xfrm>
          <a:prstGeom prst="rect">
            <a:avLst/>
          </a:prstGeom>
          <a:noFill/>
          <a:extLst>
            <a:ext uri="{909E8E84-426E-40DD-AFC4-6F175D3DCCD1}">
              <a14:hiddenFill xmlns:a14="http://schemas.microsoft.com/office/drawing/2010/main">
                <a:solidFill>
                  <a:srgbClr val="FFFFFF"/>
                </a:solidFill>
              </a14:hiddenFill>
            </a:ext>
          </a:extLst>
        </p:spPr>
      </p:pic>
      <p:pic>
        <p:nvPicPr>
          <p:cNvPr id="7" name="图片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231446735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10974"/>
            <a:ext cx="12438063" cy="842124"/>
          </a:xfrm>
          <a:prstGeom prst="rect">
            <a:avLst/>
          </a:prstGeom>
        </p:spPr>
      </p:pic>
      <p:sp>
        <p:nvSpPr>
          <p:cNvPr id="2"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11" name="Picture 2" descr="F:\Design\CSI Default\brand\中软国际LOGO_白.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9593265" y="142664"/>
            <a:ext cx="1278890" cy="567136"/>
          </a:xfrm>
          <a:prstGeom prst="rect">
            <a:avLst/>
          </a:prstGeom>
          <a:noFill/>
          <a:extLst>
            <a:ext uri="{909E8E84-426E-40DD-AFC4-6F175D3DCCD1}">
              <a14:hiddenFill xmlns:a14="http://schemas.microsoft.com/office/drawing/2010/main">
                <a:solidFill>
                  <a:srgbClr val="FFFFFF"/>
                </a:solidFill>
              </a14:hiddenFill>
            </a:ext>
          </a:extLst>
        </p:spPr>
      </p:pic>
      <p:pic>
        <p:nvPicPr>
          <p:cNvPr id="7" name="图片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633448693"/>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10974"/>
            <a:ext cx="12438063" cy="842124"/>
          </a:xfrm>
          <a:prstGeom prst="rect">
            <a:avLst/>
          </a:prstGeom>
        </p:spPr>
      </p:pic>
      <p:sp>
        <p:nvSpPr>
          <p:cNvPr id="2"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11" name="Picture 2" descr="F:\Design\CSI Default\brand\中软国际LOGO_白.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9593265" y="142664"/>
            <a:ext cx="1278890" cy="567136"/>
          </a:xfrm>
          <a:prstGeom prst="rect">
            <a:avLst/>
          </a:prstGeom>
          <a:noFill/>
          <a:extLst>
            <a:ext uri="{909E8E84-426E-40DD-AFC4-6F175D3DCCD1}">
              <a14:hiddenFill xmlns:a14="http://schemas.microsoft.com/office/drawing/2010/main">
                <a:solidFill>
                  <a:srgbClr val="FFFFFF"/>
                </a:solidFill>
              </a14:hiddenFill>
            </a:ext>
          </a:extLst>
        </p:spPr>
      </p:pic>
      <p:pic>
        <p:nvPicPr>
          <p:cNvPr id="7" name="图片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4059562466"/>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10974"/>
            <a:ext cx="12438063" cy="842124"/>
          </a:xfrm>
          <a:prstGeom prst="rect">
            <a:avLst/>
          </a:prstGeom>
        </p:spPr>
      </p:pic>
      <p:sp>
        <p:nvSpPr>
          <p:cNvPr id="2"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11" name="Picture 2" descr="F:\Design\CSI Default\brand\中软国际LOGO_白.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9593265" y="142664"/>
            <a:ext cx="1278890" cy="567136"/>
          </a:xfrm>
          <a:prstGeom prst="rect">
            <a:avLst/>
          </a:prstGeom>
          <a:noFill/>
          <a:extLst>
            <a:ext uri="{909E8E84-426E-40DD-AFC4-6F175D3DCCD1}">
              <a14:hiddenFill xmlns:a14="http://schemas.microsoft.com/office/drawing/2010/main">
                <a:solidFill>
                  <a:srgbClr val="FFFFFF"/>
                </a:solidFill>
              </a14:hiddenFill>
            </a:ext>
          </a:extLst>
        </p:spPr>
      </p:pic>
      <p:pic>
        <p:nvPicPr>
          <p:cNvPr id="7" name="图片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355082367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10974"/>
            <a:ext cx="12438063" cy="842124"/>
          </a:xfrm>
          <a:prstGeom prst="rect">
            <a:avLst/>
          </a:prstGeom>
        </p:spPr>
      </p:pic>
      <p:sp>
        <p:nvSpPr>
          <p:cNvPr id="2" name="标题占位符 1"/>
          <p:cNvSpPr>
            <a:spLocks noGrp="1"/>
          </p:cNvSpPr>
          <p:nvPr>
            <p:ph type="title"/>
          </p:nvPr>
        </p:nvSpPr>
        <p:spPr>
          <a:xfrm>
            <a:off x="330386" y="89405"/>
            <a:ext cx="9181776" cy="66074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587607" y="1111148"/>
            <a:ext cx="11262850" cy="5190213"/>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灯片编号占位符 5"/>
          <p:cNvSpPr>
            <a:spLocks noGrp="1"/>
          </p:cNvSpPr>
          <p:nvPr>
            <p:ph type="sldNum" sz="quarter" idx="4"/>
          </p:nvPr>
        </p:nvSpPr>
        <p:spPr>
          <a:xfrm>
            <a:off x="10687820" y="6484361"/>
            <a:ext cx="1162637" cy="372478"/>
          </a:xfrm>
          <a:prstGeom prst="rect">
            <a:avLst/>
          </a:prstGeom>
        </p:spPr>
        <p:txBody>
          <a:bodyPr vert="horz" lIns="91440" tIns="45720" rIns="91440" bIns="45720" rtlCol="0" anchor="ctr"/>
          <a:lstStyle>
            <a:lvl1pPr algn="r">
              <a:defRPr sz="1224">
                <a:solidFill>
                  <a:schemeClr val="tx1">
                    <a:tint val="75000"/>
                  </a:schemeClr>
                </a:solidFill>
                <a:latin typeface="微软雅黑" panose="020B0503020204020204" charset="-122"/>
                <a:ea typeface="微软雅黑" panose="020B0503020204020204" charset="-122"/>
              </a:defRPr>
            </a:lvl1pPr>
          </a:lstStyle>
          <a:p>
            <a:pPr defTabSz="932779"/>
            <a:fld id="{4B1B0860-3CE7-4EC1-80B2-E4FAEF86BBEB}" type="slidenum">
              <a:rPr lang="zh-CN" altLang="en-US" smtClean="0">
                <a:solidFill>
                  <a:prstClr val="black">
                    <a:tint val="75000"/>
                  </a:prstClr>
                </a:solidFill>
              </a:rPr>
              <a:pPr defTabSz="932779"/>
              <a:t>‹#›</a:t>
            </a:fld>
            <a:endParaRPr lang="zh-CN" altLang="en-US">
              <a:solidFill>
                <a:prstClr val="black">
                  <a:tint val="75000"/>
                </a:prstClr>
              </a:solidFill>
            </a:endParaRPr>
          </a:p>
        </p:txBody>
      </p:sp>
      <p:pic>
        <p:nvPicPr>
          <p:cNvPr id="11" name="Picture 2" descr="F:\Design\CSI Default\brand\中软国际LOGO_白.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9593265" y="142664"/>
            <a:ext cx="1278890" cy="567136"/>
          </a:xfrm>
          <a:prstGeom prst="rect">
            <a:avLst/>
          </a:prstGeom>
          <a:noFill/>
          <a:extLst>
            <a:ext uri="{909E8E84-426E-40DD-AFC4-6F175D3DCCD1}">
              <a14:hiddenFill xmlns:a14="http://schemas.microsoft.com/office/drawing/2010/main">
                <a:solidFill>
                  <a:srgbClr val="FFFFFF"/>
                </a:solidFill>
              </a14:hiddenFill>
            </a:ext>
          </a:extLst>
        </p:spPr>
      </p:pic>
      <p:pic>
        <p:nvPicPr>
          <p:cNvPr id="7" name="图片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1003673" y="113561"/>
            <a:ext cx="1108010" cy="610731"/>
          </a:xfrm>
          <a:prstGeom prst="rect">
            <a:avLst/>
          </a:prstGeom>
        </p:spPr>
      </p:pic>
    </p:spTree>
    <p:extLst>
      <p:ext uri="{BB962C8B-B14F-4D97-AF65-F5344CB8AC3E}">
        <p14:creationId xmlns:p14="http://schemas.microsoft.com/office/powerpoint/2010/main" val="3833458003"/>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hf hdr="0" ftr="0" dt="0"/>
  <p:txStyles>
    <p:titleStyle>
      <a:lvl1pPr algn="l" defTabSz="932779" rtl="0" eaLnBrk="1" latinLnBrk="0" hangingPunct="1">
        <a:lnSpc>
          <a:spcPct val="100000"/>
        </a:lnSpc>
        <a:spcBef>
          <a:spcPct val="0"/>
        </a:spcBef>
        <a:buNone/>
        <a:defRPr sz="2856" b="1" kern="1200">
          <a:solidFill>
            <a:schemeClr val="bg1"/>
          </a:solidFill>
          <a:effectLst/>
          <a:latin typeface="微软雅黑" panose="020B0503020204020204" charset="-122"/>
          <a:ea typeface="微软雅黑" panose="020B0503020204020204" charset="-122"/>
          <a:cs typeface="+mj-cs"/>
        </a:defRPr>
      </a:lvl1pPr>
    </p:titleStyle>
    <p:bodyStyle>
      <a:lvl1pPr marL="233195" indent="-233195" algn="l" defTabSz="932779" rtl="0" eaLnBrk="1" latinLnBrk="0" hangingPunct="1">
        <a:lnSpc>
          <a:spcPct val="100000"/>
        </a:lnSpc>
        <a:spcBef>
          <a:spcPts val="0"/>
        </a:spcBef>
        <a:spcAft>
          <a:spcPts val="1224"/>
        </a:spcAft>
        <a:buFont typeface="Arial" panose="020B0604020202020204" pitchFamily="34" charset="0"/>
        <a:buChar char="•"/>
        <a:defRPr sz="2448" b="0" kern="1200">
          <a:solidFill>
            <a:schemeClr val="tx1"/>
          </a:solidFill>
          <a:latin typeface="微软雅黑" panose="020B0503020204020204" charset="-122"/>
          <a:ea typeface="微软雅黑" panose="020B0503020204020204" charset="-122"/>
          <a:cs typeface="+mn-cs"/>
        </a:defRPr>
      </a:lvl1pPr>
      <a:lvl2pPr marL="699585" indent="-233195" algn="l" defTabSz="932779" rtl="0" eaLnBrk="1" latinLnBrk="0" hangingPunct="1">
        <a:lnSpc>
          <a:spcPct val="100000"/>
        </a:lnSpc>
        <a:spcBef>
          <a:spcPts val="0"/>
        </a:spcBef>
        <a:spcAft>
          <a:spcPts val="1224"/>
        </a:spcAft>
        <a:buFont typeface="Arial" panose="020B0604020202020204" pitchFamily="34" charset="0"/>
        <a:buChar char="•"/>
        <a:defRPr sz="1836" b="0" kern="1200">
          <a:solidFill>
            <a:schemeClr val="tx1"/>
          </a:solidFill>
          <a:latin typeface="微软雅黑" panose="020B0503020204020204" charset="-122"/>
          <a:ea typeface="微软雅黑" panose="020B0503020204020204" charset="-122"/>
          <a:cs typeface="+mn-cs"/>
        </a:defRPr>
      </a:lvl2pPr>
      <a:lvl3pPr marL="1165974" indent="-233195" algn="l" defTabSz="932779" rtl="0" eaLnBrk="1" latinLnBrk="0" hangingPunct="1">
        <a:lnSpc>
          <a:spcPct val="100000"/>
        </a:lnSpc>
        <a:spcBef>
          <a:spcPts val="0"/>
        </a:spcBef>
        <a:spcAft>
          <a:spcPts val="1224"/>
        </a:spcAft>
        <a:buFont typeface="Arial" panose="020B0604020202020204" pitchFamily="34" charset="0"/>
        <a:buChar char="•"/>
        <a:defRPr sz="1632" b="0" kern="1200">
          <a:solidFill>
            <a:schemeClr val="tx1"/>
          </a:solidFill>
          <a:latin typeface="微软雅黑" panose="020B0503020204020204" charset="-122"/>
          <a:ea typeface="微软雅黑" panose="020B0503020204020204" charset="-122"/>
          <a:cs typeface="+mn-cs"/>
        </a:defRPr>
      </a:lvl3pPr>
      <a:lvl4pPr marL="163236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4pPr>
      <a:lvl5pPr marL="2098754" indent="-233195" algn="l" defTabSz="932779" rtl="0" eaLnBrk="1" latinLnBrk="0" hangingPunct="1">
        <a:lnSpc>
          <a:spcPct val="100000"/>
        </a:lnSpc>
        <a:spcBef>
          <a:spcPts val="0"/>
        </a:spcBef>
        <a:spcAft>
          <a:spcPts val="1224"/>
        </a:spcAft>
        <a:buFont typeface="Arial" panose="020B0604020202020204" pitchFamily="34" charset="0"/>
        <a:buChar char="•"/>
        <a:defRPr sz="1428" b="0" kern="1200">
          <a:solidFill>
            <a:schemeClr val="tx1"/>
          </a:solidFill>
          <a:latin typeface="微软雅黑" panose="020B0503020204020204" charset="-122"/>
          <a:ea typeface="微软雅黑" panose="020B0503020204020204" charset="-122"/>
          <a:cs typeface="+mn-cs"/>
        </a:defRPr>
      </a:lvl5pPr>
      <a:lvl6pPr marL="256514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153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92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4313" indent="-233195" algn="l" defTabSz="932779"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zh-CN"/>
      </a:defPPr>
      <a:lvl1pPr marL="0" algn="l" defTabSz="932779" rtl="0" eaLnBrk="1" latinLnBrk="0" hangingPunct="1">
        <a:defRPr sz="1836" kern="1200">
          <a:solidFill>
            <a:schemeClr val="tx1"/>
          </a:solidFill>
          <a:latin typeface="+mn-lt"/>
          <a:ea typeface="+mn-ea"/>
          <a:cs typeface="+mn-cs"/>
        </a:defRPr>
      </a:lvl1pPr>
      <a:lvl2pPr marL="466390" algn="l" defTabSz="932779" rtl="0" eaLnBrk="1" latinLnBrk="0" hangingPunct="1">
        <a:defRPr sz="1836" kern="1200">
          <a:solidFill>
            <a:schemeClr val="tx1"/>
          </a:solidFill>
          <a:latin typeface="+mn-lt"/>
          <a:ea typeface="+mn-ea"/>
          <a:cs typeface="+mn-cs"/>
        </a:defRPr>
      </a:lvl2pPr>
      <a:lvl3pPr marL="932779" algn="l" defTabSz="932779" rtl="0" eaLnBrk="1" latinLnBrk="0" hangingPunct="1">
        <a:defRPr sz="1836" kern="1200">
          <a:solidFill>
            <a:schemeClr val="tx1"/>
          </a:solidFill>
          <a:latin typeface="+mn-lt"/>
          <a:ea typeface="+mn-ea"/>
          <a:cs typeface="+mn-cs"/>
        </a:defRPr>
      </a:lvl3pPr>
      <a:lvl4pPr marL="1399169" algn="l" defTabSz="932779" rtl="0" eaLnBrk="1" latinLnBrk="0" hangingPunct="1">
        <a:defRPr sz="1836" kern="1200">
          <a:solidFill>
            <a:schemeClr val="tx1"/>
          </a:solidFill>
          <a:latin typeface="+mn-lt"/>
          <a:ea typeface="+mn-ea"/>
          <a:cs typeface="+mn-cs"/>
        </a:defRPr>
      </a:lvl4pPr>
      <a:lvl5pPr marL="1865559" algn="l" defTabSz="932779" rtl="0" eaLnBrk="1" latinLnBrk="0" hangingPunct="1">
        <a:defRPr sz="1836" kern="1200">
          <a:solidFill>
            <a:schemeClr val="tx1"/>
          </a:solidFill>
          <a:latin typeface="+mn-lt"/>
          <a:ea typeface="+mn-ea"/>
          <a:cs typeface="+mn-cs"/>
        </a:defRPr>
      </a:lvl5pPr>
      <a:lvl6pPr marL="2331949" algn="l" defTabSz="932779" rtl="0" eaLnBrk="1" latinLnBrk="0" hangingPunct="1">
        <a:defRPr sz="1836" kern="1200">
          <a:solidFill>
            <a:schemeClr val="tx1"/>
          </a:solidFill>
          <a:latin typeface="+mn-lt"/>
          <a:ea typeface="+mn-ea"/>
          <a:cs typeface="+mn-cs"/>
        </a:defRPr>
      </a:lvl6pPr>
      <a:lvl7pPr marL="2798338" algn="l" defTabSz="932779" rtl="0" eaLnBrk="1" latinLnBrk="0" hangingPunct="1">
        <a:defRPr sz="1836" kern="1200">
          <a:solidFill>
            <a:schemeClr val="tx1"/>
          </a:solidFill>
          <a:latin typeface="+mn-lt"/>
          <a:ea typeface="+mn-ea"/>
          <a:cs typeface="+mn-cs"/>
        </a:defRPr>
      </a:lvl7pPr>
      <a:lvl8pPr marL="3264728" algn="l" defTabSz="932779" rtl="0" eaLnBrk="1" latinLnBrk="0" hangingPunct="1">
        <a:defRPr sz="1836" kern="1200">
          <a:solidFill>
            <a:schemeClr val="tx1"/>
          </a:solidFill>
          <a:latin typeface="+mn-lt"/>
          <a:ea typeface="+mn-ea"/>
          <a:cs typeface="+mn-cs"/>
        </a:defRPr>
      </a:lvl8pPr>
      <a:lvl9pPr marL="3731118" algn="l" defTabSz="93277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39.jpg"/><Relationship Id="rId2" Type="http://schemas.openxmlformats.org/officeDocument/2006/relationships/image" Target="../media/image135.png"/><Relationship Id="rId1" Type="http://schemas.openxmlformats.org/officeDocument/2006/relationships/slideLayout" Target="../slideLayouts/slideLayout3.xml"/><Relationship Id="rId6" Type="http://schemas.openxmlformats.org/officeDocument/2006/relationships/image" Target="../media/image138.png"/><Relationship Id="rId5" Type="http://schemas.openxmlformats.org/officeDocument/2006/relationships/image" Target="../media/image137.jpg"/><Relationship Id="rId4" Type="http://schemas.openxmlformats.org/officeDocument/2006/relationships/image" Target="../media/image136.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12.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chart" Target="../charts/chart1.xml"/><Relationship Id="rId2" Type="http://schemas.openxmlformats.org/officeDocument/2006/relationships/tags" Target="../tags/tag2.xml"/><Relationship Id="rId16"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4.png"/><Relationship Id="rId21" Type="http://schemas.openxmlformats.org/officeDocument/2006/relationships/image" Target="../media/image32.GIF"/><Relationship Id="rId7" Type="http://schemas.openxmlformats.org/officeDocument/2006/relationships/image" Target="../media/image18.GIF"/><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2" Type="http://schemas.openxmlformats.org/officeDocument/2006/relationships/image" Target="../media/image13.png"/><Relationship Id="rId16" Type="http://schemas.openxmlformats.org/officeDocument/2006/relationships/image" Target="../media/image27.GIF"/><Relationship Id="rId20" Type="http://schemas.openxmlformats.org/officeDocument/2006/relationships/image" Target="../media/image31.png"/><Relationship Id="rId1" Type="http://schemas.openxmlformats.org/officeDocument/2006/relationships/slideLayout" Target="../slideLayouts/slideLayout3.xml"/><Relationship Id="rId6" Type="http://schemas.openxmlformats.org/officeDocument/2006/relationships/image" Target="../media/image17.png"/><Relationship Id="rId11" Type="http://schemas.openxmlformats.org/officeDocument/2006/relationships/image" Target="../media/image22.jpeg"/><Relationship Id="rId24" Type="http://schemas.openxmlformats.org/officeDocument/2006/relationships/image" Target="../media/image35.jpeg"/><Relationship Id="rId5" Type="http://schemas.openxmlformats.org/officeDocument/2006/relationships/image" Target="../media/image16.jpeg"/><Relationship Id="rId15" Type="http://schemas.openxmlformats.org/officeDocument/2006/relationships/image" Target="../media/image26.GIF"/><Relationship Id="rId23" Type="http://schemas.openxmlformats.org/officeDocument/2006/relationships/image" Target="../media/image34.png"/><Relationship Id="rId10" Type="http://schemas.openxmlformats.org/officeDocument/2006/relationships/image" Target="../media/image21.png"/><Relationship Id="rId19" Type="http://schemas.openxmlformats.org/officeDocument/2006/relationships/image" Target="../media/image30.png"/><Relationship Id="rId4" Type="http://schemas.openxmlformats.org/officeDocument/2006/relationships/image" Target="../media/image15.png"/><Relationship Id="rId9" Type="http://schemas.openxmlformats.org/officeDocument/2006/relationships/image" Target="../media/image20.jpeg"/><Relationship Id="rId14" Type="http://schemas.openxmlformats.org/officeDocument/2006/relationships/image" Target="../media/image25.png"/><Relationship Id="rId22" Type="http://schemas.openxmlformats.org/officeDocument/2006/relationships/image" Target="../media/image33.jpeg"/></Relationships>
</file>

<file path=ppt/slides/_rels/slide4.xml.rels><?xml version="1.0" encoding="UTF-8" standalone="yes"?>
<Relationships xmlns="http://schemas.openxmlformats.org/package/2006/relationships"><Relationship Id="rId26" Type="http://schemas.openxmlformats.org/officeDocument/2006/relationships/image" Target="../media/image60.jpeg"/><Relationship Id="rId21" Type="http://schemas.openxmlformats.org/officeDocument/2006/relationships/image" Target="../media/image55.png"/><Relationship Id="rId42" Type="http://schemas.openxmlformats.org/officeDocument/2006/relationships/image" Target="../media/image76.png"/><Relationship Id="rId47" Type="http://schemas.openxmlformats.org/officeDocument/2006/relationships/image" Target="../media/image81.png"/><Relationship Id="rId63" Type="http://schemas.openxmlformats.org/officeDocument/2006/relationships/image" Target="../media/image97.png"/><Relationship Id="rId68" Type="http://schemas.openxmlformats.org/officeDocument/2006/relationships/image" Target="../media/image102.jpeg"/><Relationship Id="rId84" Type="http://schemas.openxmlformats.org/officeDocument/2006/relationships/image" Target="../media/image118.png"/><Relationship Id="rId89" Type="http://schemas.openxmlformats.org/officeDocument/2006/relationships/image" Target="../media/image123.png"/><Relationship Id="rId16" Type="http://schemas.openxmlformats.org/officeDocument/2006/relationships/image" Target="../media/image50.png"/><Relationship Id="rId11" Type="http://schemas.openxmlformats.org/officeDocument/2006/relationships/image" Target="../media/image45.png"/><Relationship Id="rId32" Type="http://schemas.openxmlformats.org/officeDocument/2006/relationships/image" Target="../media/image66.png"/><Relationship Id="rId37" Type="http://schemas.openxmlformats.org/officeDocument/2006/relationships/image" Target="../media/image71.png"/><Relationship Id="rId53" Type="http://schemas.openxmlformats.org/officeDocument/2006/relationships/image" Target="../media/image87.png"/><Relationship Id="rId58" Type="http://schemas.openxmlformats.org/officeDocument/2006/relationships/image" Target="../media/image92.png"/><Relationship Id="rId74" Type="http://schemas.openxmlformats.org/officeDocument/2006/relationships/image" Target="../media/image108.png"/><Relationship Id="rId79" Type="http://schemas.openxmlformats.org/officeDocument/2006/relationships/image" Target="../media/image113.png"/><Relationship Id="rId5" Type="http://schemas.openxmlformats.org/officeDocument/2006/relationships/image" Target="../media/image39.png"/><Relationship Id="rId90" Type="http://schemas.openxmlformats.org/officeDocument/2006/relationships/image" Target="../media/image124.png"/><Relationship Id="rId95" Type="http://schemas.openxmlformats.org/officeDocument/2006/relationships/image" Target="../media/image129.png"/><Relationship Id="rId22" Type="http://schemas.openxmlformats.org/officeDocument/2006/relationships/image" Target="../media/image56.png"/><Relationship Id="rId27" Type="http://schemas.openxmlformats.org/officeDocument/2006/relationships/image" Target="../media/image61.png"/><Relationship Id="rId43" Type="http://schemas.openxmlformats.org/officeDocument/2006/relationships/image" Target="../media/image77.png"/><Relationship Id="rId48" Type="http://schemas.openxmlformats.org/officeDocument/2006/relationships/image" Target="../media/image82.png"/><Relationship Id="rId64" Type="http://schemas.openxmlformats.org/officeDocument/2006/relationships/image" Target="../media/image98.png"/><Relationship Id="rId69" Type="http://schemas.openxmlformats.org/officeDocument/2006/relationships/image" Target="../media/image103.png"/><Relationship Id="rId80" Type="http://schemas.openxmlformats.org/officeDocument/2006/relationships/image" Target="../media/image114.png"/><Relationship Id="rId85" Type="http://schemas.openxmlformats.org/officeDocument/2006/relationships/image" Target="../media/image119.png"/><Relationship Id="rId3" Type="http://schemas.openxmlformats.org/officeDocument/2006/relationships/image" Target="../media/image37.png"/><Relationship Id="rId12" Type="http://schemas.openxmlformats.org/officeDocument/2006/relationships/image" Target="../media/image46.png"/><Relationship Id="rId17" Type="http://schemas.openxmlformats.org/officeDocument/2006/relationships/image" Target="../media/image51.png"/><Relationship Id="rId25" Type="http://schemas.openxmlformats.org/officeDocument/2006/relationships/image" Target="../media/image59.png"/><Relationship Id="rId33" Type="http://schemas.openxmlformats.org/officeDocument/2006/relationships/image" Target="../media/image67.png"/><Relationship Id="rId38" Type="http://schemas.openxmlformats.org/officeDocument/2006/relationships/image" Target="../media/image72.GIF"/><Relationship Id="rId46" Type="http://schemas.openxmlformats.org/officeDocument/2006/relationships/image" Target="../media/image80.png"/><Relationship Id="rId59" Type="http://schemas.openxmlformats.org/officeDocument/2006/relationships/image" Target="../media/image93.png"/><Relationship Id="rId67" Type="http://schemas.openxmlformats.org/officeDocument/2006/relationships/image" Target="../media/image101.png"/><Relationship Id="rId20" Type="http://schemas.openxmlformats.org/officeDocument/2006/relationships/image" Target="../media/image54.png"/><Relationship Id="rId41" Type="http://schemas.openxmlformats.org/officeDocument/2006/relationships/image" Target="../media/image75.png"/><Relationship Id="rId54" Type="http://schemas.openxmlformats.org/officeDocument/2006/relationships/image" Target="../media/image88.png"/><Relationship Id="rId62" Type="http://schemas.openxmlformats.org/officeDocument/2006/relationships/image" Target="../media/image96.png"/><Relationship Id="rId70" Type="http://schemas.openxmlformats.org/officeDocument/2006/relationships/image" Target="../media/image104.png"/><Relationship Id="rId75" Type="http://schemas.openxmlformats.org/officeDocument/2006/relationships/image" Target="../media/image109.jpeg"/><Relationship Id="rId83" Type="http://schemas.openxmlformats.org/officeDocument/2006/relationships/image" Target="../media/image117.png"/><Relationship Id="rId88" Type="http://schemas.openxmlformats.org/officeDocument/2006/relationships/image" Target="../media/image122.png"/><Relationship Id="rId91" Type="http://schemas.openxmlformats.org/officeDocument/2006/relationships/image" Target="../media/image125.png"/><Relationship Id="rId96" Type="http://schemas.openxmlformats.org/officeDocument/2006/relationships/image" Target="../media/image130.png"/><Relationship Id="rId1" Type="http://schemas.openxmlformats.org/officeDocument/2006/relationships/slideLayout" Target="../slideLayouts/slideLayout3.xml"/><Relationship Id="rId6" Type="http://schemas.openxmlformats.org/officeDocument/2006/relationships/image" Target="../media/image40.png"/><Relationship Id="rId15" Type="http://schemas.openxmlformats.org/officeDocument/2006/relationships/image" Target="../media/image49.png"/><Relationship Id="rId23" Type="http://schemas.openxmlformats.org/officeDocument/2006/relationships/image" Target="../media/image57.png"/><Relationship Id="rId28" Type="http://schemas.openxmlformats.org/officeDocument/2006/relationships/image" Target="../media/image62.png"/><Relationship Id="rId36" Type="http://schemas.openxmlformats.org/officeDocument/2006/relationships/image" Target="../media/image70.png"/><Relationship Id="rId49" Type="http://schemas.openxmlformats.org/officeDocument/2006/relationships/image" Target="../media/image83.jpeg"/><Relationship Id="rId57" Type="http://schemas.openxmlformats.org/officeDocument/2006/relationships/image" Target="../media/image91.png"/><Relationship Id="rId10" Type="http://schemas.openxmlformats.org/officeDocument/2006/relationships/image" Target="../media/image44.png"/><Relationship Id="rId31" Type="http://schemas.openxmlformats.org/officeDocument/2006/relationships/image" Target="../media/image65.png"/><Relationship Id="rId44" Type="http://schemas.openxmlformats.org/officeDocument/2006/relationships/image" Target="../media/image78.png"/><Relationship Id="rId52" Type="http://schemas.openxmlformats.org/officeDocument/2006/relationships/image" Target="../media/image86.png"/><Relationship Id="rId60" Type="http://schemas.openxmlformats.org/officeDocument/2006/relationships/image" Target="../media/image94.jpeg"/><Relationship Id="rId65" Type="http://schemas.openxmlformats.org/officeDocument/2006/relationships/image" Target="../media/image99.png"/><Relationship Id="rId73" Type="http://schemas.openxmlformats.org/officeDocument/2006/relationships/image" Target="../media/image107.png"/><Relationship Id="rId78" Type="http://schemas.openxmlformats.org/officeDocument/2006/relationships/image" Target="../media/image112.png"/><Relationship Id="rId81" Type="http://schemas.openxmlformats.org/officeDocument/2006/relationships/image" Target="../media/image115.png"/><Relationship Id="rId86" Type="http://schemas.openxmlformats.org/officeDocument/2006/relationships/image" Target="../media/image120.png"/><Relationship Id="rId94" Type="http://schemas.openxmlformats.org/officeDocument/2006/relationships/image" Target="../media/image128.png"/><Relationship Id="rId4" Type="http://schemas.openxmlformats.org/officeDocument/2006/relationships/image" Target="../media/image38.jpeg"/><Relationship Id="rId9" Type="http://schemas.openxmlformats.org/officeDocument/2006/relationships/image" Target="../media/image43.png"/><Relationship Id="rId13" Type="http://schemas.openxmlformats.org/officeDocument/2006/relationships/image" Target="../media/image47.png"/><Relationship Id="rId18" Type="http://schemas.openxmlformats.org/officeDocument/2006/relationships/image" Target="../media/image52.png"/><Relationship Id="rId39" Type="http://schemas.openxmlformats.org/officeDocument/2006/relationships/image" Target="../media/image73.png"/><Relationship Id="rId34" Type="http://schemas.openxmlformats.org/officeDocument/2006/relationships/image" Target="../media/image68.png"/><Relationship Id="rId50" Type="http://schemas.openxmlformats.org/officeDocument/2006/relationships/image" Target="../media/image84.png"/><Relationship Id="rId55" Type="http://schemas.openxmlformats.org/officeDocument/2006/relationships/image" Target="../media/image89.png"/><Relationship Id="rId76" Type="http://schemas.openxmlformats.org/officeDocument/2006/relationships/image" Target="../media/image110.png"/><Relationship Id="rId97" Type="http://schemas.openxmlformats.org/officeDocument/2006/relationships/image" Target="../media/image131.png"/><Relationship Id="rId7" Type="http://schemas.openxmlformats.org/officeDocument/2006/relationships/image" Target="../media/image41.png"/><Relationship Id="rId71" Type="http://schemas.openxmlformats.org/officeDocument/2006/relationships/image" Target="../media/image105.jpeg"/><Relationship Id="rId92" Type="http://schemas.openxmlformats.org/officeDocument/2006/relationships/image" Target="../media/image126.png"/><Relationship Id="rId2" Type="http://schemas.openxmlformats.org/officeDocument/2006/relationships/notesSlide" Target="../notesSlides/notesSlide2.xml"/><Relationship Id="rId29" Type="http://schemas.openxmlformats.org/officeDocument/2006/relationships/image" Target="../media/image63.png"/><Relationship Id="rId24" Type="http://schemas.openxmlformats.org/officeDocument/2006/relationships/image" Target="../media/image58.png"/><Relationship Id="rId40" Type="http://schemas.openxmlformats.org/officeDocument/2006/relationships/image" Target="../media/image74.png"/><Relationship Id="rId45" Type="http://schemas.openxmlformats.org/officeDocument/2006/relationships/image" Target="../media/image79.png"/><Relationship Id="rId66" Type="http://schemas.openxmlformats.org/officeDocument/2006/relationships/image" Target="../media/image100.jpeg"/><Relationship Id="rId87" Type="http://schemas.openxmlformats.org/officeDocument/2006/relationships/image" Target="../media/image121.png"/><Relationship Id="rId61" Type="http://schemas.openxmlformats.org/officeDocument/2006/relationships/image" Target="../media/image95.png"/><Relationship Id="rId82" Type="http://schemas.openxmlformats.org/officeDocument/2006/relationships/image" Target="../media/image116.png"/><Relationship Id="rId19" Type="http://schemas.openxmlformats.org/officeDocument/2006/relationships/image" Target="../media/image53.png"/><Relationship Id="rId14" Type="http://schemas.openxmlformats.org/officeDocument/2006/relationships/image" Target="../media/image48.png"/><Relationship Id="rId30" Type="http://schemas.openxmlformats.org/officeDocument/2006/relationships/image" Target="../media/image64.png"/><Relationship Id="rId35" Type="http://schemas.openxmlformats.org/officeDocument/2006/relationships/image" Target="../media/image69.png"/><Relationship Id="rId56" Type="http://schemas.openxmlformats.org/officeDocument/2006/relationships/image" Target="../media/image90.png"/><Relationship Id="rId77" Type="http://schemas.openxmlformats.org/officeDocument/2006/relationships/image" Target="../media/image111.GIF"/><Relationship Id="rId8" Type="http://schemas.openxmlformats.org/officeDocument/2006/relationships/image" Target="../media/image42.png"/><Relationship Id="rId51" Type="http://schemas.openxmlformats.org/officeDocument/2006/relationships/image" Target="../media/image85.png"/><Relationship Id="rId72" Type="http://schemas.openxmlformats.org/officeDocument/2006/relationships/image" Target="../media/image106.png"/><Relationship Id="rId93" Type="http://schemas.openxmlformats.org/officeDocument/2006/relationships/image" Target="../media/image127.jpeg"/><Relationship Id="rId98" Type="http://schemas.openxmlformats.org/officeDocument/2006/relationships/image" Target="../media/image13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slideLayout" Target="../slideLayouts/slideLayout3.xml"/><Relationship Id="rId1" Type="http://schemas.openxmlformats.org/officeDocument/2006/relationships/tags" Target="../tags/tag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3C6"/>
        </a:solidFill>
        <a:effectLst/>
      </p:bgPr>
    </p:bg>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xmlns="" id="{5CFE7ED1-3483-4D26-ABFE-30741CAA4B23}"/>
              </a:ext>
            </a:extLst>
          </p:cNvPr>
          <p:cNvSpPr>
            <a:spLocks noGrp="1"/>
          </p:cNvSpPr>
          <p:nvPr>
            <p:ph type="ctrTitle"/>
          </p:nvPr>
        </p:nvSpPr>
        <p:spPr>
          <a:xfrm>
            <a:off x="279031" y="983456"/>
            <a:ext cx="11880000" cy="2435684"/>
          </a:xfrm>
        </p:spPr>
        <p:txBody>
          <a:bodyPr/>
          <a:lstStyle/>
          <a:p>
            <a:r>
              <a:rPr lang="zh-CN" altLang="en-US" dirty="0"/>
              <a:t>中</a:t>
            </a:r>
            <a:r>
              <a:rPr lang="zh-CN" altLang="en-US" dirty="0" smtClean="0"/>
              <a:t>软国际智慧园区</a:t>
            </a:r>
            <a:r>
              <a:rPr lang="en-US" altLang="zh-CN" dirty="0" smtClean="0"/>
              <a:t/>
            </a:r>
            <a:br>
              <a:rPr lang="en-US" altLang="zh-CN" dirty="0" smtClean="0"/>
            </a:br>
            <a:r>
              <a:rPr lang="zh-CN" altLang="en-US" dirty="0" smtClean="0"/>
              <a:t>咨询服务使用指南</a:t>
            </a:r>
            <a:endParaRPr lang="zh-CN" altLang="en-US" dirty="0"/>
          </a:p>
        </p:txBody>
      </p:sp>
      <p:sp>
        <p:nvSpPr>
          <p:cNvPr id="5" name="副标题 4">
            <a:extLst>
              <a:ext uri="{FF2B5EF4-FFF2-40B4-BE49-F238E27FC236}">
                <a16:creationId xmlns:a16="http://schemas.microsoft.com/office/drawing/2014/main" xmlns="" id="{2BCDAD71-70C2-4031-A89D-4FF420ED2CEF}"/>
              </a:ext>
            </a:extLst>
          </p:cNvPr>
          <p:cNvSpPr>
            <a:spLocks noGrp="1"/>
          </p:cNvSpPr>
          <p:nvPr>
            <p:ph type="subTitle" idx="1"/>
          </p:nvPr>
        </p:nvSpPr>
        <p:spPr>
          <a:xfrm>
            <a:off x="511231" y="3674579"/>
            <a:ext cx="11880000" cy="1689107"/>
          </a:xfrm>
        </p:spPr>
        <p:txBody>
          <a:bodyPr/>
          <a:lstStyle/>
          <a:p>
            <a:r>
              <a:rPr lang="en-US" altLang="zh-CN" dirty="0" smtClean="0"/>
              <a:t>2021</a:t>
            </a:r>
            <a:r>
              <a:rPr lang="zh-CN" altLang="en-US" dirty="0" smtClean="0"/>
              <a:t>年</a:t>
            </a:r>
            <a:r>
              <a:rPr lang="en-US" altLang="zh-CN" dirty="0" smtClean="0"/>
              <a:t>10</a:t>
            </a:r>
            <a:r>
              <a:rPr lang="zh-CN" altLang="en-US" dirty="0" smtClean="0"/>
              <a:t>月</a:t>
            </a:r>
            <a:endParaRPr lang="zh-CN" altLang="en-US" dirty="0"/>
          </a:p>
        </p:txBody>
      </p:sp>
    </p:spTree>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智慧园区咨询服务</a:t>
            </a:r>
            <a:endParaRPr lang="zh-CN" altLang="en-US" dirty="0"/>
          </a:p>
        </p:txBody>
      </p:sp>
      <p:sp>
        <p:nvSpPr>
          <p:cNvPr id="34" name="文本框 33">
            <a:extLst>
              <a:ext uri="{FF2B5EF4-FFF2-40B4-BE49-F238E27FC236}">
                <a16:creationId xmlns:a16="http://schemas.microsoft.com/office/drawing/2014/main" xmlns="" id="{36049486-87A2-4974-8ADD-2A6EC4E44FFE}"/>
              </a:ext>
            </a:extLst>
          </p:cNvPr>
          <p:cNvSpPr txBox="1"/>
          <p:nvPr/>
        </p:nvSpPr>
        <p:spPr>
          <a:xfrm>
            <a:off x="459031" y="1104640"/>
            <a:ext cx="11520000" cy="2169825"/>
          </a:xfrm>
          <a:prstGeom prst="rect">
            <a:avLst/>
          </a:prstGeom>
          <a:noFill/>
        </p:spPr>
        <p:txBody>
          <a:bodyPr wrap="square">
            <a:spAutoFit/>
          </a:bodyPr>
          <a:lstStyle/>
          <a:p>
            <a:pPr defTabSz="466390">
              <a:lnSpc>
                <a:spcPct val="150000"/>
              </a:lnSpc>
              <a:defRPr/>
            </a:pPr>
            <a:r>
              <a:rPr lang="en-US" altLang="zh-CN" sz="1800" dirty="0">
                <a:solidFill>
                  <a:schemeClr val="bg2">
                    <a:lumMod val="25000"/>
                  </a:schemeClr>
                </a:solidFill>
                <a:latin typeface="+mn-ea"/>
              </a:rPr>
              <a:t> </a:t>
            </a:r>
            <a:r>
              <a:rPr lang="en-US" altLang="zh-CN" sz="1800" dirty="0" smtClean="0">
                <a:solidFill>
                  <a:schemeClr val="bg2">
                    <a:lumMod val="25000"/>
                  </a:schemeClr>
                </a:solidFill>
                <a:latin typeface="+mn-ea"/>
              </a:rPr>
              <a:t>   </a:t>
            </a:r>
            <a:r>
              <a:rPr lang="zh-CN" altLang="zh-CN" sz="1800" b="1" dirty="0" smtClean="0">
                <a:solidFill>
                  <a:schemeClr val="bg2">
                    <a:lumMod val="25000"/>
                  </a:schemeClr>
                </a:solidFill>
                <a:latin typeface="+mn-ea"/>
              </a:rPr>
              <a:t>智慧</a:t>
            </a:r>
            <a:r>
              <a:rPr lang="zh-CN" altLang="zh-CN" sz="1800" b="1" dirty="0">
                <a:solidFill>
                  <a:schemeClr val="bg2">
                    <a:lumMod val="25000"/>
                  </a:schemeClr>
                </a:solidFill>
                <a:latin typeface="+mn-ea"/>
              </a:rPr>
              <a:t>园区咨询服务</a:t>
            </a:r>
            <a:r>
              <a:rPr lang="zh-CN" altLang="zh-CN" sz="1800" dirty="0">
                <a:solidFill>
                  <a:schemeClr val="bg2">
                    <a:lumMod val="25000"/>
                  </a:schemeClr>
                </a:solidFill>
                <a:latin typeface="+mn-ea"/>
              </a:rPr>
              <a:t>是在各类产业园区、集聚区、功能区等区域内，按照科学、超前、可落地的规划设计理念，综合</a:t>
            </a:r>
            <a:r>
              <a:rPr lang="zh-CN" altLang="zh-CN" sz="1800" dirty="0" smtClean="0">
                <a:solidFill>
                  <a:schemeClr val="bg2">
                    <a:lumMod val="25000"/>
                  </a:schemeClr>
                </a:solidFill>
                <a:latin typeface="+mn-ea"/>
              </a:rPr>
              <a:t>运用</a:t>
            </a:r>
            <a:r>
              <a:rPr lang="en-US" altLang="zh-CN" sz="1800" dirty="0" smtClean="0">
                <a:solidFill>
                  <a:schemeClr val="bg2">
                    <a:lumMod val="25000"/>
                  </a:schemeClr>
                </a:solidFill>
                <a:latin typeface="+mn-ea"/>
              </a:rPr>
              <a:t>5G</a:t>
            </a:r>
            <a:r>
              <a:rPr lang="zh-CN" altLang="en-US" sz="1800" dirty="0" smtClean="0">
                <a:solidFill>
                  <a:schemeClr val="bg2">
                    <a:lumMod val="25000"/>
                  </a:schemeClr>
                </a:solidFill>
                <a:latin typeface="+mn-ea"/>
              </a:rPr>
              <a:t>、</a:t>
            </a:r>
            <a:r>
              <a:rPr lang="zh-CN" altLang="zh-CN" sz="1800" dirty="0" smtClean="0">
                <a:solidFill>
                  <a:schemeClr val="bg2">
                    <a:lumMod val="25000"/>
                  </a:schemeClr>
                </a:solidFill>
                <a:latin typeface="+mn-ea"/>
              </a:rPr>
              <a:t>物</a:t>
            </a:r>
            <a:r>
              <a:rPr lang="zh-CN" altLang="zh-CN" sz="1800" dirty="0">
                <a:solidFill>
                  <a:schemeClr val="bg2">
                    <a:lumMod val="25000"/>
                  </a:schemeClr>
                </a:solidFill>
                <a:latin typeface="+mn-ea"/>
              </a:rPr>
              <a:t>联网、云计算、大数据、</a:t>
            </a:r>
            <a:r>
              <a:rPr lang="zh-CN" altLang="zh-CN" sz="1800" dirty="0" smtClean="0">
                <a:solidFill>
                  <a:schemeClr val="bg2">
                    <a:lumMod val="25000"/>
                  </a:schemeClr>
                </a:solidFill>
                <a:latin typeface="+mn-ea"/>
              </a:rPr>
              <a:t>人工智能等</a:t>
            </a:r>
            <a:r>
              <a:rPr lang="zh-CN" altLang="zh-CN" sz="1800" dirty="0">
                <a:solidFill>
                  <a:schemeClr val="bg2">
                    <a:lumMod val="25000"/>
                  </a:schemeClr>
                </a:solidFill>
                <a:latin typeface="+mn-ea"/>
              </a:rPr>
              <a:t>新一代信息技术手段，完成智慧园区规划设计工作，为智慧园区建设实施</a:t>
            </a:r>
            <a:r>
              <a:rPr lang="zh-CN" altLang="zh-CN" sz="1800" dirty="0" smtClean="0">
                <a:solidFill>
                  <a:schemeClr val="bg2">
                    <a:lumMod val="25000"/>
                  </a:schemeClr>
                </a:solidFill>
                <a:latin typeface="+mn-ea"/>
              </a:rPr>
              <a:t>提供指导</a:t>
            </a:r>
            <a:r>
              <a:rPr lang="zh-CN" altLang="zh-CN" sz="1800" dirty="0">
                <a:solidFill>
                  <a:schemeClr val="bg2">
                    <a:lumMod val="25000"/>
                  </a:schemeClr>
                </a:solidFill>
                <a:latin typeface="+mn-ea"/>
              </a:rPr>
              <a:t>与支持，促进新一代信息技术创新应用</a:t>
            </a:r>
            <a:r>
              <a:rPr lang="zh-CN" altLang="zh-CN" sz="1800" dirty="0" smtClean="0">
                <a:solidFill>
                  <a:schemeClr val="bg2">
                    <a:lumMod val="25000"/>
                  </a:schemeClr>
                </a:solidFill>
                <a:latin typeface="+mn-ea"/>
              </a:rPr>
              <a:t>与</a:t>
            </a:r>
            <a:r>
              <a:rPr lang="zh-CN" altLang="en-US" sz="1800" dirty="0" smtClean="0">
                <a:solidFill>
                  <a:schemeClr val="bg2">
                    <a:lumMod val="25000"/>
                  </a:schemeClr>
                </a:solidFill>
                <a:latin typeface="+mn-ea"/>
              </a:rPr>
              <a:t>各类</a:t>
            </a:r>
            <a:r>
              <a:rPr lang="zh-CN" altLang="zh-CN" sz="1800" dirty="0" smtClean="0">
                <a:solidFill>
                  <a:schemeClr val="bg2">
                    <a:lumMod val="25000"/>
                  </a:schemeClr>
                </a:solidFill>
                <a:latin typeface="+mn-ea"/>
              </a:rPr>
              <a:t>园区</a:t>
            </a:r>
            <a:r>
              <a:rPr lang="zh-CN" altLang="zh-CN" sz="1800" dirty="0">
                <a:solidFill>
                  <a:schemeClr val="bg2">
                    <a:lumMod val="25000"/>
                  </a:schemeClr>
                </a:solidFill>
                <a:latin typeface="+mn-ea"/>
              </a:rPr>
              <a:t>转型发展的深度融合。</a:t>
            </a:r>
            <a:endParaRPr lang="en-US" altLang="zh-CN" sz="1632" dirty="0" smtClean="0">
              <a:solidFill>
                <a:schemeClr val="bg2">
                  <a:lumMod val="25000"/>
                </a:schemeClr>
              </a:solidFill>
              <a:latin typeface="+mn-ea"/>
            </a:endParaRPr>
          </a:p>
          <a:p>
            <a:pPr defTabSz="466390">
              <a:lnSpc>
                <a:spcPct val="150000"/>
              </a:lnSpc>
              <a:defRPr/>
            </a:pPr>
            <a:r>
              <a:rPr lang="zh-CN" altLang="en-US" sz="1800" dirty="0" smtClean="0">
                <a:solidFill>
                  <a:schemeClr val="bg2">
                    <a:lumMod val="25000"/>
                  </a:schemeClr>
                </a:solidFill>
                <a:latin typeface="+mn-ea"/>
              </a:rPr>
              <a:t>    中软国际聚焦</a:t>
            </a:r>
            <a:r>
              <a:rPr lang="zh-CN" altLang="en-US" sz="1800" b="1" dirty="0" smtClean="0">
                <a:solidFill>
                  <a:schemeClr val="bg2">
                    <a:lumMod val="25000"/>
                  </a:schemeClr>
                </a:solidFill>
                <a:latin typeface="+mn-ea"/>
              </a:rPr>
              <a:t>产业</a:t>
            </a:r>
            <a:r>
              <a:rPr lang="zh-CN" altLang="en-US" sz="1800" b="1" dirty="0">
                <a:solidFill>
                  <a:schemeClr val="bg2">
                    <a:lumMod val="25000"/>
                  </a:schemeClr>
                </a:solidFill>
                <a:latin typeface="+mn-ea"/>
              </a:rPr>
              <a:t>园区</a:t>
            </a:r>
            <a:r>
              <a:rPr lang="zh-CN" altLang="en-US" sz="1800" b="1" dirty="0" smtClean="0">
                <a:solidFill>
                  <a:schemeClr val="bg2">
                    <a:lumMod val="25000"/>
                  </a:schemeClr>
                </a:solidFill>
                <a:latin typeface="+mn-ea"/>
              </a:rPr>
              <a:t>、制造园区、医院院区、社区</a:t>
            </a:r>
            <a:r>
              <a:rPr lang="en-US" altLang="zh-CN" sz="1800" b="1" dirty="0">
                <a:solidFill>
                  <a:schemeClr val="bg2">
                    <a:lumMod val="25000"/>
                  </a:schemeClr>
                </a:solidFill>
                <a:latin typeface="+mn-ea"/>
              </a:rPr>
              <a:t>/</a:t>
            </a:r>
            <a:r>
              <a:rPr lang="zh-CN" altLang="en-US" sz="1800" b="1" dirty="0">
                <a:solidFill>
                  <a:schemeClr val="bg2">
                    <a:lumMod val="25000"/>
                  </a:schemeClr>
                </a:solidFill>
                <a:latin typeface="+mn-ea"/>
              </a:rPr>
              <a:t>综合体</a:t>
            </a:r>
            <a:r>
              <a:rPr lang="zh-CN" altLang="en-US" sz="1800" b="1" dirty="0" smtClean="0">
                <a:solidFill>
                  <a:schemeClr val="bg2">
                    <a:lumMod val="25000"/>
                  </a:schemeClr>
                </a:solidFill>
                <a:latin typeface="+mn-ea"/>
              </a:rPr>
              <a:t>、校园、场馆</a:t>
            </a:r>
            <a:r>
              <a:rPr lang="zh-CN" altLang="en-US" sz="1800" dirty="0" smtClean="0">
                <a:solidFill>
                  <a:schemeClr val="bg2">
                    <a:lumMod val="25000"/>
                  </a:schemeClr>
                </a:solidFill>
                <a:latin typeface="+mn-ea"/>
              </a:rPr>
              <a:t>等细分领域各类园区，打造智慧园区咨询服务解决</a:t>
            </a:r>
            <a:r>
              <a:rPr lang="zh-CN" altLang="en-US" sz="1800" dirty="0">
                <a:solidFill>
                  <a:schemeClr val="bg2">
                    <a:lumMod val="25000"/>
                  </a:schemeClr>
                </a:solidFill>
                <a:latin typeface="+mn-ea"/>
              </a:rPr>
              <a:t>方案，</a:t>
            </a:r>
            <a:r>
              <a:rPr lang="en-US" altLang="zh-CN" sz="1800" dirty="0">
                <a:solidFill>
                  <a:schemeClr val="bg2">
                    <a:lumMod val="25000"/>
                  </a:schemeClr>
                </a:solidFill>
                <a:latin typeface="+mn-ea"/>
              </a:rPr>
              <a:t> </a:t>
            </a:r>
            <a:r>
              <a:rPr lang="zh-CN" altLang="en-US" sz="1800" dirty="0" smtClean="0">
                <a:solidFill>
                  <a:schemeClr val="bg2">
                    <a:lumMod val="25000"/>
                  </a:schemeClr>
                </a:solidFill>
                <a:latin typeface="+mn-ea"/>
              </a:rPr>
              <a:t>助力园区</a:t>
            </a:r>
            <a:r>
              <a:rPr lang="zh-CN" altLang="en-US" sz="1800" dirty="0">
                <a:solidFill>
                  <a:schemeClr val="bg2">
                    <a:lumMod val="25000"/>
                  </a:schemeClr>
                </a:solidFill>
                <a:latin typeface="+mn-ea"/>
                <a:sym typeface="+mn-ea"/>
              </a:rPr>
              <a:t>安全、舒适、高效、绿色、智能、可持续发展。</a:t>
            </a:r>
            <a:endParaRPr lang="zh-CN" altLang="en-US" sz="1800" dirty="0">
              <a:solidFill>
                <a:schemeClr val="bg2">
                  <a:lumMod val="25000"/>
                </a:schemeClr>
              </a:solidFill>
              <a:latin typeface="+mn-ea"/>
            </a:endParaRPr>
          </a:p>
        </p:txBody>
      </p:sp>
      <p:sp>
        <p:nvSpPr>
          <p:cNvPr id="35" name="iṣḻîḑè">
            <a:extLst>
              <a:ext uri="{FF2B5EF4-FFF2-40B4-BE49-F238E27FC236}">
                <a16:creationId xmlns:a16="http://schemas.microsoft.com/office/drawing/2014/main" xmlns="" id="{39F47680-E860-417C-A0C6-AD618A2F4F79}"/>
              </a:ext>
            </a:extLst>
          </p:cNvPr>
          <p:cNvSpPr/>
          <p:nvPr/>
        </p:nvSpPr>
        <p:spPr>
          <a:xfrm>
            <a:off x="369031" y="3977456"/>
            <a:ext cx="11700000" cy="2340000"/>
          </a:xfrm>
          <a:custGeom>
            <a:avLst/>
            <a:gdLst/>
            <a:ahLst/>
            <a:cxnLst/>
            <a:rect l="l" t="t" r="r" b="b"/>
            <a:pathLst>
              <a:path w="11382375" h="2234974">
                <a:moveTo>
                  <a:pt x="0" y="0"/>
                </a:moveTo>
                <a:lnTo>
                  <a:pt x="740793" y="0"/>
                </a:lnTo>
                <a:lnTo>
                  <a:pt x="740793" y="778972"/>
                </a:lnTo>
                <a:lnTo>
                  <a:pt x="1384520" y="1098518"/>
                </a:lnTo>
                <a:lnTo>
                  <a:pt x="2029619" y="778972"/>
                </a:lnTo>
                <a:lnTo>
                  <a:pt x="2029619" y="0"/>
                </a:lnTo>
                <a:lnTo>
                  <a:pt x="3611446" y="0"/>
                </a:lnTo>
                <a:lnTo>
                  <a:pt x="3611446" y="778972"/>
                </a:lnTo>
                <a:lnTo>
                  <a:pt x="4255173" y="1098518"/>
                </a:lnTo>
                <a:lnTo>
                  <a:pt x="4900272" y="778972"/>
                </a:lnTo>
                <a:lnTo>
                  <a:pt x="4900272" y="0"/>
                </a:lnTo>
                <a:lnTo>
                  <a:pt x="6482101" y="0"/>
                </a:lnTo>
                <a:lnTo>
                  <a:pt x="6482101" y="778972"/>
                </a:lnTo>
                <a:lnTo>
                  <a:pt x="7125828" y="1098518"/>
                </a:lnTo>
                <a:lnTo>
                  <a:pt x="7770927" y="778972"/>
                </a:lnTo>
                <a:lnTo>
                  <a:pt x="7770927" y="0"/>
                </a:lnTo>
                <a:lnTo>
                  <a:pt x="9352754" y="0"/>
                </a:lnTo>
                <a:lnTo>
                  <a:pt x="9352754" y="778972"/>
                </a:lnTo>
                <a:lnTo>
                  <a:pt x="9996481" y="1098518"/>
                </a:lnTo>
                <a:lnTo>
                  <a:pt x="10641580" y="778972"/>
                </a:lnTo>
                <a:lnTo>
                  <a:pt x="10641580" y="0"/>
                </a:lnTo>
                <a:lnTo>
                  <a:pt x="11382375" y="0"/>
                </a:lnTo>
                <a:lnTo>
                  <a:pt x="11382375" y="2234974"/>
                </a:lnTo>
                <a:lnTo>
                  <a:pt x="0" y="2234974"/>
                </a:lnTo>
                <a:close/>
              </a:path>
            </a:pathLst>
          </a:custGeom>
          <a:solidFill>
            <a:srgbClr val="00B0F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20350" rIns="220350" rtlCol="0" anchor="ctr"/>
          <a:lstStyle/>
          <a:p>
            <a:pPr defTabSz="932779">
              <a:defRPr/>
            </a:pPr>
            <a:endParaRPr lang="zh-CN" altLang="en-US" sz="1428">
              <a:solidFill>
                <a:srgbClr val="FFFFFF"/>
              </a:solidFill>
              <a:latin typeface="Huawei Sans" panose="020C0503030203020204" pitchFamily="34" charset="0"/>
              <a:ea typeface="微软雅黑" panose="020B0503020204020204" pitchFamily="34" charset="-122"/>
            </a:endParaRPr>
          </a:p>
        </p:txBody>
      </p:sp>
      <p:grpSp>
        <p:nvGrpSpPr>
          <p:cNvPr id="2" name="组合 1"/>
          <p:cNvGrpSpPr/>
          <p:nvPr/>
        </p:nvGrpSpPr>
        <p:grpSpPr>
          <a:xfrm>
            <a:off x="495918" y="3707643"/>
            <a:ext cx="11446227" cy="2457413"/>
            <a:chOff x="595574" y="3603056"/>
            <a:chExt cx="11446227" cy="2457413"/>
          </a:xfrm>
        </p:grpSpPr>
        <p:sp>
          <p:nvSpPr>
            <p:cNvPr id="36" name="îşľiḋe">
              <a:extLst>
                <a:ext uri="{FF2B5EF4-FFF2-40B4-BE49-F238E27FC236}">
                  <a16:creationId xmlns:a16="http://schemas.microsoft.com/office/drawing/2014/main" xmlns="" id="{ECBE068F-7EF2-4696-802C-8B3646F1D687}"/>
                </a:ext>
              </a:extLst>
            </p:cNvPr>
            <p:cNvSpPr/>
            <p:nvPr/>
          </p:nvSpPr>
          <p:spPr bwMode="auto">
            <a:xfrm>
              <a:off x="1203378" y="3603056"/>
              <a:ext cx="1254789" cy="1444329"/>
            </a:xfrm>
            <a:custGeom>
              <a:avLst/>
              <a:gdLst>
                <a:gd name="T0" fmla="*/ 469 w 939"/>
                <a:gd name="T1" fmla="*/ 0 h 1091"/>
                <a:gd name="T2" fmla="*/ 939 w 939"/>
                <a:gd name="T3" fmla="*/ 235 h 1091"/>
                <a:gd name="T4" fmla="*/ 939 w 939"/>
                <a:gd name="T5" fmla="*/ 856 h 1091"/>
                <a:gd name="T6" fmla="*/ 469 w 939"/>
                <a:gd name="T7" fmla="*/ 1091 h 1091"/>
                <a:gd name="T8" fmla="*/ 0 w 939"/>
                <a:gd name="T9" fmla="*/ 856 h 1091"/>
                <a:gd name="T10" fmla="*/ 0 w 939"/>
                <a:gd name="T11" fmla="*/ 235 h 1091"/>
                <a:gd name="T12" fmla="*/ 469 w 939"/>
                <a:gd name="T13" fmla="*/ 0 h 1091"/>
              </a:gdLst>
              <a:ahLst/>
              <a:cxnLst>
                <a:cxn ang="0">
                  <a:pos x="T0" y="T1"/>
                </a:cxn>
                <a:cxn ang="0">
                  <a:pos x="T2" y="T3"/>
                </a:cxn>
                <a:cxn ang="0">
                  <a:pos x="T4" y="T5"/>
                </a:cxn>
                <a:cxn ang="0">
                  <a:pos x="T6" y="T7"/>
                </a:cxn>
                <a:cxn ang="0">
                  <a:pos x="T8" y="T9"/>
                </a:cxn>
                <a:cxn ang="0">
                  <a:pos x="T10" y="T11"/>
                </a:cxn>
                <a:cxn ang="0">
                  <a:pos x="T12" y="T13"/>
                </a:cxn>
              </a:cxnLst>
              <a:rect l="0" t="0" r="r" b="b"/>
              <a:pathLst>
                <a:path w="939" h="1091">
                  <a:moveTo>
                    <a:pt x="469" y="0"/>
                  </a:moveTo>
                  <a:lnTo>
                    <a:pt x="939" y="235"/>
                  </a:lnTo>
                  <a:lnTo>
                    <a:pt x="939" y="856"/>
                  </a:lnTo>
                  <a:lnTo>
                    <a:pt x="469" y="1091"/>
                  </a:lnTo>
                  <a:lnTo>
                    <a:pt x="0" y="856"/>
                  </a:lnTo>
                  <a:lnTo>
                    <a:pt x="0" y="235"/>
                  </a:lnTo>
                  <a:lnTo>
                    <a:pt x="469" y="0"/>
                  </a:lnTo>
                  <a:close/>
                </a:path>
              </a:pathLst>
            </a:custGeom>
            <a:solidFill>
              <a:srgbClr val="00BCB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fontAlgn="base">
                <a:spcBef>
                  <a:spcPct val="0"/>
                </a:spcBef>
                <a:spcAft>
                  <a:spcPct val="0"/>
                </a:spcAft>
                <a:defRPr/>
              </a:pPr>
              <a:endParaRPr lang="zh-CN" altLang="en-US" sz="1020">
                <a:solidFill>
                  <a:srgbClr val="FFFFFF"/>
                </a:solidFill>
                <a:latin typeface="Calibri Light"/>
                <a:ea typeface="微软雅黑" panose="020B0503020204020204" pitchFamily="34" charset="-122"/>
              </a:endParaRPr>
            </a:p>
          </p:txBody>
        </p:sp>
        <p:sp>
          <p:nvSpPr>
            <p:cNvPr id="37" name="îṧ1ïḋe">
              <a:extLst>
                <a:ext uri="{FF2B5EF4-FFF2-40B4-BE49-F238E27FC236}">
                  <a16:creationId xmlns:a16="http://schemas.microsoft.com/office/drawing/2014/main" xmlns="" id="{A8B59ADC-EB49-49AF-99C6-D8411D129363}"/>
                </a:ext>
              </a:extLst>
            </p:cNvPr>
            <p:cNvSpPr/>
            <p:nvPr/>
          </p:nvSpPr>
          <p:spPr bwMode="auto">
            <a:xfrm>
              <a:off x="4131844" y="3603056"/>
              <a:ext cx="1254789" cy="1444329"/>
            </a:xfrm>
            <a:custGeom>
              <a:avLst/>
              <a:gdLst>
                <a:gd name="T0" fmla="*/ 469 w 939"/>
                <a:gd name="T1" fmla="*/ 0 h 1091"/>
                <a:gd name="T2" fmla="*/ 939 w 939"/>
                <a:gd name="T3" fmla="*/ 235 h 1091"/>
                <a:gd name="T4" fmla="*/ 939 w 939"/>
                <a:gd name="T5" fmla="*/ 856 h 1091"/>
                <a:gd name="T6" fmla="*/ 469 w 939"/>
                <a:gd name="T7" fmla="*/ 1091 h 1091"/>
                <a:gd name="T8" fmla="*/ 0 w 939"/>
                <a:gd name="T9" fmla="*/ 856 h 1091"/>
                <a:gd name="T10" fmla="*/ 0 w 939"/>
                <a:gd name="T11" fmla="*/ 235 h 1091"/>
                <a:gd name="T12" fmla="*/ 469 w 939"/>
                <a:gd name="T13" fmla="*/ 0 h 1091"/>
              </a:gdLst>
              <a:ahLst/>
              <a:cxnLst>
                <a:cxn ang="0">
                  <a:pos x="T0" y="T1"/>
                </a:cxn>
                <a:cxn ang="0">
                  <a:pos x="T2" y="T3"/>
                </a:cxn>
                <a:cxn ang="0">
                  <a:pos x="T4" y="T5"/>
                </a:cxn>
                <a:cxn ang="0">
                  <a:pos x="T6" y="T7"/>
                </a:cxn>
                <a:cxn ang="0">
                  <a:pos x="T8" y="T9"/>
                </a:cxn>
                <a:cxn ang="0">
                  <a:pos x="T10" y="T11"/>
                </a:cxn>
                <a:cxn ang="0">
                  <a:pos x="T12" y="T13"/>
                </a:cxn>
              </a:cxnLst>
              <a:rect l="0" t="0" r="r" b="b"/>
              <a:pathLst>
                <a:path w="939" h="1091">
                  <a:moveTo>
                    <a:pt x="469" y="0"/>
                  </a:moveTo>
                  <a:lnTo>
                    <a:pt x="939" y="235"/>
                  </a:lnTo>
                  <a:lnTo>
                    <a:pt x="939" y="856"/>
                  </a:lnTo>
                  <a:lnTo>
                    <a:pt x="469" y="1091"/>
                  </a:lnTo>
                  <a:lnTo>
                    <a:pt x="0" y="856"/>
                  </a:lnTo>
                  <a:lnTo>
                    <a:pt x="0" y="235"/>
                  </a:lnTo>
                  <a:lnTo>
                    <a:pt x="469" y="0"/>
                  </a:lnTo>
                  <a:close/>
                </a:path>
              </a:pathLst>
            </a:custGeom>
            <a:solidFill>
              <a:srgbClr val="00B0F0"/>
            </a:solidFill>
            <a:ln w="25400" cap="flat" cmpd="sng" algn="ctr">
              <a:noFill/>
              <a:prstDash val="solid"/>
            </a:ln>
            <a:effectLst/>
          </p:spPr>
          <p:txBody>
            <a:bodyPr lIns="0" rIns="0" rtlCol="0" anchor="ctr"/>
            <a:lstStyle/>
            <a:p>
              <a:pPr algn="ctr" defTabSz="466390">
                <a:defRPr/>
              </a:pPr>
              <a:endParaRPr lang="zh-CN" altLang="en-US" sz="918" kern="0">
                <a:solidFill>
                  <a:prstClr val="black"/>
                </a:solidFill>
                <a:latin typeface="微软雅黑" panose="020B0503020204020204" pitchFamily="34" charset="-122"/>
                <a:ea typeface="微软雅黑" panose="020B0503020204020204" pitchFamily="34" charset="-122"/>
              </a:endParaRPr>
            </a:p>
          </p:txBody>
        </p:sp>
        <p:sp>
          <p:nvSpPr>
            <p:cNvPr id="38" name="î$ľïḓè">
              <a:extLst>
                <a:ext uri="{FF2B5EF4-FFF2-40B4-BE49-F238E27FC236}">
                  <a16:creationId xmlns:a16="http://schemas.microsoft.com/office/drawing/2014/main" xmlns="" id="{D710F883-AD4C-4362-89A5-2C19117CEC31}"/>
                </a:ext>
              </a:extLst>
            </p:cNvPr>
            <p:cNvSpPr/>
            <p:nvPr/>
          </p:nvSpPr>
          <p:spPr bwMode="auto">
            <a:xfrm>
              <a:off x="7060310" y="3603056"/>
              <a:ext cx="1254789" cy="1444329"/>
            </a:xfrm>
            <a:custGeom>
              <a:avLst/>
              <a:gdLst>
                <a:gd name="T0" fmla="*/ 469 w 939"/>
                <a:gd name="T1" fmla="*/ 0 h 1091"/>
                <a:gd name="T2" fmla="*/ 939 w 939"/>
                <a:gd name="T3" fmla="*/ 235 h 1091"/>
                <a:gd name="T4" fmla="*/ 939 w 939"/>
                <a:gd name="T5" fmla="*/ 856 h 1091"/>
                <a:gd name="T6" fmla="*/ 469 w 939"/>
                <a:gd name="T7" fmla="*/ 1091 h 1091"/>
                <a:gd name="T8" fmla="*/ 0 w 939"/>
                <a:gd name="T9" fmla="*/ 856 h 1091"/>
                <a:gd name="T10" fmla="*/ 0 w 939"/>
                <a:gd name="T11" fmla="*/ 235 h 1091"/>
                <a:gd name="T12" fmla="*/ 469 w 939"/>
                <a:gd name="T13" fmla="*/ 0 h 1091"/>
              </a:gdLst>
              <a:ahLst/>
              <a:cxnLst>
                <a:cxn ang="0">
                  <a:pos x="T0" y="T1"/>
                </a:cxn>
                <a:cxn ang="0">
                  <a:pos x="T2" y="T3"/>
                </a:cxn>
                <a:cxn ang="0">
                  <a:pos x="T4" y="T5"/>
                </a:cxn>
                <a:cxn ang="0">
                  <a:pos x="T6" y="T7"/>
                </a:cxn>
                <a:cxn ang="0">
                  <a:pos x="T8" y="T9"/>
                </a:cxn>
                <a:cxn ang="0">
                  <a:pos x="T10" y="T11"/>
                </a:cxn>
                <a:cxn ang="0">
                  <a:pos x="T12" y="T13"/>
                </a:cxn>
              </a:cxnLst>
              <a:rect l="0" t="0" r="r" b="b"/>
              <a:pathLst>
                <a:path w="939" h="1091">
                  <a:moveTo>
                    <a:pt x="469" y="0"/>
                  </a:moveTo>
                  <a:lnTo>
                    <a:pt x="939" y="235"/>
                  </a:lnTo>
                  <a:lnTo>
                    <a:pt x="939" y="856"/>
                  </a:lnTo>
                  <a:lnTo>
                    <a:pt x="469" y="1091"/>
                  </a:lnTo>
                  <a:lnTo>
                    <a:pt x="0" y="856"/>
                  </a:lnTo>
                  <a:lnTo>
                    <a:pt x="0" y="235"/>
                  </a:lnTo>
                  <a:lnTo>
                    <a:pt x="469" y="0"/>
                  </a:lnTo>
                  <a:close/>
                </a:path>
              </a:pathLst>
            </a:custGeom>
            <a:solidFill>
              <a:srgbClr val="00BCB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fontAlgn="base">
                <a:spcBef>
                  <a:spcPct val="0"/>
                </a:spcBef>
                <a:spcAft>
                  <a:spcPct val="0"/>
                </a:spcAft>
                <a:defRPr/>
              </a:pPr>
              <a:endParaRPr lang="zh-CN" altLang="en-US" sz="1020">
                <a:solidFill>
                  <a:srgbClr val="FFFFFF"/>
                </a:solidFill>
                <a:latin typeface="Calibri Light"/>
                <a:ea typeface="微软雅黑" panose="020B0503020204020204" pitchFamily="34" charset="-122"/>
              </a:endParaRPr>
            </a:p>
          </p:txBody>
        </p:sp>
        <p:sp>
          <p:nvSpPr>
            <p:cNvPr id="39" name="îśḷïḍê">
              <a:extLst>
                <a:ext uri="{FF2B5EF4-FFF2-40B4-BE49-F238E27FC236}">
                  <a16:creationId xmlns:a16="http://schemas.microsoft.com/office/drawing/2014/main" xmlns="" id="{082368C4-9F64-4551-9F16-5AF4FDD9B680}"/>
                </a:ext>
              </a:extLst>
            </p:cNvPr>
            <p:cNvSpPr/>
            <p:nvPr/>
          </p:nvSpPr>
          <p:spPr bwMode="auto">
            <a:xfrm>
              <a:off x="9988776" y="3603056"/>
              <a:ext cx="1254789" cy="1444329"/>
            </a:xfrm>
            <a:custGeom>
              <a:avLst/>
              <a:gdLst>
                <a:gd name="T0" fmla="*/ 469 w 939"/>
                <a:gd name="T1" fmla="*/ 0 h 1091"/>
                <a:gd name="T2" fmla="*/ 939 w 939"/>
                <a:gd name="T3" fmla="*/ 235 h 1091"/>
                <a:gd name="T4" fmla="*/ 939 w 939"/>
                <a:gd name="T5" fmla="*/ 856 h 1091"/>
                <a:gd name="T6" fmla="*/ 469 w 939"/>
                <a:gd name="T7" fmla="*/ 1091 h 1091"/>
                <a:gd name="T8" fmla="*/ 0 w 939"/>
                <a:gd name="T9" fmla="*/ 856 h 1091"/>
                <a:gd name="T10" fmla="*/ 0 w 939"/>
                <a:gd name="T11" fmla="*/ 235 h 1091"/>
                <a:gd name="T12" fmla="*/ 469 w 939"/>
                <a:gd name="T13" fmla="*/ 0 h 1091"/>
              </a:gdLst>
              <a:ahLst/>
              <a:cxnLst>
                <a:cxn ang="0">
                  <a:pos x="T0" y="T1"/>
                </a:cxn>
                <a:cxn ang="0">
                  <a:pos x="T2" y="T3"/>
                </a:cxn>
                <a:cxn ang="0">
                  <a:pos x="T4" y="T5"/>
                </a:cxn>
                <a:cxn ang="0">
                  <a:pos x="T6" y="T7"/>
                </a:cxn>
                <a:cxn ang="0">
                  <a:pos x="T8" y="T9"/>
                </a:cxn>
                <a:cxn ang="0">
                  <a:pos x="T10" y="T11"/>
                </a:cxn>
                <a:cxn ang="0">
                  <a:pos x="T12" y="T13"/>
                </a:cxn>
              </a:cxnLst>
              <a:rect l="0" t="0" r="r" b="b"/>
              <a:pathLst>
                <a:path w="939" h="1091">
                  <a:moveTo>
                    <a:pt x="469" y="0"/>
                  </a:moveTo>
                  <a:lnTo>
                    <a:pt x="939" y="235"/>
                  </a:lnTo>
                  <a:lnTo>
                    <a:pt x="939" y="856"/>
                  </a:lnTo>
                  <a:lnTo>
                    <a:pt x="469" y="1091"/>
                  </a:lnTo>
                  <a:lnTo>
                    <a:pt x="0" y="856"/>
                  </a:lnTo>
                  <a:lnTo>
                    <a:pt x="0" y="235"/>
                  </a:lnTo>
                  <a:lnTo>
                    <a:pt x="469" y="0"/>
                  </a:lnTo>
                  <a:close/>
                </a:path>
              </a:pathLst>
            </a:custGeom>
            <a:solidFill>
              <a:srgbClr val="00B0F0"/>
            </a:solidFill>
            <a:ln w="25400" cap="flat" cmpd="sng" algn="ctr">
              <a:noFill/>
              <a:prstDash val="solid"/>
            </a:ln>
            <a:effectLst/>
          </p:spPr>
          <p:txBody>
            <a:bodyPr lIns="0" rIns="0" rtlCol="0" anchor="ctr"/>
            <a:lstStyle/>
            <a:p>
              <a:pPr algn="ctr" defTabSz="466390">
                <a:defRPr/>
              </a:pPr>
              <a:endParaRPr lang="zh-CN" altLang="en-US" sz="918" kern="0">
                <a:solidFill>
                  <a:prstClr val="black"/>
                </a:solidFill>
                <a:latin typeface="微软雅黑" panose="020B0503020204020204" pitchFamily="34" charset="-122"/>
                <a:ea typeface="微软雅黑" panose="020B0503020204020204" pitchFamily="34" charset="-122"/>
              </a:endParaRPr>
            </a:p>
          </p:txBody>
        </p:sp>
        <p:sp>
          <p:nvSpPr>
            <p:cNvPr id="40" name="iSḻïḍe">
              <a:extLst>
                <a:ext uri="{FF2B5EF4-FFF2-40B4-BE49-F238E27FC236}">
                  <a16:creationId xmlns:a16="http://schemas.microsoft.com/office/drawing/2014/main" xmlns="" id="{7D296583-D42F-498A-8029-1448FF3C1E6F}"/>
                </a:ext>
              </a:extLst>
            </p:cNvPr>
            <p:cNvSpPr/>
            <p:nvPr/>
          </p:nvSpPr>
          <p:spPr bwMode="auto">
            <a:xfrm>
              <a:off x="1568975" y="4053713"/>
              <a:ext cx="523598" cy="543016"/>
            </a:xfrm>
            <a:custGeom>
              <a:avLst/>
              <a:gdLst>
                <a:gd name="T0" fmla="*/ 4199 w 4494"/>
                <a:gd name="T1" fmla="*/ 3838 h 4712"/>
                <a:gd name="T2" fmla="*/ 3932 w 4494"/>
                <a:gd name="T3" fmla="*/ 2881 h 4712"/>
                <a:gd name="T4" fmla="*/ 2447 w 4494"/>
                <a:gd name="T5" fmla="*/ 2438 h 4712"/>
                <a:gd name="T6" fmla="*/ 3263 w 4494"/>
                <a:gd name="T7" fmla="*/ 2440 h 4712"/>
                <a:gd name="T8" fmla="*/ 3263 w 4494"/>
                <a:gd name="T9" fmla="*/ 897 h 4712"/>
                <a:gd name="T10" fmla="*/ 2194 w 4494"/>
                <a:gd name="T11" fmla="*/ 0 h 4712"/>
                <a:gd name="T12" fmla="*/ 460 w 4494"/>
                <a:gd name="T13" fmla="*/ 1619 h 4712"/>
                <a:gd name="T14" fmla="*/ 2047 w 4494"/>
                <a:gd name="T15" fmla="*/ 2438 h 4712"/>
                <a:gd name="T16" fmla="*/ 562 w 4494"/>
                <a:gd name="T17" fmla="*/ 2881 h 4712"/>
                <a:gd name="T18" fmla="*/ 296 w 4494"/>
                <a:gd name="T19" fmla="*/ 3838 h 4712"/>
                <a:gd name="T20" fmla="*/ 0 w 4494"/>
                <a:gd name="T21" fmla="*/ 3971 h 4712"/>
                <a:gd name="T22" fmla="*/ 134 w 4494"/>
                <a:gd name="T23" fmla="*/ 4712 h 4712"/>
                <a:gd name="T24" fmla="*/ 991 w 4494"/>
                <a:gd name="T25" fmla="*/ 4579 h 4712"/>
                <a:gd name="T26" fmla="*/ 858 w 4494"/>
                <a:gd name="T27" fmla="*/ 3838 h 4712"/>
                <a:gd name="T28" fmla="*/ 696 w 4494"/>
                <a:gd name="T29" fmla="*/ 3281 h 4712"/>
                <a:gd name="T30" fmla="*/ 2047 w 4494"/>
                <a:gd name="T31" fmla="*/ 3838 h 4712"/>
                <a:gd name="T32" fmla="*/ 1752 w 4494"/>
                <a:gd name="T33" fmla="*/ 3971 h 4712"/>
                <a:gd name="T34" fmla="*/ 1885 w 4494"/>
                <a:gd name="T35" fmla="*/ 4712 h 4712"/>
                <a:gd name="T36" fmla="*/ 2742 w 4494"/>
                <a:gd name="T37" fmla="*/ 4579 h 4712"/>
                <a:gd name="T38" fmla="*/ 2609 w 4494"/>
                <a:gd name="T39" fmla="*/ 3838 h 4712"/>
                <a:gd name="T40" fmla="*/ 2447 w 4494"/>
                <a:gd name="T41" fmla="*/ 3281 h 4712"/>
                <a:gd name="T42" fmla="*/ 3799 w 4494"/>
                <a:gd name="T43" fmla="*/ 3838 h 4712"/>
                <a:gd name="T44" fmla="*/ 3503 w 4494"/>
                <a:gd name="T45" fmla="*/ 3971 h 4712"/>
                <a:gd name="T46" fmla="*/ 3637 w 4494"/>
                <a:gd name="T47" fmla="*/ 4712 h 4712"/>
                <a:gd name="T48" fmla="*/ 4494 w 4494"/>
                <a:gd name="T49" fmla="*/ 4579 h 4712"/>
                <a:gd name="T50" fmla="*/ 4360 w 4494"/>
                <a:gd name="T51" fmla="*/ 3838 h 4712"/>
                <a:gd name="T52" fmla="*/ 1278 w 4494"/>
                <a:gd name="T53" fmla="*/ 1201 h 4712"/>
                <a:gd name="T54" fmla="*/ 1288 w 4494"/>
                <a:gd name="T55" fmla="*/ 1201 h 4712"/>
                <a:gd name="T56" fmla="*/ 1311 w 4494"/>
                <a:gd name="T57" fmla="*/ 1202 h 4712"/>
                <a:gd name="T58" fmla="*/ 2194 w 4494"/>
                <a:gd name="T59" fmla="*/ 400 h 4712"/>
                <a:gd name="T60" fmla="*/ 2858 w 4494"/>
                <a:gd name="T61" fmla="*/ 1073 h 4712"/>
                <a:gd name="T62" fmla="*/ 2915 w 4494"/>
                <a:gd name="T63" fmla="*/ 1252 h 4712"/>
                <a:gd name="T64" fmla="*/ 3148 w 4494"/>
                <a:gd name="T65" fmla="*/ 1315 h 4712"/>
                <a:gd name="T66" fmla="*/ 3634 w 4494"/>
                <a:gd name="T67" fmla="*/ 1668 h 4712"/>
                <a:gd name="T68" fmla="*/ 2832 w 4494"/>
                <a:gd name="T69" fmla="*/ 2039 h 4712"/>
                <a:gd name="T70" fmla="*/ 1278 w 4494"/>
                <a:gd name="T71" fmla="*/ 2038 h 4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4" h="4712">
                  <a:moveTo>
                    <a:pt x="4360" y="3838"/>
                  </a:moveTo>
                  <a:lnTo>
                    <a:pt x="4199" y="3838"/>
                  </a:lnTo>
                  <a:lnTo>
                    <a:pt x="4199" y="3148"/>
                  </a:lnTo>
                  <a:cubicBezTo>
                    <a:pt x="4199" y="3001"/>
                    <a:pt x="4079" y="2881"/>
                    <a:pt x="3932" y="2881"/>
                  </a:cubicBezTo>
                  <a:lnTo>
                    <a:pt x="2447" y="2881"/>
                  </a:lnTo>
                  <a:lnTo>
                    <a:pt x="2447" y="2438"/>
                  </a:lnTo>
                  <a:cubicBezTo>
                    <a:pt x="2520" y="2438"/>
                    <a:pt x="2675" y="2438"/>
                    <a:pt x="2831" y="2439"/>
                  </a:cubicBezTo>
                  <a:cubicBezTo>
                    <a:pt x="3043" y="2439"/>
                    <a:pt x="3256" y="2440"/>
                    <a:pt x="3263" y="2440"/>
                  </a:cubicBezTo>
                  <a:cubicBezTo>
                    <a:pt x="3688" y="2440"/>
                    <a:pt x="4034" y="2094"/>
                    <a:pt x="4034" y="1668"/>
                  </a:cubicBezTo>
                  <a:cubicBezTo>
                    <a:pt x="4034" y="1243"/>
                    <a:pt x="3688" y="897"/>
                    <a:pt x="3263" y="897"/>
                  </a:cubicBezTo>
                  <a:cubicBezTo>
                    <a:pt x="3257" y="897"/>
                    <a:pt x="3251" y="897"/>
                    <a:pt x="3245" y="897"/>
                  </a:cubicBezTo>
                  <a:cubicBezTo>
                    <a:pt x="3165" y="389"/>
                    <a:pt x="2724" y="0"/>
                    <a:pt x="2194" y="0"/>
                  </a:cubicBezTo>
                  <a:cubicBezTo>
                    <a:pt x="1698" y="0"/>
                    <a:pt x="1276" y="339"/>
                    <a:pt x="1161" y="809"/>
                  </a:cubicBezTo>
                  <a:cubicBezTo>
                    <a:pt x="765" y="866"/>
                    <a:pt x="460" y="1208"/>
                    <a:pt x="460" y="1619"/>
                  </a:cubicBezTo>
                  <a:cubicBezTo>
                    <a:pt x="460" y="2071"/>
                    <a:pt x="827" y="2438"/>
                    <a:pt x="1278" y="2438"/>
                  </a:cubicBezTo>
                  <a:lnTo>
                    <a:pt x="2047" y="2438"/>
                  </a:lnTo>
                  <a:lnTo>
                    <a:pt x="2047" y="2881"/>
                  </a:lnTo>
                  <a:lnTo>
                    <a:pt x="562" y="2881"/>
                  </a:lnTo>
                  <a:cubicBezTo>
                    <a:pt x="415" y="2881"/>
                    <a:pt x="296" y="3001"/>
                    <a:pt x="296" y="3148"/>
                  </a:cubicBezTo>
                  <a:lnTo>
                    <a:pt x="296" y="3838"/>
                  </a:lnTo>
                  <a:lnTo>
                    <a:pt x="134" y="3838"/>
                  </a:lnTo>
                  <a:cubicBezTo>
                    <a:pt x="60" y="3838"/>
                    <a:pt x="0" y="3897"/>
                    <a:pt x="0" y="3971"/>
                  </a:cubicBezTo>
                  <a:lnTo>
                    <a:pt x="0" y="4579"/>
                  </a:lnTo>
                  <a:cubicBezTo>
                    <a:pt x="0" y="4652"/>
                    <a:pt x="60" y="4712"/>
                    <a:pt x="134" y="4712"/>
                  </a:cubicBezTo>
                  <a:lnTo>
                    <a:pt x="858" y="4712"/>
                  </a:lnTo>
                  <a:cubicBezTo>
                    <a:pt x="931" y="4712"/>
                    <a:pt x="991" y="4652"/>
                    <a:pt x="991" y="4579"/>
                  </a:cubicBezTo>
                  <a:lnTo>
                    <a:pt x="991" y="3971"/>
                  </a:lnTo>
                  <a:cubicBezTo>
                    <a:pt x="991" y="3897"/>
                    <a:pt x="931" y="3838"/>
                    <a:pt x="858" y="3838"/>
                  </a:cubicBezTo>
                  <a:lnTo>
                    <a:pt x="696" y="3838"/>
                  </a:lnTo>
                  <a:lnTo>
                    <a:pt x="696" y="3281"/>
                  </a:lnTo>
                  <a:lnTo>
                    <a:pt x="2047" y="3281"/>
                  </a:lnTo>
                  <a:lnTo>
                    <a:pt x="2047" y="3838"/>
                  </a:lnTo>
                  <a:lnTo>
                    <a:pt x="1885" y="3838"/>
                  </a:lnTo>
                  <a:cubicBezTo>
                    <a:pt x="1812" y="3838"/>
                    <a:pt x="1752" y="3897"/>
                    <a:pt x="1752" y="3971"/>
                  </a:cubicBezTo>
                  <a:lnTo>
                    <a:pt x="1752" y="4579"/>
                  </a:lnTo>
                  <a:cubicBezTo>
                    <a:pt x="1752" y="4652"/>
                    <a:pt x="1812" y="4712"/>
                    <a:pt x="1885" y="4712"/>
                  </a:cubicBezTo>
                  <a:lnTo>
                    <a:pt x="2609" y="4712"/>
                  </a:lnTo>
                  <a:cubicBezTo>
                    <a:pt x="2682" y="4712"/>
                    <a:pt x="2742" y="4652"/>
                    <a:pt x="2742" y="4579"/>
                  </a:cubicBezTo>
                  <a:lnTo>
                    <a:pt x="2742" y="3971"/>
                  </a:lnTo>
                  <a:cubicBezTo>
                    <a:pt x="2742" y="3897"/>
                    <a:pt x="2682" y="3838"/>
                    <a:pt x="2609" y="3838"/>
                  </a:cubicBezTo>
                  <a:lnTo>
                    <a:pt x="2447" y="3838"/>
                  </a:lnTo>
                  <a:lnTo>
                    <a:pt x="2447" y="3281"/>
                  </a:lnTo>
                  <a:lnTo>
                    <a:pt x="3799" y="3281"/>
                  </a:lnTo>
                  <a:lnTo>
                    <a:pt x="3799" y="3838"/>
                  </a:lnTo>
                  <a:lnTo>
                    <a:pt x="3637" y="3838"/>
                  </a:lnTo>
                  <a:cubicBezTo>
                    <a:pt x="3563" y="3838"/>
                    <a:pt x="3503" y="3897"/>
                    <a:pt x="3503" y="3971"/>
                  </a:cubicBezTo>
                  <a:lnTo>
                    <a:pt x="3503" y="4579"/>
                  </a:lnTo>
                  <a:cubicBezTo>
                    <a:pt x="3503" y="4652"/>
                    <a:pt x="3563" y="4712"/>
                    <a:pt x="3637" y="4712"/>
                  </a:cubicBezTo>
                  <a:lnTo>
                    <a:pt x="4360" y="4712"/>
                  </a:lnTo>
                  <a:cubicBezTo>
                    <a:pt x="4434" y="4712"/>
                    <a:pt x="4494" y="4652"/>
                    <a:pt x="4494" y="4579"/>
                  </a:cubicBezTo>
                  <a:lnTo>
                    <a:pt x="4494" y="3971"/>
                  </a:lnTo>
                  <a:cubicBezTo>
                    <a:pt x="4494" y="3897"/>
                    <a:pt x="4434" y="3838"/>
                    <a:pt x="4360" y="3838"/>
                  </a:cubicBezTo>
                  <a:close/>
                  <a:moveTo>
                    <a:pt x="860" y="1619"/>
                  </a:moveTo>
                  <a:cubicBezTo>
                    <a:pt x="860" y="1389"/>
                    <a:pt x="1048" y="1201"/>
                    <a:pt x="1278" y="1201"/>
                  </a:cubicBezTo>
                  <a:lnTo>
                    <a:pt x="1283" y="1201"/>
                  </a:lnTo>
                  <a:cubicBezTo>
                    <a:pt x="1284" y="1201"/>
                    <a:pt x="1286" y="1201"/>
                    <a:pt x="1288" y="1201"/>
                  </a:cubicBezTo>
                  <a:cubicBezTo>
                    <a:pt x="1288" y="1201"/>
                    <a:pt x="1289" y="1201"/>
                    <a:pt x="1290" y="1201"/>
                  </a:cubicBezTo>
                  <a:cubicBezTo>
                    <a:pt x="1297" y="1202"/>
                    <a:pt x="1304" y="1202"/>
                    <a:pt x="1311" y="1202"/>
                  </a:cubicBezTo>
                  <a:cubicBezTo>
                    <a:pt x="1408" y="1202"/>
                    <a:pt x="1519" y="1136"/>
                    <a:pt x="1534" y="992"/>
                  </a:cubicBezTo>
                  <a:cubicBezTo>
                    <a:pt x="1571" y="654"/>
                    <a:pt x="1854" y="400"/>
                    <a:pt x="2194" y="400"/>
                  </a:cubicBezTo>
                  <a:cubicBezTo>
                    <a:pt x="2560" y="400"/>
                    <a:pt x="2858" y="698"/>
                    <a:pt x="2858" y="1064"/>
                  </a:cubicBezTo>
                  <a:lnTo>
                    <a:pt x="2858" y="1073"/>
                  </a:lnTo>
                  <a:cubicBezTo>
                    <a:pt x="2858" y="1074"/>
                    <a:pt x="2858" y="1076"/>
                    <a:pt x="2858" y="1078"/>
                  </a:cubicBezTo>
                  <a:cubicBezTo>
                    <a:pt x="2853" y="1144"/>
                    <a:pt x="2873" y="1205"/>
                    <a:pt x="2915" y="1252"/>
                  </a:cubicBezTo>
                  <a:cubicBezTo>
                    <a:pt x="2957" y="1299"/>
                    <a:pt x="3017" y="1325"/>
                    <a:pt x="3080" y="1325"/>
                  </a:cubicBezTo>
                  <a:cubicBezTo>
                    <a:pt x="3103" y="1325"/>
                    <a:pt x="3126" y="1322"/>
                    <a:pt x="3148" y="1315"/>
                  </a:cubicBezTo>
                  <a:cubicBezTo>
                    <a:pt x="3185" y="1303"/>
                    <a:pt x="3224" y="1297"/>
                    <a:pt x="3263" y="1297"/>
                  </a:cubicBezTo>
                  <a:cubicBezTo>
                    <a:pt x="3468" y="1297"/>
                    <a:pt x="3634" y="1463"/>
                    <a:pt x="3634" y="1668"/>
                  </a:cubicBezTo>
                  <a:cubicBezTo>
                    <a:pt x="3634" y="1873"/>
                    <a:pt x="3468" y="2040"/>
                    <a:pt x="3263" y="2040"/>
                  </a:cubicBezTo>
                  <a:cubicBezTo>
                    <a:pt x="3255" y="2040"/>
                    <a:pt x="3043" y="2039"/>
                    <a:pt x="2832" y="2039"/>
                  </a:cubicBezTo>
                  <a:cubicBezTo>
                    <a:pt x="2621" y="2038"/>
                    <a:pt x="2411" y="2038"/>
                    <a:pt x="2405" y="2038"/>
                  </a:cubicBezTo>
                  <a:lnTo>
                    <a:pt x="1278" y="2038"/>
                  </a:lnTo>
                  <a:cubicBezTo>
                    <a:pt x="1048" y="2038"/>
                    <a:pt x="860" y="1850"/>
                    <a:pt x="860" y="1619"/>
                  </a:cubicBezTo>
                  <a:close/>
                </a:path>
              </a:pathLst>
            </a:custGeom>
            <a:solidFill>
              <a:schemeClr val="bg1"/>
            </a:solidFill>
            <a:ln>
              <a:noFill/>
            </a:ln>
          </p:spPr>
          <p:txBody>
            <a:bodyPr vert="horz" wrap="square" lIns="93248" tIns="46623" rIns="93248" bIns="46623"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32779">
                <a:defRPr/>
              </a:pPr>
              <a:endParaRPr lang="zh-CN" altLang="en-US" sz="1428">
                <a:solidFill>
                  <a:srgbClr val="000000"/>
                </a:solidFill>
                <a:latin typeface="Calibri"/>
                <a:ea typeface="等线" panose="02010600030101010101" pitchFamily="2" charset="-122"/>
              </a:endParaRPr>
            </a:p>
          </p:txBody>
        </p:sp>
        <p:sp>
          <p:nvSpPr>
            <p:cNvPr id="41" name="íṩľîḑé">
              <a:extLst>
                <a:ext uri="{FF2B5EF4-FFF2-40B4-BE49-F238E27FC236}">
                  <a16:creationId xmlns:a16="http://schemas.microsoft.com/office/drawing/2014/main" xmlns="" id="{3D8C8512-2DEE-4968-B7E1-2C95BE474B99}"/>
                </a:ext>
              </a:extLst>
            </p:cNvPr>
            <p:cNvSpPr/>
            <p:nvPr/>
          </p:nvSpPr>
          <p:spPr>
            <a:xfrm>
              <a:off x="832287" y="5105197"/>
              <a:ext cx="1980000" cy="43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algn="ctr" defTabSz="621853">
                <a:lnSpc>
                  <a:spcPct val="120000"/>
                </a:lnSpc>
                <a:defRPr/>
              </a:pPr>
              <a:r>
                <a:rPr lang="zh-CN" altLang="en-US" sz="2000" b="1" dirty="0">
                  <a:solidFill>
                    <a:schemeClr val="bg2">
                      <a:lumMod val="25000"/>
                    </a:schemeClr>
                  </a:solidFill>
                  <a:latin typeface="+mn-ea"/>
                </a:rPr>
                <a:t>深刻的业务理解</a:t>
              </a:r>
            </a:p>
          </p:txBody>
        </p:sp>
        <p:sp>
          <p:nvSpPr>
            <p:cNvPr id="42" name="îśļíďé">
              <a:extLst>
                <a:ext uri="{FF2B5EF4-FFF2-40B4-BE49-F238E27FC236}">
                  <a16:creationId xmlns:a16="http://schemas.microsoft.com/office/drawing/2014/main" xmlns="" id="{DA7C6BDB-88AD-43DC-9BDE-C8F9A98B29AF}"/>
                </a:ext>
              </a:extLst>
            </p:cNvPr>
            <p:cNvSpPr/>
            <p:nvPr/>
          </p:nvSpPr>
          <p:spPr>
            <a:xfrm>
              <a:off x="666085" y="5511946"/>
              <a:ext cx="2359685" cy="46640"/>
            </a:xfrm>
            <a:prstGeom prst="rect">
              <a:avLst/>
            </a:prstGeom>
            <a:solidFill>
              <a:srgbClr val="00B0F0"/>
            </a:solidFill>
            <a:ln w="25400" cap="flat" cmpd="sng" algn="ctr">
              <a:noFill/>
              <a:prstDash val="solid"/>
            </a:ln>
            <a:effectLst/>
          </p:spPr>
          <p:txBody>
            <a:bodyPr lIns="0" rIns="0" rtlCol="0" anchor="ctr"/>
            <a:lstStyle/>
            <a:p>
              <a:pPr algn="ctr" defTabSz="466390">
                <a:defRPr/>
              </a:pPr>
              <a:endParaRPr lang="zh-CN" altLang="en-US" sz="918" kern="0">
                <a:solidFill>
                  <a:prstClr val="black"/>
                </a:solidFill>
                <a:latin typeface="微软雅黑" panose="020B0503020204020204" pitchFamily="34" charset="-122"/>
                <a:ea typeface="微软雅黑" panose="020B0503020204020204" pitchFamily="34" charset="-122"/>
              </a:endParaRPr>
            </a:p>
          </p:txBody>
        </p:sp>
        <p:sp>
          <p:nvSpPr>
            <p:cNvPr id="43" name="işḷíḋê">
              <a:extLst>
                <a:ext uri="{FF2B5EF4-FFF2-40B4-BE49-F238E27FC236}">
                  <a16:creationId xmlns:a16="http://schemas.microsoft.com/office/drawing/2014/main" xmlns="" id="{36C4C32A-0F07-4210-9088-309B63C91E59}"/>
                </a:ext>
              </a:extLst>
            </p:cNvPr>
            <p:cNvSpPr/>
            <p:nvPr/>
          </p:nvSpPr>
          <p:spPr>
            <a:xfrm>
              <a:off x="595574" y="5613244"/>
              <a:ext cx="2264336" cy="38789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algn="ctr" defTabSz="621853">
                <a:lnSpc>
                  <a:spcPct val="120000"/>
                </a:lnSpc>
                <a:defRPr/>
              </a:pPr>
              <a:r>
                <a:rPr lang="zh-CN" altLang="en-US" sz="1428" i="1" dirty="0">
                  <a:solidFill>
                    <a:srgbClr val="4352A3"/>
                  </a:solidFill>
                  <a:latin typeface="Calibri"/>
                  <a:ea typeface="等线" panose="02010600030101010101" pitchFamily="2" charset="-122"/>
                </a:rPr>
                <a:t>促进园区转型升级业务创新</a:t>
              </a:r>
              <a:endParaRPr lang="en-US" altLang="zh-CN" sz="1428" i="1" dirty="0">
                <a:solidFill>
                  <a:srgbClr val="4352A3"/>
                </a:solidFill>
                <a:latin typeface="Calibri"/>
                <a:ea typeface="等线" panose="02010600030101010101" pitchFamily="2" charset="-122"/>
              </a:endParaRPr>
            </a:p>
          </p:txBody>
        </p:sp>
        <p:sp>
          <p:nvSpPr>
            <p:cNvPr id="44" name="íṡľiḓé">
              <a:extLst>
                <a:ext uri="{FF2B5EF4-FFF2-40B4-BE49-F238E27FC236}">
                  <a16:creationId xmlns:a16="http://schemas.microsoft.com/office/drawing/2014/main" xmlns="" id="{7A80E3F4-61BC-428F-95C4-255FE525DA1E}"/>
                </a:ext>
              </a:extLst>
            </p:cNvPr>
            <p:cNvSpPr/>
            <p:nvPr/>
          </p:nvSpPr>
          <p:spPr bwMode="auto">
            <a:xfrm>
              <a:off x="4516063" y="4053713"/>
              <a:ext cx="486354" cy="543016"/>
            </a:xfrm>
            <a:custGeom>
              <a:avLst/>
              <a:gdLst>
                <a:gd name="connsiteX0" fmla="*/ 341771 w 538414"/>
                <a:gd name="connsiteY0" fmla="*/ 44738 h 606792"/>
                <a:gd name="connsiteX1" fmla="*/ 538414 w 538414"/>
                <a:gd name="connsiteY1" fmla="*/ 303537 h 606792"/>
                <a:gd name="connsiteX2" fmla="*/ 307453 w 538414"/>
                <a:gd name="connsiteY2" fmla="*/ 569462 h 606792"/>
                <a:gd name="connsiteX3" fmla="*/ 346782 w 538414"/>
                <a:gd name="connsiteY3" fmla="*/ 492292 h 606792"/>
                <a:gd name="connsiteX4" fmla="*/ 473575 w 538414"/>
                <a:gd name="connsiteY4" fmla="*/ 303537 h 606792"/>
                <a:gd name="connsiteX5" fmla="*/ 334330 w 538414"/>
                <a:gd name="connsiteY5" fmla="*/ 110082 h 606792"/>
                <a:gd name="connsiteX6" fmla="*/ 231243 w 538414"/>
                <a:gd name="connsiteY6" fmla="*/ 37470 h 606792"/>
                <a:gd name="connsiteX7" fmla="*/ 192829 w 538414"/>
                <a:gd name="connsiteY7" fmla="*/ 114184 h 606792"/>
                <a:gd name="connsiteX8" fmla="*/ 64833 w 538414"/>
                <a:gd name="connsiteY8" fmla="*/ 303542 h 606792"/>
                <a:gd name="connsiteX9" fmla="*/ 204065 w 538414"/>
                <a:gd name="connsiteY9" fmla="*/ 496842 h 606792"/>
                <a:gd name="connsiteX10" fmla="*/ 196625 w 538414"/>
                <a:gd name="connsiteY10" fmla="*/ 562336 h 606792"/>
                <a:gd name="connsiteX11" fmla="*/ 0 w 538414"/>
                <a:gd name="connsiteY11" fmla="*/ 303542 h 606792"/>
                <a:gd name="connsiteX12" fmla="*/ 231243 w 538414"/>
                <a:gd name="connsiteY12" fmla="*/ 37470 h 606792"/>
                <a:gd name="connsiteX13" fmla="*/ 296052 w 538414"/>
                <a:gd name="connsiteY13" fmla="*/ 0 h 606792"/>
                <a:gd name="connsiteX14" fmla="*/ 300607 w 538414"/>
                <a:gd name="connsiteY14" fmla="*/ 607 h 606792"/>
                <a:gd name="connsiteX15" fmla="*/ 312147 w 538414"/>
                <a:gd name="connsiteY15" fmla="*/ 18801 h 606792"/>
                <a:gd name="connsiteX16" fmla="*/ 285727 w 538414"/>
                <a:gd name="connsiteY16" fmla="*/ 248964 h 606792"/>
                <a:gd name="connsiteX17" fmla="*/ 408715 w 538414"/>
                <a:gd name="connsiteY17" fmla="*/ 248964 h 606792"/>
                <a:gd name="connsiteX18" fmla="*/ 422532 w 538414"/>
                <a:gd name="connsiteY18" fmla="*/ 255635 h 606792"/>
                <a:gd name="connsiteX19" fmla="*/ 423292 w 538414"/>
                <a:gd name="connsiteY19" fmla="*/ 270949 h 606792"/>
                <a:gd name="connsiteX20" fmla="*/ 256726 w 538414"/>
                <a:gd name="connsiteY20" fmla="*/ 597998 h 606792"/>
                <a:gd name="connsiteX21" fmla="*/ 242302 w 538414"/>
                <a:gd name="connsiteY21" fmla="*/ 606792 h 606792"/>
                <a:gd name="connsiteX22" fmla="*/ 237595 w 538414"/>
                <a:gd name="connsiteY22" fmla="*/ 606186 h 606792"/>
                <a:gd name="connsiteX23" fmla="*/ 226207 w 538414"/>
                <a:gd name="connsiteY23" fmla="*/ 589659 h 606792"/>
                <a:gd name="connsiteX24" fmla="*/ 251108 w 538414"/>
                <a:gd name="connsiteY24" fmla="*/ 368139 h 606792"/>
                <a:gd name="connsiteX25" fmla="*/ 129487 w 538414"/>
                <a:gd name="connsiteY25" fmla="*/ 368139 h 606792"/>
                <a:gd name="connsiteX26" fmla="*/ 115821 w 538414"/>
                <a:gd name="connsiteY26" fmla="*/ 359496 h 606792"/>
                <a:gd name="connsiteX27" fmla="*/ 115062 w 538414"/>
                <a:gd name="connsiteY27" fmla="*/ 343121 h 606792"/>
                <a:gd name="connsiteX28" fmla="*/ 281628 w 538414"/>
                <a:gd name="connsiteY28" fmla="*/ 8946 h 606792"/>
                <a:gd name="connsiteX29" fmla="*/ 296052 w 538414"/>
                <a:gd name="connsiteY29" fmla="*/ 0 h 606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38414" h="606792">
                  <a:moveTo>
                    <a:pt x="341771" y="44738"/>
                  </a:moveTo>
                  <a:cubicBezTo>
                    <a:pt x="455049" y="76425"/>
                    <a:pt x="538414" y="180430"/>
                    <a:pt x="538414" y="303537"/>
                  </a:cubicBezTo>
                  <a:cubicBezTo>
                    <a:pt x="538414" y="438774"/>
                    <a:pt x="437739" y="550966"/>
                    <a:pt x="307453" y="569462"/>
                  </a:cubicBezTo>
                  <a:lnTo>
                    <a:pt x="346782" y="492292"/>
                  </a:lnTo>
                  <a:cubicBezTo>
                    <a:pt x="421035" y="461667"/>
                    <a:pt x="473575" y="388591"/>
                    <a:pt x="473575" y="303537"/>
                  </a:cubicBezTo>
                  <a:cubicBezTo>
                    <a:pt x="473575" y="213632"/>
                    <a:pt x="415113" y="137221"/>
                    <a:pt x="334330" y="110082"/>
                  </a:cubicBezTo>
                  <a:close/>
                  <a:moveTo>
                    <a:pt x="231243" y="37470"/>
                  </a:moveTo>
                  <a:lnTo>
                    <a:pt x="192829" y="114184"/>
                  </a:lnTo>
                  <a:cubicBezTo>
                    <a:pt x="117975" y="144505"/>
                    <a:pt x="64833" y="217883"/>
                    <a:pt x="64833" y="303542"/>
                  </a:cubicBezTo>
                  <a:cubicBezTo>
                    <a:pt x="64833" y="393294"/>
                    <a:pt x="123137" y="469704"/>
                    <a:pt x="204065" y="496842"/>
                  </a:cubicBezTo>
                  <a:lnTo>
                    <a:pt x="196625" y="562336"/>
                  </a:lnTo>
                  <a:cubicBezTo>
                    <a:pt x="83357" y="530650"/>
                    <a:pt x="0" y="426647"/>
                    <a:pt x="0" y="303542"/>
                  </a:cubicBezTo>
                  <a:cubicBezTo>
                    <a:pt x="0" y="168156"/>
                    <a:pt x="100666" y="55966"/>
                    <a:pt x="231243" y="37470"/>
                  </a:cubicBezTo>
                  <a:close/>
                  <a:moveTo>
                    <a:pt x="296052" y="0"/>
                  </a:moveTo>
                  <a:cubicBezTo>
                    <a:pt x="297570" y="0"/>
                    <a:pt x="299089" y="152"/>
                    <a:pt x="300607" y="607"/>
                  </a:cubicBezTo>
                  <a:cubicBezTo>
                    <a:pt x="308199" y="2881"/>
                    <a:pt x="313058" y="11069"/>
                    <a:pt x="312147" y="18801"/>
                  </a:cubicBezTo>
                  <a:lnTo>
                    <a:pt x="285727" y="248964"/>
                  </a:lnTo>
                  <a:lnTo>
                    <a:pt x="408715" y="248964"/>
                  </a:lnTo>
                  <a:cubicBezTo>
                    <a:pt x="414485" y="248964"/>
                    <a:pt x="419647" y="250783"/>
                    <a:pt x="422532" y="255635"/>
                  </a:cubicBezTo>
                  <a:cubicBezTo>
                    <a:pt x="425569" y="260487"/>
                    <a:pt x="425721" y="265946"/>
                    <a:pt x="423292" y="270949"/>
                  </a:cubicBezTo>
                  <a:lnTo>
                    <a:pt x="256726" y="597998"/>
                  </a:lnTo>
                  <a:cubicBezTo>
                    <a:pt x="253841" y="603457"/>
                    <a:pt x="248223" y="606792"/>
                    <a:pt x="242302" y="606792"/>
                  </a:cubicBezTo>
                  <a:cubicBezTo>
                    <a:pt x="240632" y="606792"/>
                    <a:pt x="239113" y="606641"/>
                    <a:pt x="237595" y="606186"/>
                  </a:cubicBezTo>
                  <a:cubicBezTo>
                    <a:pt x="230155" y="603911"/>
                    <a:pt x="225296" y="597392"/>
                    <a:pt x="226207" y="589659"/>
                  </a:cubicBezTo>
                  <a:lnTo>
                    <a:pt x="251108" y="368139"/>
                  </a:lnTo>
                  <a:lnTo>
                    <a:pt x="129487" y="368139"/>
                  </a:lnTo>
                  <a:cubicBezTo>
                    <a:pt x="123869" y="368139"/>
                    <a:pt x="118706" y="364348"/>
                    <a:pt x="115821" y="359496"/>
                  </a:cubicBezTo>
                  <a:cubicBezTo>
                    <a:pt x="112785" y="354796"/>
                    <a:pt x="112481" y="348125"/>
                    <a:pt x="115062" y="343121"/>
                  </a:cubicBezTo>
                  <a:lnTo>
                    <a:pt x="281628" y="8946"/>
                  </a:lnTo>
                  <a:cubicBezTo>
                    <a:pt x="284361" y="3336"/>
                    <a:pt x="289979" y="0"/>
                    <a:pt x="296052" y="0"/>
                  </a:cubicBezTo>
                  <a:close/>
                </a:path>
              </a:pathLst>
            </a:custGeom>
            <a:solidFill>
              <a:schemeClr val="bg1"/>
            </a:solidFill>
            <a:ln>
              <a:noFill/>
            </a:ln>
          </p:spPr>
          <p:txBody>
            <a:bodyPr vert="horz" wrap="square" lIns="93248" tIns="46623" rIns="93248" bIns="46623"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32779">
                <a:defRPr/>
              </a:pPr>
              <a:endParaRPr lang="zh-CN" altLang="en-US" sz="1428">
                <a:solidFill>
                  <a:srgbClr val="000000"/>
                </a:solidFill>
                <a:latin typeface="Calibri"/>
                <a:ea typeface="等线" panose="02010600030101010101" pitchFamily="2" charset="-122"/>
              </a:endParaRPr>
            </a:p>
          </p:txBody>
        </p:sp>
        <p:sp>
          <p:nvSpPr>
            <p:cNvPr id="45" name="íṣ1iḑê">
              <a:extLst>
                <a:ext uri="{FF2B5EF4-FFF2-40B4-BE49-F238E27FC236}">
                  <a16:creationId xmlns:a16="http://schemas.microsoft.com/office/drawing/2014/main" xmlns="" id="{5088B74A-2A63-4BD9-A3A0-B9EE920641A7}"/>
                </a:ext>
              </a:extLst>
            </p:cNvPr>
            <p:cNvSpPr/>
            <p:nvPr/>
          </p:nvSpPr>
          <p:spPr>
            <a:xfrm>
              <a:off x="3805287" y="5105197"/>
              <a:ext cx="1980000" cy="43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algn="ctr" defTabSz="621853">
                <a:lnSpc>
                  <a:spcPct val="120000"/>
                </a:lnSpc>
                <a:defRPr/>
              </a:pPr>
              <a:r>
                <a:rPr lang="zh-CN" altLang="en-US" sz="2000" b="1" dirty="0">
                  <a:solidFill>
                    <a:schemeClr val="bg2">
                      <a:lumMod val="25000"/>
                    </a:schemeClr>
                  </a:solidFill>
                  <a:latin typeface="+mn-ea"/>
                </a:rPr>
                <a:t>强大的集成能力</a:t>
              </a:r>
            </a:p>
          </p:txBody>
        </p:sp>
        <p:sp>
          <p:nvSpPr>
            <p:cNvPr id="46" name="í$lîďê">
              <a:extLst>
                <a:ext uri="{FF2B5EF4-FFF2-40B4-BE49-F238E27FC236}">
                  <a16:creationId xmlns:a16="http://schemas.microsoft.com/office/drawing/2014/main" xmlns="" id="{F682F8ED-609E-4892-804E-C32A79F7923D}"/>
                </a:ext>
              </a:extLst>
            </p:cNvPr>
            <p:cNvSpPr/>
            <p:nvPr/>
          </p:nvSpPr>
          <p:spPr>
            <a:xfrm>
              <a:off x="3549077" y="5613243"/>
              <a:ext cx="2283894" cy="43807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algn="ctr" defTabSz="621853">
                <a:lnSpc>
                  <a:spcPct val="120000"/>
                </a:lnSpc>
                <a:defRPr/>
              </a:pPr>
              <a:r>
                <a:rPr lang="zh-CN" altLang="en-US" sz="1428" i="1" dirty="0">
                  <a:solidFill>
                    <a:srgbClr val="4352A3"/>
                  </a:solidFill>
                  <a:latin typeface="Calibri"/>
                  <a:ea typeface="等线" panose="02010600030101010101" pitchFamily="2" charset="-122"/>
                </a:rPr>
                <a:t>全联接、全智能、全融合</a:t>
              </a:r>
            </a:p>
          </p:txBody>
        </p:sp>
        <p:sp>
          <p:nvSpPr>
            <p:cNvPr id="47" name="îṩľïḓe">
              <a:extLst>
                <a:ext uri="{FF2B5EF4-FFF2-40B4-BE49-F238E27FC236}">
                  <a16:creationId xmlns:a16="http://schemas.microsoft.com/office/drawing/2014/main" xmlns="" id="{A0ADBB02-EE13-4193-AF37-BD638631E809}"/>
                </a:ext>
              </a:extLst>
            </p:cNvPr>
            <p:cNvSpPr/>
            <p:nvPr/>
          </p:nvSpPr>
          <p:spPr bwMode="auto">
            <a:xfrm>
              <a:off x="7413645" y="4060206"/>
              <a:ext cx="548122" cy="530029"/>
            </a:xfrm>
            <a:custGeom>
              <a:avLst/>
              <a:gdLst>
                <a:gd name="connsiteX0" fmla="*/ 156242 w 548675"/>
                <a:gd name="connsiteY0" fmla="*/ 232482 h 535553"/>
                <a:gd name="connsiteX1" fmla="*/ 214187 w 548675"/>
                <a:gd name="connsiteY1" fmla="*/ 256837 h 535553"/>
                <a:gd name="connsiteX2" fmla="*/ 168993 w 548675"/>
                <a:gd name="connsiteY2" fmla="*/ 300709 h 535553"/>
                <a:gd name="connsiteX3" fmla="*/ 127674 w 548675"/>
                <a:gd name="connsiteY3" fmla="*/ 312322 h 535553"/>
                <a:gd name="connsiteX4" fmla="*/ 81189 w 548675"/>
                <a:gd name="connsiteY4" fmla="*/ 357485 h 535553"/>
                <a:gd name="connsiteX5" fmla="*/ 81189 w 548675"/>
                <a:gd name="connsiteY5" fmla="*/ 414260 h 535553"/>
                <a:gd name="connsiteX6" fmla="*/ 123800 w 548675"/>
                <a:gd name="connsiteY6" fmla="*/ 456842 h 535553"/>
                <a:gd name="connsiteX7" fmla="*/ 180615 w 548675"/>
                <a:gd name="connsiteY7" fmla="*/ 456842 h 535553"/>
                <a:gd name="connsiteX8" fmla="*/ 227099 w 548675"/>
                <a:gd name="connsiteY8" fmla="*/ 411680 h 535553"/>
                <a:gd name="connsiteX9" fmla="*/ 240012 w 548675"/>
                <a:gd name="connsiteY9" fmla="*/ 370388 h 535553"/>
                <a:gd name="connsiteX10" fmla="*/ 285205 w 548675"/>
                <a:gd name="connsiteY10" fmla="*/ 326516 h 535553"/>
                <a:gd name="connsiteX11" fmla="*/ 285205 w 548675"/>
                <a:gd name="connsiteY11" fmla="*/ 440068 h 535553"/>
                <a:gd name="connsiteX12" fmla="*/ 210313 w 548675"/>
                <a:gd name="connsiteY12" fmla="*/ 512327 h 535553"/>
                <a:gd name="connsiteX13" fmla="*/ 95392 w 548675"/>
                <a:gd name="connsiteY13" fmla="*/ 512327 h 535553"/>
                <a:gd name="connsiteX14" fmla="*/ 23083 w 548675"/>
                <a:gd name="connsiteY14" fmla="*/ 441358 h 535553"/>
                <a:gd name="connsiteX15" fmla="*/ 24374 w 548675"/>
                <a:gd name="connsiteY15" fmla="*/ 329097 h 535553"/>
                <a:gd name="connsiteX16" fmla="*/ 99266 w 548675"/>
                <a:gd name="connsiteY16" fmla="*/ 255547 h 535553"/>
                <a:gd name="connsiteX17" fmla="*/ 156242 w 548675"/>
                <a:gd name="connsiteY17" fmla="*/ 232482 h 535553"/>
                <a:gd name="connsiteX18" fmla="*/ 339490 w 548675"/>
                <a:gd name="connsiteY18" fmla="*/ 176395 h 535553"/>
                <a:gd name="connsiteX19" fmla="*/ 358873 w 548675"/>
                <a:gd name="connsiteY19" fmla="*/ 184615 h 535553"/>
                <a:gd name="connsiteX20" fmla="*/ 358873 w 548675"/>
                <a:gd name="connsiteY20" fmla="*/ 223297 h 535553"/>
                <a:gd name="connsiteX21" fmla="*/ 229652 w 548675"/>
                <a:gd name="connsiteY21" fmla="*/ 349656 h 535553"/>
                <a:gd name="connsiteX22" fmla="*/ 192178 w 548675"/>
                <a:gd name="connsiteY22" fmla="*/ 349656 h 535553"/>
                <a:gd name="connsiteX23" fmla="*/ 192178 w 548675"/>
                <a:gd name="connsiteY23" fmla="*/ 312264 h 535553"/>
                <a:gd name="connsiteX24" fmla="*/ 320107 w 548675"/>
                <a:gd name="connsiteY24" fmla="*/ 184615 h 535553"/>
                <a:gd name="connsiteX25" fmla="*/ 339490 w 548675"/>
                <a:gd name="connsiteY25" fmla="*/ 176395 h 535553"/>
                <a:gd name="connsiteX26" fmla="*/ 399515 w 548675"/>
                <a:gd name="connsiteY26" fmla="*/ 2 h 535553"/>
                <a:gd name="connsiteX27" fmla="*/ 455692 w 548675"/>
                <a:gd name="connsiteY27" fmla="*/ 23378 h 535553"/>
                <a:gd name="connsiteX28" fmla="*/ 525430 w 548675"/>
                <a:gd name="connsiteY28" fmla="*/ 93022 h 535553"/>
                <a:gd name="connsiteX29" fmla="*/ 525430 w 548675"/>
                <a:gd name="connsiteY29" fmla="*/ 202648 h 535553"/>
                <a:gd name="connsiteX30" fmla="*/ 447943 w 548675"/>
                <a:gd name="connsiteY30" fmla="*/ 278741 h 535553"/>
                <a:gd name="connsiteX31" fmla="*/ 334297 w 548675"/>
                <a:gd name="connsiteY31" fmla="*/ 278741 h 535553"/>
                <a:gd name="connsiteX32" fmla="*/ 378206 w 548675"/>
                <a:gd name="connsiteY32" fmla="*/ 236180 h 535553"/>
                <a:gd name="connsiteX33" fmla="*/ 419532 w 548675"/>
                <a:gd name="connsiteY33" fmla="*/ 223283 h 535553"/>
                <a:gd name="connsiteX34" fmla="*/ 468606 w 548675"/>
                <a:gd name="connsiteY34" fmla="*/ 175564 h 535553"/>
                <a:gd name="connsiteX35" fmla="*/ 469898 w 548675"/>
                <a:gd name="connsiteY35" fmla="*/ 120106 h 535553"/>
                <a:gd name="connsiteX36" fmla="*/ 427280 w 548675"/>
                <a:gd name="connsiteY36" fmla="*/ 78836 h 535553"/>
                <a:gd name="connsiteX37" fmla="*/ 370457 w 548675"/>
                <a:gd name="connsiteY37" fmla="*/ 77546 h 535553"/>
                <a:gd name="connsiteX38" fmla="*/ 321383 w 548675"/>
                <a:gd name="connsiteY38" fmla="*/ 126555 h 535553"/>
                <a:gd name="connsiteX39" fmla="*/ 308468 w 548675"/>
                <a:gd name="connsiteY39" fmla="*/ 166536 h 535553"/>
                <a:gd name="connsiteX40" fmla="*/ 264559 w 548675"/>
                <a:gd name="connsiteY40" fmla="*/ 209097 h 535553"/>
                <a:gd name="connsiteX41" fmla="*/ 264559 w 548675"/>
                <a:gd name="connsiteY41" fmla="*/ 98181 h 535553"/>
                <a:gd name="connsiteX42" fmla="*/ 343337 w 548675"/>
                <a:gd name="connsiteY42" fmla="*/ 22088 h 535553"/>
                <a:gd name="connsiteX43" fmla="*/ 399515 w 548675"/>
                <a:gd name="connsiteY43" fmla="*/ 2 h 53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548675" h="535553">
                  <a:moveTo>
                    <a:pt x="156242" y="232482"/>
                  </a:moveTo>
                  <a:cubicBezTo>
                    <a:pt x="177064" y="232643"/>
                    <a:pt x="198046" y="240708"/>
                    <a:pt x="214187" y="256837"/>
                  </a:cubicBezTo>
                  <a:lnTo>
                    <a:pt x="168993" y="300709"/>
                  </a:lnTo>
                  <a:cubicBezTo>
                    <a:pt x="154790" y="295548"/>
                    <a:pt x="139295" y="301999"/>
                    <a:pt x="127674" y="312322"/>
                  </a:cubicBezTo>
                  <a:lnTo>
                    <a:pt x="81189" y="357485"/>
                  </a:lnTo>
                  <a:cubicBezTo>
                    <a:pt x="65694" y="372969"/>
                    <a:pt x="65694" y="398776"/>
                    <a:pt x="81189" y="414260"/>
                  </a:cubicBezTo>
                  <a:lnTo>
                    <a:pt x="123800" y="456842"/>
                  </a:lnTo>
                  <a:cubicBezTo>
                    <a:pt x="139295" y="472326"/>
                    <a:pt x="165120" y="472326"/>
                    <a:pt x="180615" y="456842"/>
                  </a:cubicBezTo>
                  <a:lnTo>
                    <a:pt x="227099" y="411680"/>
                  </a:lnTo>
                  <a:cubicBezTo>
                    <a:pt x="238720" y="401357"/>
                    <a:pt x="243885" y="383292"/>
                    <a:pt x="240012" y="370388"/>
                  </a:cubicBezTo>
                  <a:lnTo>
                    <a:pt x="285205" y="326516"/>
                  </a:lnTo>
                  <a:cubicBezTo>
                    <a:pt x="316195" y="358775"/>
                    <a:pt x="316195" y="409099"/>
                    <a:pt x="285205" y="440068"/>
                  </a:cubicBezTo>
                  <a:lnTo>
                    <a:pt x="210313" y="512327"/>
                  </a:lnTo>
                  <a:cubicBezTo>
                    <a:pt x="178032" y="543296"/>
                    <a:pt x="126382" y="543296"/>
                    <a:pt x="95392" y="512327"/>
                  </a:cubicBezTo>
                  <a:lnTo>
                    <a:pt x="23083" y="441358"/>
                  </a:lnTo>
                  <a:cubicBezTo>
                    <a:pt x="-7907" y="410389"/>
                    <a:pt x="-7907" y="360065"/>
                    <a:pt x="24374" y="329097"/>
                  </a:cubicBezTo>
                  <a:lnTo>
                    <a:pt x="99266" y="255547"/>
                  </a:lnTo>
                  <a:cubicBezTo>
                    <a:pt x="114761" y="240063"/>
                    <a:pt x="135421" y="232320"/>
                    <a:pt x="156242" y="232482"/>
                  </a:cubicBezTo>
                  <a:close/>
                  <a:moveTo>
                    <a:pt x="339490" y="176395"/>
                  </a:moveTo>
                  <a:cubicBezTo>
                    <a:pt x="346597" y="176557"/>
                    <a:pt x="353704" y="179458"/>
                    <a:pt x="358873" y="184615"/>
                  </a:cubicBezTo>
                  <a:cubicBezTo>
                    <a:pt x="369211" y="194930"/>
                    <a:pt x="369211" y="211692"/>
                    <a:pt x="358873" y="223297"/>
                  </a:cubicBezTo>
                  <a:lnTo>
                    <a:pt x="229652" y="349656"/>
                  </a:lnTo>
                  <a:cubicBezTo>
                    <a:pt x="219314" y="361260"/>
                    <a:pt x="202516" y="361260"/>
                    <a:pt x="192178" y="349656"/>
                  </a:cubicBezTo>
                  <a:cubicBezTo>
                    <a:pt x="180548" y="339341"/>
                    <a:pt x="180548" y="322579"/>
                    <a:pt x="192178" y="312264"/>
                  </a:cubicBezTo>
                  <a:lnTo>
                    <a:pt x="320107" y="184615"/>
                  </a:lnTo>
                  <a:cubicBezTo>
                    <a:pt x="325276" y="178813"/>
                    <a:pt x="332383" y="176234"/>
                    <a:pt x="339490" y="176395"/>
                  </a:cubicBezTo>
                  <a:close/>
                  <a:moveTo>
                    <a:pt x="399515" y="2"/>
                  </a:moveTo>
                  <a:cubicBezTo>
                    <a:pt x="419855" y="163"/>
                    <a:pt x="440195" y="7902"/>
                    <a:pt x="455692" y="23378"/>
                  </a:cubicBezTo>
                  <a:lnTo>
                    <a:pt x="525430" y="93022"/>
                  </a:lnTo>
                  <a:cubicBezTo>
                    <a:pt x="556424" y="122686"/>
                    <a:pt x="556424" y="172985"/>
                    <a:pt x="525430" y="202648"/>
                  </a:cubicBezTo>
                  <a:lnTo>
                    <a:pt x="447943" y="278741"/>
                  </a:lnTo>
                  <a:cubicBezTo>
                    <a:pt x="416949" y="309694"/>
                    <a:pt x="365291" y="309694"/>
                    <a:pt x="334297" y="278741"/>
                  </a:cubicBezTo>
                  <a:lnTo>
                    <a:pt x="378206" y="236180"/>
                  </a:lnTo>
                  <a:cubicBezTo>
                    <a:pt x="392412" y="238760"/>
                    <a:pt x="409200" y="233601"/>
                    <a:pt x="419532" y="223283"/>
                  </a:cubicBezTo>
                  <a:lnTo>
                    <a:pt x="468606" y="175564"/>
                  </a:lnTo>
                  <a:cubicBezTo>
                    <a:pt x="484104" y="160087"/>
                    <a:pt x="485395" y="135583"/>
                    <a:pt x="469898" y="120106"/>
                  </a:cubicBezTo>
                  <a:lnTo>
                    <a:pt x="427280" y="78836"/>
                  </a:lnTo>
                  <a:cubicBezTo>
                    <a:pt x="411783" y="63359"/>
                    <a:pt x="385954" y="63359"/>
                    <a:pt x="370457" y="77546"/>
                  </a:cubicBezTo>
                  <a:lnTo>
                    <a:pt x="321383" y="126555"/>
                  </a:lnTo>
                  <a:cubicBezTo>
                    <a:pt x="309760" y="136873"/>
                    <a:pt x="304594" y="152349"/>
                    <a:pt x="308468" y="166536"/>
                  </a:cubicBezTo>
                  <a:lnTo>
                    <a:pt x="264559" y="209097"/>
                  </a:lnTo>
                  <a:cubicBezTo>
                    <a:pt x="233565" y="178143"/>
                    <a:pt x="233565" y="129134"/>
                    <a:pt x="264559" y="98181"/>
                  </a:cubicBezTo>
                  <a:lnTo>
                    <a:pt x="343337" y="22088"/>
                  </a:lnTo>
                  <a:cubicBezTo>
                    <a:pt x="358834" y="7257"/>
                    <a:pt x="379174" y="-159"/>
                    <a:pt x="399515" y="2"/>
                  </a:cubicBezTo>
                  <a:close/>
                </a:path>
              </a:pathLst>
            </a:custGeom>
            <a:solidFill>
              <a:schemeClr val="bg1"/>
            </a:solidFill>
            <a:ln>
              <a:noFill/>
            </a:ln>
          </p:spPr>
          <p:txBody>
            <a:bodyPr vert="horz" wrap="square" lIns="93248" tIns="46623" rIns="93248" bIns="46623"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32779">
                <a:defRPr/>
              </a:pPr>
              <a:endParaRPr lang="zh-CN" altLang="en-US" sz="1428">
                <a:solidFill>
                  <a:srgbClr val="000000"/>
                </a:solidFill>
                <a:latin typeface="Calibri"/>
                <a:ea typeface="等线" panose="02010600030101010101" pitchFamily="2" charset="-122"/>
              </a:endParaRPr>
            </a:p>
          </p:txBody>
        </p:sp>
        <p:sp>
          <p:nvSpPr>
            <p:cNvPr id="48" name="îşľïdé">
              <a:extLst>
                <a:ext uri="{FF2B5EF4-FFF2-40B4-BE49-F238E27FC236}">
                  <a16:creationId xmlns:a16="http://schemas.microsoft.com/office/drawing/2014/main" xmlns="" id="{35E0DA7E-8650-4543-9A38-574EFD34C5C8}"/>
                </a:ext>
              </a:extLst>
            </p:cNvPr>
            <p:cNvSpPr/>
            <p:nvPr/>
          </p:nvSpPr>
          <p:spPr>
            <a:xfrm>
              <a:off x="6700887" y="5105197"/>
              <a:ext cx="1980000" cy="43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algn="ctr" defTabSz="621853">
                <a:lnSpc>
                  <a:spcPct val="120000"/>
                </a:lnSpc>
                <a:defRPr/>
              </a:pPr>
              <a:r>
                <a:rPr lang="zh-CN" altLang="en-US" sz="2000" b="1" dirty="0">
                  <a:solidFill>
                    <a:schemeClr val="bg2">
                      <a:lumMod val="25000"/>
                    </a:schemeClr>
                  </a:solidFill>
                  <a:latin typeface="+mn-ea"/>
                </a:rPr>
                <a:t>丰富</a:t>
              </a:r>
              <a:r>
                <a:rPr lang="zh-CN" altLang="en-US" sz="2000" b="1" dirty="0" smtClean="0">
                  <a:solidFill>
                    <a:schemeClr val="bg2">
                      <a:lumMod val="25000"/>
                    </a:schemeClr>
                  </a:solidFill>
                  <a:latin typeface="+mn-ea"/>
                </a:rPr>
                <a:t>的交付</a:t>
              </a:r>
              <a:r>
                <a:rPr lang="zh-CN" altLang="en-US" sz="2000" b="1" dirty="0">
                  <a:solidFill>
                    <a:schemeClr val="bg2">
                      <a:lumMod val="25000"/>
                    </a:schemeClr>
                  </a:solidFill>
                  <a:latin typeface="+mn-ea"/>
                </a:rPr>
                <a:t>经验</a:t>
              </a:r>
            </a:p>
          </p:txBody>
        </p:sp>
        <p:sp>
          <p:nvSpPr>
            <p:cNvPr id="49" name="íšḷíḑè">
              <a:extLst>
                <a:ext uri="{FF2B5EF4-FFF2-40B4-BE49-F238E27FC236}">
                  <a16:creationId xmlns:a16="http://schemas.microsoft.com/office/drawing/2014/main" xmlns="" id="{34D663B6-BDF2-4C80-B61F-E71DA7196FFE}"/>
                </a:ext>
              </a:extLst>
            </p:cNvPr>
            <p:cNvSpPr/>
            <p:nvPr/>
          </p:nvSpPr>
          <p:spPr>
            <a:xfrm>
              <a:off x="6474881" y="5613243"/>
              <a:ext cx="2283894" cy="37368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algn="ctr" defTabSz="621853">
                <a:lnSpc>
                  <a:spcPct val="120000"/>
                </a:lnSpc>
                <a:defRPr/>
              </a:pPr>
              <a:r>
                <a:rPr lang="zh-CN" altLang="en-US" sz="1428" i="1" dirty="0">
                  <a:solidFill>
                    <a:srgbClr val="4352A3"/>
                  </a:solidFill>
                  <a:latin typeface="Calibri"/>
                  <a:ea typeface="等线" panose="02010600030101010101" pitchFamily="2" charset="-122"/>
                </a:rPr>
                <a:t>全面支撑新型智慧园区建设</a:t>
              </a:r>
            </a:p>
          </p:txBody>
        </p:sp>
        <p:sp>
          <p:nvSpPr>
            <p:cNvPr id="50" name="îŝ1ïḑé">
              <a:extLst>
                <a:ext uri="{FF2B5EF4-FFF2-40B4-BE49-F238E27FC236}">
                  <a16:creationId xmlns:a16="http://schemas.microsoft.com/office/drawing/2014/main" xmlns="" id="{213A9229-CDA6-4E8A-9C39-33D078E55260}"/>
                </a:ext>
              </a:extLst>
            </p:cNvPr>
            <p:cNvSpPr/>
            <p:nvPr/>
          </p:nvSpPr>
          <p:spPr bwMode="auto">
            <a:xfrm>
              <a:off x="10327844" y="4088336"/>
              <a:ext cx="576652" cy="473772"/>
            </a:xfrm>
            <a:custGeom>
              <a:avLst/>
              <a:gdLst>
                <a:gd name="connsiteX0" fmla="*/ 487366 w 608556"/>
                <a:gd name="connsiteY0" fmla="*/ 344359 h 504684"/>
                <a:gd name="connsiteX1" fmla="*/ 555009 w 608556"/>
                <a:gd name="connsiteY1" fmla="*/ 400299 h 504684"/>
                <a:gd name="connsiteX2" fmla="*/ 556199 w 608556"/>
                <a:gd name="connsiteY2" fmla="*/ 400299 h 504684"/>
                <a:gd name="connsiteX3" fmla="*/ 608556 w 608556"/>
                <a:gd name="connsiteY3" fmla="*/ 452492 h 504684"/>
                <a:gd name="connsiteX4" fmla="*/ 556199 w 608556"/>
                <a:gd name="connsiteY4" fmla="*/ 504684 h 504684"/>
                <a:gd name="connsiteX5" fmla="*/ 415512 w 608556"/>
                <a:gd name="connsiteY5" fmla="*/ 504684 h 504684"/>
                <a:gd name="connsiteX6" fmla="*/ 380912 w 608556"/>
                <a:gd name="connsiteY6" fmla="*/ 467208 h 504684"/>
                <a:gd name="connsiteX7" fmla="*/ 418441 w 608556"/>
                <a:gd name="connsiteY7" fmla="*/ 429640 h 504684"/>
                <a:gd name="connsiteX8" fmla="*/ 420638 w 608556"/>
                <a:gd name="connsiteY8" fmla="*/ 429915 h 504684"/>
                <a:gd name="connsiteX9" fmla="*/ 418441 w 608556"/>
                <a:gd name="connsiteY9" fmla="*/ 413096 h 504684"/>
                <a:gd name="connsiteX10" fmla="*/ 487366 w 608556"/>
                <a:gd name="connsiteY10" fmla="*/ 344359 h 504684"/>
                <a:gd name="connsiteX11" fmla="*/ 106454 w 608556"/>
                <a:gd name="connsiteY11" fmla="*/ 283602 h 504684"/>
                <a:gd name="connsiteX12" fmla="*/ 174097 w 608556"/>
                <a:gd name="connsiteY12" fmla="*/ 339534 h 504684"/>
                <a:gd name="connsiteX13" fmla="*/ 175378 w 608556"/>
                <a:gd name="connsiteY13" fmla="*/ 339534 h 504684"/>
                <a:gd name="connsiteX14" fmla="*/ 227644 w 608556"/>
                <a:gd name="connsiteY14" fmla="*/ 391720 h 504684"/>
                <a:gd name="connsiteX15" fmla="*/ 175378 w 608556"/>
                <a:gd name="connsiteY15" fmla="*/ 443997 h 504684"/>
                <a:gd name="connsiteX16" fmla="*/ 34600 w 608556"/>
                <a:gd name="connsiteY16" fmla="*/ 443997 h 504684"/>
                <a:gd name="connsiteX17" fmla="*/ 0 w 608556"/>
                <a:gd name="connsiteY17" fmla="*/ 406435 h 504684"/>
                <a:gd name="connsiteX18" fmla="*/ 37529 w 608556"/>
                <a:gd name="connsiteY18" fmla="*/ 368963 h 504684"/>
                <a:gd name="connsiteX19" fmla="*/ 39726 w 608556"/>
                <a:gd name="connsiteY19" fmla="*/ 369146 h 504684"/>
                <a:gd name="connsiteX20" fmla="*/ 37529 w 608556"/>
                <a:gd name="connsiteY20" fmla="*/ 352421 h 504684"/>
                <a:gd name="connsiteX21" fmla="*/ 106454 w 608556"/>
                <a:gd name="connsiteY21" fmla="*/ 283602 h 504684"/>
                <a:gd name="connsiteX22" fmla="*/ 284846 w 608556"/>
                <a:gd name="connsiteY22" fmla="*/ 180577 h 504684"/>
                <a:gd name="connsiteX23" fmla="*/ 325391 w 608556"/>
                <a:gd name="connsiteY23" fmla="*/ 180577 h 504684"/>
                <a:gd name="connsiteX24" fmla="*/ 325391 w 608556"/>
                <a:gd name="connsiteY24" fmla="*/ 257911 h 504684"/>
                <a:gd name="connsiteX25" fmla="*/ 351566 w 608556"/>
                <a:gd name="connsiteY25" fmla="*/ 299503 h 504684"/>
                <a:gd name="connsiteX26" fmla="*/ 351017 w 608556"/>
                <a:gd name="connsiteY26" fmla="*/ 305445 h 504684"/>
                <a:gd name="connsiteX27" fmla="*/ 422405 w 608556"/>
                <a:gd name="connsiteY27" fmla="*/ 352522 h 504684"/>
                <a:gd name="connsiteX28" fmla="*/ 402362 w 608556"/>
                <a:gd name="connsiteY28" fmla="*/ 387898 h 504684"/>
                <a:gd name="connsiteX29" fmla="*/ 328686 w 608556"/>
                <a:gd name="connsiteY29" fmla="*/ 339267 h 504684"/>
                <a:gd name="connsiteX30" fmla="*/ 305164 w 608556"/>
                <a:gd name="connsiteY30" fmla="*/ 345940 h 504684"/>
                <a:gd name="connsiteX31" fmla="*/ 272033 w 608556"/>
                <a:gd name="connsiteY31" fmla="*/ 331954 h 504684"/>
                <a:gd name="connsiteX32" fmla="*/ 231305 w 608556"/>
                <a:gd name="connsiteY32" fmla="*/ 345666 h 504684"/>
                <a:gd name="connsiteX33" fmla="*/ 189754 w 608556"/>
                <a:gd name="connsiteY33" fmla="*/ 320710 h 504684"/>
                <a:gd name="connsiteX34" fmla="*/ 188198 w 608556"/>
                <a:gd name="connsiteY34" fmla="*/ 317420 h 504684"/>
                <a:gd name="connsiteX35" fmla="*/ 259220 w 608556"/>
                <a:gd name="connsiteY35" fmla="*/ 293561 h 504684"/>
                <a:gd name="connsiteX36" fmla="*/ 284846 w 608556"/>
                <a:gd name="connsiteY36" fmla="*/ 257911 h 504684"/>
                <a:gd name="connsiteX37" fmla="*/ 296910 w 608556"/>
                <a:gd name="connsiteY37" fmla="*/ 0 h 504684"/>
                <a:gd name="connsiteX38" fmla="*/ 364553 w 608556"/>
                <a:gd name="connsiteY38" fmla="*/ 56024 h 504684"/>
                <a:gd name="connsiteX39" fmla="*/ 365743 w 608556"/>
                <a:gd name="connsiteY39" fmla="*/ 55932 h 504684"/>
                <a:gd name="connsiteX40" fmla="*/ 418100 w 608556"/>
                <a:gd name="connsiteY40" fmla="*/ 108118 h 504684"/>
                <a:gd name="connsiteX41" fmla="*/ 365743 w 608556"/>
                <a:gd name="connsiteY41" fmla="*/ 160395 h 504684"/>
                <a:gd name="connsiteX42" fmla="*/ 225056 w 608556"/>
                <a:gd name="connsiteY42" fmla="*/ 160395 h 504684"/>
                <a:gd name="connsiteX43" fmla="*/ 190456 w 608556"/>
                <a:gd name="connsiteY43" fmla="*/ 122832 h 504684"/>
                <a:gd name="connsiteX44" fmla="*/ 227985 w 608556"/>
                <a:gd name="connsiteY44" fmla="*/ 85361 h 504684"/>
                <a:gd name="connsiteX45" fmla="*/ 230182 w 608556"/>
                <a:gd name="connsiteY45" fmla="*/ 85544 h 504684"/>
                <a:gd name="connsiteX46" fmla="*/ 227985 w 608556"/>
                <a:gd name="connsiteY46" fmla="*/ 68819 h 504684"/>
                <a:gd name="connsiteX47" fmla="*/ 296910 w 608556"/>
                <a:gd name="connsiteY47" fmla="*/ 0 h 504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08556" h="504684">
                  <a:moveTo>
                    <a:pt x="487366" y="344359"/>
                  </a:moveTo>
                  <a:cubicBezTo>
                    <a:pt x="520958" y="344359"/>
                    <a:pt x="548968" y="368490"/>
                    <a:pt x="555009" y="400299"/>
                  </a:cubicBezTo>
                  <a:cubicBezTo>
                    <a:pt x="555375" y="400299"/>
                    <a:pt x="555833" y="400299"/>
                    <a:pt x="556199" y="400299"/>
                  </a:cubicBezTo>
                  <a:cubicBezTo>
                    <a:pt x="585123" y="400299"/>
                    <a:pt x="608556" y="423608"/>
                    <a:pt x="608556" y="452492"/>
                  </a:cubicBezTo>
                  <a:cubicBezTo>
                    <a:pt x="608556" y="481376"/>
                    <a:pt x="585123" y="504684"/>
                    <a:pt x="556199" y="504684"/>
                  </a:cubicBezTo>
                  <a:lnTo>
                    <a:pt x="415512" y="504684"/>
                  </a:lnTo>
                  <a:cubicBezTo>
                    <a:pt x="395924" y="503405"/>
                    <a:pt x="380912" y="487043"/>
                    <a:pt x="380912" y="467208"/>
                  </a:cubicBezTo>
                  <a:cubicBezTo>
                    <a:pt x="380912" y="446459"/>
                    <a:pt x="397754" y="429640"/>
                    <a:pt x="418441" y="429640"/>
                  </a:cubicBezTo>
                  <a:cubicBezTo>
                    <a:pt x="419173" y="429640"/>
                    <a:pt x="419905" y="429823"/>
                    <a:pt x="420638" y="429915"/>
                  </a:cubicBezTo>
                  <a:cubicBezTo>
                    <a:pt x="419265" y="424522"/>
                    <a:pt x="418441" y="418946"/>
                    <a:pt x="418441" y="413096"/>
                  </a:cubicBezTo>
                  <a:cubicBezTo>
                    <a:pt x="418441" y="375163"/>
                    <a:pt x="449288" y="344359"/>
                    <a:pt x="487366" y="344359"/>
                  </a:cubicBezTo>
                  <a:close/>
                  <a:moveTo>
                    <a:pt x="106454" y="283602"/>
                  </a:moveTo>
                  <a:cubicBezTo>
                    <a:pt x="140138" y="283602"/>
                    <a:pt x="168056" y="307730"/>
                    <a:pt x="174097" y="339534"/>
                  </a:cubicBezTo>
                  <a:cubicBezTo>
                    <a:pt x="174463" y="339534"/>
                    <a:pt x="174921" y="339534"/>
                    <a:pt x="175378" y="339534"/>
                  </a:cubicBezTo>
                  <a:cubicBezTo>
                    <a:pt x="204211" y="339534"/>
                    <a:pt x="227644" y="362840"/>
                    <a:pt x="227644" y="391720"/>
                  </a:cubicBezTo>
                  <a:cubicBezTo>
                    <a:pt x="227644" y="420601"/>
                    <a:pt x="204211" y="443997"/>
                    <a:pt x="175378" y="443997"/>
                  </a:cubicBezTo>
                  <a:lnTo>
                    <a:pt x="34600" y="443997"/>
                  </a:lnTo>
                  <a:cubicBezTo>
                    <a:pt x="15012" y="442626"/>
                    <a:pt x="0" y="426267"/>
                    <a:pt x="0" y="406435"/>
                  </a:cubicBezTo>
                  <a:cubicBezTo>
                    <a:pt x="0" y="385688"/>
                    <a:pt x="16842" y="368963"/>
                    <a:pt x="37529" y="368963"/>
                  </a:cubicBezTo>
                  <a:cubicBezTo>
                    <a:pt x="38261" y="368963"/>
                    <a:pt x="38993" y="369146"/>
                    <a:pt x="39726" y="369146"/>
                  </a:cubicBezTo>
                  <a:cubicBezTo>
                    <a:pt x="38353" y="363754"/>
                    <a:pt x="37529" y="358179"/>
                    <a:pt x="37529" y="352421"/>
                  </a:cubicBezTo>
                  <a:cubicBezTo>
                    <a:pt x="37529" y="314401"/>
                    <a:pt x="68376" y="283602"/>
                    <a:pt x="106454" y="283602"/>
                  </a:cubicBezTo>
                  <a:close/>
                  <a:moveTo>
                    <a:pt x="284846" y="180577"/>
                  </a:moveTo>
                  <a:lnTo>
                    <a:pt x="325391" y="180577"/>
                  </a:lnTo>
                  <a:lnTo>
                    <a:pt x="325391" y="257911"/>
                  </a:lnTo>
                  <a:cubicBezTo>
                    <a:pt x="340858" y="265407"/>
                    <a:pt x="351566" y="281129"/>
                    <a:pt x="351566" y="299503"/>
                  </a:cubicBezTo>
                  <a:cubicBezTo>
                    <a:pt x="351566" y="301514"/>
                    <a:pt x="351292" y="303525"/>
                    <a:pt x="351017" y="305445"/>
                  </a:cubicBezTo>
                  <a:lnTo>
                    <a:pt x="422405" y="352522"/>
                  </a:lnTo>
                  <a:cubicBezTo>
                    <a:pt x="413161" y="362486"/>
                    <a:pt x="406297" y="374552"/>
                    <a:pt x="402362" y="387898"/>
                  </a:cubicBezTo>
                  <a:lnTo>
                    <a:pt x="328686" y="339267"/>
                  </a:lnTo>
                  <a:cubicBezTo>
                    <a:pt x="321730" y="343380"/>
                    <a:pt x="313767" y="345940"/>
                    <a:pt x="305164" y="345940"/>
                  </a:cubicBezTo>
                  <a:cubicBezTo>
                    <a:pt x="292168" y="345940"/>
                    <a:pt x="280453" y="340547"/>
                    <a:pt x="272033" y="331954"/>
                  </a:cubicBezTo>
                  <a:lnTo>
                    <a:pt x="231305" y="345666"/>
                  </a:lnTo>
                  <a:cubicBezTo>
                    <a:pt x="220872" y="333051"/>
                    <a:pt x="206320" y="324093"/>
                    <a:pt x="189754" y="320710"/>
                  </a:cubicBezTo>
                  <a:cubicBezTo>
                    <a:pt x="189296" y="319522"/>
                    <a:pt x="188656" y="318517"/>
                    <a:pt x="188198" y="317420"/>
                  </a:cubicBezTo>
                  <a:lnTo>
                    <a:pt x="259220" y="293561"/>
                  </a:lnTo>
                  <a:cubicBezTo>
                    <a:pt x="261325" y="277747"/>
                    <a:pt x="271118" y="264584"/>
                    <a:pt x="284846" y="257911"/>
                  </a:cubicBezTo>
                  <a:close/>
                  <a:moveTo>
                    <a:pt x="296910" y="0"/>
                  </a:moveTo>
                  <a:cubicBezTo>
                    <a:pt x="330594" y="0"/>
                    <a:pt x="358512" y="24128"/>
                    <a:pt x="364553" y="56024"/>
                  </a:cubicBezTo>
                  <a:cubicBezTo>
                    <a:pt x="364919" y="56024"/>
                    <a:pt x="365377" y="55932"/>
                    <a:pt x="365743" y="55932"/>
                  </a:cubicBezTo>
                  <a:cubicBezTo>
                    <a:pt x="394667" y="55932"/>
                    <a:pt x="418100" y="79329"/>
                    <a:pt x="418100" y="108118"/>
                  </a:cubicBezTo>
                  <a:cubicBezTo>
                    <a:pt x="418100" y="136998"/>
                    <a:pt x="394667" y="160395"/>
                    <a:pt x="365743" y="160395"/>
                  </a:cubicBezTo>
                  <a:lnTo>
                    <a:pt x="225056" y="160395"/>
                  </a:lnTo>
                  <a:cubicBezTo>
                    <a:pt x="205468" y="159115"/>
                    <a:pt x="190456" y="142756"/>
                    <a:pt x="190456" y="122832"/>
                  </a:cubicBezTo>
                  <a:cubicBezTo>
                    <a:pt x="190456" y="102177"/>
                    <a:pt x="207298" y="85361"/>
                    <a:pt x="227985" y="85361"/>
                  </a:cubicBezTo>
                  <a:cubicBezTo>
                    <a:pt x="228717" y="85361"/>
                    <a:pt x="229449" y="85544"/>
                    <a:pt x="230182" y="85544"/>
                  </a:cubicBezTo>
                  <a:cubicBezTo>
                    <a:pt x="228809" y="80152"/>
                    <a:pt x="227985" y="74577"/>
                    <a:pt x="227985" y="68819"/>
                  </a:cubicBezTo>
                  <a:cubicBezTo>
                    <a:pt x="227985" y="30799"/>
                    <a:pt x="258832" y="0"/>
                    <a:pt x="296910" y="0"/>
                  </a:cubicBezTo>
                  <a:close/>
                </a:path>
              </a:pathLst>
            </a:custGeom>
            <a:solidFill>
              <a:schemeClr val="bg1"/>
            </a:solidFill>
            <a:ln>
              <a:noFill/>
            </a:ln>
          </p:spPr>
          <p:txBody>
            <a:bodyPr vert="horz" wrap="square" lIns="93248" tIns="46623" rIns="93248" bIns="46623"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32779">
                <a:defRPr/>
              </a:pPr>
              <a:endParaRPr lang="zh-CN" altLang="en-US" sz="1428">
                <a:solidFill>
                  <a:srgbClr val="000000"/>
                </a:solidFill>
                <a:latin typeface="Calibri"/>
                <a:ea typeface="等线" panose="02010600030101010101" pitchFamily="2" charset="-122"/>
              </a:endParaRPr>
            </a:p>
          </p:txBody>
        </p:sp>
        <p:sp>
          <p:nvSpPr>
            <p:cNvPr id="51" name="iṣ1îďè">
              <a:extLst>
                <a:ext uri="{FF2B5EF4-FFF2-40B4-BE49-F238E27FC236}">
                  <a16:creationId xmlns:a16="http://schemas.microsoft.com/office/drawing/2014/main" xmlns="" id="{D8615E3B-56BD-4313-AC36-500BD4547B4C}"/>
                </a:ext>
              </a:extLst>
            </p:cNvPr>
            <p:cNvSpPr/>
            <p:nvPr/>
          </p:nvSpPr>
          <p:spPr>
            <a:xfrm>
              <a:off x="9672687" y="5105197"/>
              <a:ext cx="1980000" cy="432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sp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algn="ctr" defTabSz="621853">
                <a:lnSpc>
                  <a:spcPct val="120000"/>
                </a:lnSpc>
                <a:defRPr/>
              </a:pPr>
              <a:r>
                <a:rPr lang="zh-CN" altLang="en-US" sz="2000" b="1" dirty="0" smtClean="0">
                  <a:solidFill>
                    <a:schemeClr val="bg2">
                      <a:lumMod val="25000"/>
                    </a:schemeClr>
                  </a:solidFill>
                  <a:latin typeface="+mn-ea"/>
                </a:rPr>
                <a:t>多样的</a:t>
              </a:r>
              <a:r>
                <a:rPr lang="zh-CN" altLang="en-US" sz="2000" b="1" dirty="0">
                  <a:solidFill>
                    <a:schemeClr val="bg2">
                      <a:lumMod val="25000"/>
                    </a:schemeClr>
                  </a:solidFill>
                  <a:latin typeface="+mn-ea"/>
                </a:rPr>
                <a:t>生态体系</a:t>
              </a:r>
            </a:p>
          </p:txBody>
        </p:sp>
        <p:sp>
          <p:nvSpPr>
            <p:cNvPr id="52" name="íṡľiḋê">
              <a:extLst>
                <a:ext uri="{FF2B5EF4-FFF2-40B4-BE49-F238E27FC236}">
                  <a16:creationId xmlns:a16="http://schemas.microsoft.com/office/drawing/2014/main" xmlns="" id="{526CA6AD-E7CE-4984-8927-BF2F1B288476}"/>
                </a:ext>
              </a:extLst>
            </p:cNvPr>
            <p:cNvSpPr/>
            <p:nvPr/>
          </p:nvSpPr>
          <p:spPr>
            <a:xfrm>
              <a:off x="9348736" y="5613243"/>
              <a:ext cx="2493753" cy="44722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chor="ctr">
              <a:noAutofit/>
            </a:bodyPr>
            <a:lstStyle>
              <a:defPPr>
                <a:defRPr lang="en-US"/>
              </a:defPPr>
              <a:lvl1pPr marL="0" algn="l" defTabSz="609600" rtl="0" eaLnBrk="1" latinLnBrk="0" hangingPunct="1">
                <a:defRPr sz="2400" kern="1200">
                  <a:solidFill>
                    <a:schemeClr val="lt1"/>
                  </a:solidFill>
                </a:defRPr>
              </a:lvl1pPr>
              <a:lvl2pPr marL="609600" algn="l" defTabSz="609600" rtl="0" eaLnBrk="1" latinLnBrk="0" hangingPunct="1">
                <a:defRPr sz="2400" kern="1200">
                  <a:solidFill>
                    <a:schemeClr val="lt1"/>
                  </a:solidFill>
                </a:defRPr>
              </a:lvl2pPr>
              <a:lvl3pPr marL="1219200" algn="l" defTabSz="609600" rtl="0" eaLnBrk="1" latinLnBrk="0" hangingPunct="1">
                <a:defRPr sz="2400" kern="1200">
                  <a:solidFill>
                    <a:schemeClr val="lt1"/>
                  </a:solidFill>
                </a:defRPr>
              </a:lvl3pPr>
              <a:lvl4pPr marL="1828800" algn="l" defTabSz="609600" rtl="0" eaLnBrk="1" latinLnBrk="0" hangingPunct="1">
                <a:defRPr sz="2400" kern="1200">
                  <a:solidFill>
                    <a:schemeClr val="lt1"/>
                  </a:solidFill>
                </a:defRPr>
              </a:lvl4pPr>
              <a:lvl5pPr marL="2438400" algn="l" defTabSz="609600" rtl="0" eaLnBrk="1" latinLnBrk="0" hangingPunct="1">
                <a:defRPr sz="2400" kern="1200">
                  <a:solidFill>
                    <a:schemeClr val="lt1"/>
                  </a:solidFill>
                </a:defRPr>
              </a:lvl5pPr>
              <a:lvl6pPr marL="3048000" algn="l" defTabSz="609600" rtl="0" eaLnBrk="1" latinLnBrk="0" hangingPunct="1">
                <a:defRPr sz="2400" kern="1200">
                  <a:solidFill>
                    <a:schemeClr val="lt1"/>
                  </a:solidFill>
                </a:defRPr>
              </a:lvl6pPr>
              <a:lvl7pPr marL="3657600" algn="l" defTabSz="609600" rtl="0" eaLnBrk="1" latinLnBrk="0" hangingPunct="1">
                <a:defRPr sz="2400" kern="1200">
                  <a:solidFill>
                    <a:schemeClr val="lt1"/>
                  </a:solidFill>
                </a:defRPr>
              </a:lvl7pPr>
              <a:lvl8pPr marL="4267200" algn="l" defTabSz="609600" rtl="0" eaLnBrk="1" latinLnBrk="0" hangingPunct="1">
                <a:defRPr sz="2400" kern="1200">
                  <a:solidFill>
                    <a:schemeClr val="lt1"/>
                  </a:solidFill>
                </a:defRPr>
              </a:lvl8pPr>
              <a:lvl9pPr marL="4876800" algn="l" defTabSz="609600" rtl="0" eaLnBrk="1" latinLnBrk="0" hangingPunct="1">
                <a:defRPr sz="2400" kern="1200">
                  <a:solidFill>
                    <a:schemeClr val="lt1"/>
                  </a:solidFill>
                </a:defRPr>
              </a:lvl9pPr>
            </a:lstStyle>
            <a:p>
              <a:pPr algn="ctr" defTabSz="621853">
                <a:lnSpc>
                  <a:spcPct val="120000"/>
                </a:lnSpc>
                <a:defRPr/>
              </a:pPr>
              <a:r>
                <a:rPr lang="zh-CN" altLang="en-US" sz="1428" i="1" dirty="0">
                  <a:solidFill>
                    <a:srgbClr val="4352A3"/>
                  </a:solidFill>
                  <a:latin typeface="Calibri"/>
                  <a:ea typeface="等线" panose="02010600030101010101" pitchFamily="2" charset="-122"/>
                </a:rPr>
                <a:t>共赢智慧园区新机遇、新未来</a:t>
              </a:r>
              <a:endParaRPr lang="en-US" altLang="zh-CN" sz="1428" i="1" dirty="0">
                <a:solidFill>
                  <a:srgbClr val="4352A3"/>
                </a:solidFill>
                <a:latin typeface="Calibri"/>
                <a:ea typeface="等线" panose="02010600030101010101" pitchFamily="2" charset="-122"/>
              </a:endParaRPr>
            </a:p>
          </p:txBody>
        </p:sp>
        <p:sp>
          <p:nvSpPr>
            <p:cNvPr id="53" name="下箭头 17">
              <a:extLst>
                <a:ext uri="{FF2B5EF4-FFF2-40B4-BE49-F238E27FC236}">
                  <a16:creationId xmlns:a16="http://schemas.microsoft.com/office/drawing/2014/main" xmlns="" id="{EDDA4034-38E6-4259-A1CF-B9248B13F4D9}"/>
                </a:ext>
              </a:extLst>
            </p:cNvPr>
            <p:cNvSpPr/>
            <p:nvPr/>
          </p:nvSpPr>
          <p:spPr>
            <a:xfrm>
              <a:off x="2837907" y="5635713"/>
              <a:ext cx="251421" cy="424756"/>
            </a:xfrm>
            <a:prstGeom prst="downArrow">
              <a:avLst/>
            </a:prstGeom>
            <a:solidFill>
              <a:srgbClr val="00B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defRPr/>
              </a:pPr>
              <a:endParaRPr lang="zh-CN" altLang="en-US" sz="1428">
                <a:solidFill>
                  <a:srgbClr val="FFFFFF"/>
                </a:solidFill>
                <a:latin typeface="Calibri"/>
                <a:ea typeface="等线" panose="02010600030101010101" pitchFamily="2" charset="-122"/>
              </a:endParaRPr>
            </a:p>
          </p:txBody>
        </p:sp>
        <p:sp>
          <p:nvSpPr>
            <p:cNvPr id="54" name="下箭头 18">
              <a:extLst>
                <a:ext uri="{FF2B5EF4-FFF2-40B4-BE49-F238E27FC236}">
                  <a16:creationId xmlns:a16="http://schemas.microsoft.com/office/drawing/2014/main" xmlns="" id="{69642B93-63B2-4A87-BC91-831AB3FDCE4D}"/>
                </a:ext>
              </a:extLst>
            </p:cNvPr>
            <p:cNvSpPr/>
            <p:nvPr/>
          </p:nvSpPr>
          <p:spPr>
            <a:xfrm rot="10800000" flipV="1">
              <a:off x="5824403" y="5644859"/>
              <a:ext cx="251421" cy="406463"/>
            </a:xfrm>
            <a:prstGeom prst="downArrow">
              <a:avLst/>
            </a:prstGeom>
            <a:solidFill>
              <a:srgbClr val="00B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defRPr/>
              </a:pPr>
              <a:endParaRPr lang="zh-CN" altLang="en-US" sz="1428">
                <a:solidFill>
                  <a:srgbClr val="FFFFFF"/>
                </a:solidFill>
                <a:latin typeface="Calibri"/>
                <a:ea typeface="等线" panose="02010600030101010101" pitchFamily="2" charset="-122"/>
              </a:endParaRPr>
            </a:p>
          </p:txBody>
        </p:sp>
        <p:sp>
          <p:nvSpPr>
            <p:cNvPr id="55" name="下箭头 19">
              <a:extLst>
                <a:ext uri="{FF2B5EF4-FFF2-40B4-BE49-F238E27FC236}">
                  <a16:creationId xmlns:a16="http://schemas.microsoft.com/office/drawing/2014/main" xmlns="" id="{47E05050-9621-4B65-8FDA-304B281E8BCE}"/>
                </a:ext>
              </a:extLst>
            </p:cNvPr>
            <p:cNvSpPr/>
            <p:nvPr/>
          </p:nvSpPr>
          <p:spPr>
            <a:xfrm rot="10800000" flipV="1">
              <a:off x="8708091" y="5644859"/>
              <a:ext cx="251421" cy="406463"/>
            </a:xfrm>
            <a:prstGeom prst="downArrow">
              <a:avLst/>
            </a:prstGeom>
            <a:solidFill>
              <a:srgbClr val="00B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defRPr/>
              </a:pPr>
              <a:endParaRPr lang="zh-CN" altLang="en-US" sz="1428">
                <a:solidFill>
                  <a:srgbClr val="FFFFFF"/>
                </a:solidFill>
                <a:latin typeface="Calibri"/>
                <a:ea typeface="等线" panose="02010600030101010101" pitchFamily="2" charset="-122"/>
              </a:endParaRPr>
            </a:p>
          </p:txBody>
        </p:sp>
        <p:sp>
          <p:nvSpPr>
            <p:cNvPr id="56" name="下箭头 20">
              <a:extLst>
                <a:ext uri="{FF2B5EF4-FFF2-40B4-BE49-F238E27FC236}">
                  <a16:creationId xmlns:a16="http://schemas.microsoft.com/office/drawing/2014/main" xmlns="" id="{5CEC852E-821D-4802-80AD-BB1442A50BAC}"/>
                </a:ext>
              </a:extLst>
            </p:cNvPr>
            <p:cNvSpPr/>
            <p:nvPr/>
          </p:nvSpPr>
          <p:spPr>
            <a:xfrm>
              <a:off x="11790380" y="5635713"/>
              <a:ext cx="251421" cy="424756"/>
            </a:xfrm>
            <a:prstGeom prst="downArrow">
              <a:avLst/>
            </a:prstGeom>
            <a:solidFill>
              <a:srgbClr val="00BE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defRPr/>
              </a:pPr>
              <a:endParaRPr lang="zh-CN" altLang="en-US" sz="1428">
                <a:solidFill>
                  <a:srgbClr val="FFFFFF"/>
                </a:solidFill>
                <a:latin typeface="Calibri"/>
                <a:ea typeface="等线" panose="02010600030101010101" pitchFamily="2" charset="-122"/>
              </a:endParaRPr>
            </a:p>
          </p:txBody>
        </p:sp>
        <p:sp>
          <p:nvSpPr>
            <p:cNvPr id="57" name="îśļíďé">
              <a:extLst>
                <a:ext uri="{FF2B5EF4-FFF2-40B4-BE49-F238E27FC236}">
                  <a16:creationId xmlns:a16="http://schemas.microsoft.com/office/drawing/2014/main" xmlns="" id="{FAB0A424-3BD1-4653-932D-77150148252B}"/>
                </a:ext>
              </a:extLst>
            </p:cNvPr>
            <p:cNvSpPr/>
            <p:nvPr/>
          </p:nvSpPr>
          <p:spPr>
            <a:xfrm>
              <a:off x="3300508" y="5511946"/>
              <a:ext cx="2653728" cy="46640"/>
            </a:xfrm>
            <a:prstGeom prst="rect">
              <a:avLst/>
            </a:prstGeom>
            <a:solidFill>
              <a:srgbClr val="ED7D31"/>
            </a:solidFill>
            <a:ln w="25400">
              <a:noFill/>
            </a:ln>
          </p:spPr>
          <p:style>
            <a:lnRef idx="1">
              <a:schemeClr val="accent2"/>
            </a:lnRef>
            <a:fillRef idx="0">
              <a:schemeClr val="accent2"/>
            </a:fillRef>
            <a:effectRef idx="0">
              <a:schemeClr val="accent2"/>
            </a:effectRef>
            <a:fontRef idx="minor">
              <a:schemeClr val="tx1"/>
            </a:fontRef>
          </p:style>
          <p:txBody>
            <a:bodyPr rtlCol="0" anchor="ctr"/>
            <a:lstStyle/>
            <a:p>
              <a:pPr algn="ctr" defTabSz="466390">
                <a:defRPr/>
              </a:pPr>
              <a:endParaRPr lang="zh-CN" altLang="en-US" sz="2040">
                <a:solidFill>
                  <a:srgbClr val="000000"/>
                </a:solidFill>
                <a:latin typeface="Calibri"/>
                <a:ea typeface="等线" panose="02010600030101010101" pitchFamily="2" charset="-122"/>
              </a:endParaRPr>
            </a:p>
          </p:txBody>
        </p:sp>
        <p:sp>
          <p:nvSpPr>
            <p:cNvPr id="58" name="îśļíďé">
              <a:extLst>
                <a:ext uri="{FF2B5EF4-FFF2-40B4-BE49-F238E27FC236}">
                  <a16:creationId xmlns:a16="http://schemas.microsoft.com/office/drawing/2014/main" xmlns="" id="{7CF26484-7AAB-415C-AD09-A5DC25DACB56}"/>
                </a:ext>
              </a:extLst>
            </p:cNvPr>
            <p:cNvSpPr/>
            <p:nvPr/>
          </p:nvSpPr>
          <p:spPr>
            <a:xfrm>
              <a:off x="6228973" y="5511946"/>
              <a:ext cx="2653728" cy="46640"/>
            </a:xfrm>
            <a:prstGeom prst="rect">
              <a:avLst/>
            </a:prstGeom>
            <a:solidFill>
              <a:srgbClr val="00B0F0"/>
            </a:solidFill>
            <a:ln w="25400" cap="flat" cmpd="sng" algn="ctr">
              <a:noFill/>
              <a:prstDash val="solid"/>
            </a:ln>
            <a:effectLst/>
          </p:spPr>
          <p:txBody>
            <a:bodyPr lIns="0" rIns="0" rtlCol="0" anchor="ctr"/>
            <a:lstStyle/>
            <a:p>
              <a:pPr algn="ctr" defTabSz="466390">
                <a:defRPr/>
              </a:pPr>
              <a:endParaRPr lang="zh-CN" altLang="en-US" sz="1020" kern="0">
                <a:solidFill>
                  <a:prstClr val="black"/>
                </a:solidFill>
                <a:latin typeface="微软雅黑" panose="020B0503020204020204" pitchFamily="34" charset="-122"/>
                <a:ea typeface="微软雅黑" panose="020B0503020204020204" pitchFamily="34" charset="-122"/>
              </a:endParaRPr>
            </a:p>
          </p:txBody>
        </p:sp>
        <p:sp>
          <p:nvSpPr>
            <p:cNvPr id="59" name="îśļíďé">
              <a:extLst>
                <a:ext uri="{FF2B5EF4-FFF2-40B4-BE49-F238E27FC236}">
                  <a16:creationId xmlns:a16="http://schemas.microsoft.com/office/drawing/2014/main" xmlns="" id="{868149A7-C7A4-4339-81EB-D690442A1BB2}"/>
                </a:ext>
              </a:extLst>
            </p:cNvPr>
            <p:cNvSpPr/>
            <p:nvPr/>
          </p:nvSpPr>
          <p:spPr>
            <a:xfrm>
              <a:off x="9268491" y="5511946"/>
              <a:ext cx="2653728" cy="46640"/>
            </a:xfrm>
            <a:prstGeom prst="rect">
              <a:avLst/>
            </a:prstGeom>
            <a:solidFill>
              <a:srgbClr val="ED7D31"/>
            </a:solidFill>
            <a:ln w="25400">
              <a:noFill/>
            </a:ln>
          </p:spPr>
          <p:style>
            <a:lnRef idx="1">
              <a:schemeClr val="accent2"/>
            </a:lnRef>
            <a:fillRef idx="0">
              <a:schemeClr val="accent2"/>
            </a:fillRef>
            <a:effectRef idx="0">
              <a:schemeClr val="accent2"/>
            </a:effectRef>
            <a:fontRef idx="minor">
              <a:schemeClr val="tx1"/>
            </a:fontRef>
          </p:style>
          <p:txBody>
            <a:bodyPr rtlCol="0" anchor="ctr"/>
            <a:lstStyle/>
            <a:p>
              <a:pPr algn="ctr" defTabSz="466390">
                <a:defRPr/>
              </a:pPr>
              <a:endParaRPr lang="zh-CN" altLang="en-US" sz="2040">
                <a:solidFill>
                  <a:srgbClr val="000000"/>
                </a:solidFill>
                <a:latin typeface="Calibri"/>
                <a:ea typeface="等线" panose="02010600030101010101" pitchFamily="2" charset="-122"/>
              </a:endParaRPr>
            </a:p>
          </p:txBody>
        </p:sp>
      </p:grpSp>
    </p:spTree>
    <p:extLst>
      <p:ext uri="{BB962C8B-B14F-4D97-AF65-F5344CB8AC3E}">
        <p14:creationId xmlns:p14="http://schemas.microsoft.com/office/powerpoint/2010/main" val="401345675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咨询服务体系架构</a:t>
            </a:r>
            <a:endParaRPr lang="zh-CN" altLang="en-US" dirty="0"/>
          </a:p>
        </p:txBody>
      </p:sp>
      <p:grpSp>
        <p:nvGrpSpPr>
          <p:cNvPr id="2" name="组合 1"/>
          <p:cNvGrpSpPr/>
          <p:nvPr/>
        </p:nvGrpSpPr>
        <p:grpSpPr>
          <a:xfrm>
            <a:off x="773678" y="1013999"/>
            <a:ext cx="11034181" cy="5836857"/>
            <a:chOff x="773678" y="1013999"/>
            <a:chExt cx="11034181" cy="5836857"/>
          </a:xfrm>
        </p:grpSpPr>
        <p:sp>
          <p:nvSpPr>
            <p:cNvPr id="30" name="矩形 29">
              <a:extLst>
                <a:ext uri="{FF2B5EF4-FFF2-40B4-BE49-F238E27FC236}">
                  <a16:creationId xmlns:a16="http://schemas.microsoft.com/office/drawing/2014/main" xmlns="" id="{5A860524-89F1-46FA-87EB-1AD33D4E6A21}"/>
                </a:ext>
              </a:extLst>
            </p:cNvPr>
            <p:cNvSpPr/>
            <p:nvPr/>
          </p:nvSpPr>
          <p:spPr>
            <a:xfrm>
              <a:off x="773678" y="4889706"/>
              <a:ext cx="5230307" cy="1961150"/>
            </a:xfrm>
            <a:prstGeom prst="rect">
              <a:avLst/>
            </a:prstGeom>
            <a:solidFill>
              <a:schemeClr val="bg2">
                <a:lumMod val="75000"/>
                <a:alpha val="50000"/>
              </a:schemeClr>
            </a:solidFill>
            <a:ln w="12700" cap="flat" cmpd="sng" algn="ctr">
              <a:noFill/>
              <a:prstDash val="dash"/>
            </a:ln>
            <a:effectLst/>
          </p:spPr>
          <p:txBody>
            <a:bodyPr rtlCol="0" anchor="ctr"/>
            <a:lstStyle/>
            <a:p>
              <a:pPr algn="ctr" defTabSz="1236876"/>
              <a:endParaRPr lang="zh-CN" altLang="en-US" sz="102" kern="0">
                <a:solidFill>
                  <a:prstClr val="black"/>
                </a:solidFill>
                <a:latin typeface="微软雅黑" panose="020B0503020204020204" pitchFamily="34" charset="-122"/>
                <a:ea typeface="微软雅黑" panose="020B0503020204020204" pitchFamily="34" charset="-122"/>
                <a:cs typeface="Segoe UI" pitchFamily="34" charset="0"/>
              </a:endParaRPr>
            </a:p>
          </p:txBody>
        </p:sp>
        <p:sp>
          <p:nvSpPr>
            <p:cNvPr id="31" name="矩形 30">
              <a:extLst>
                <a:ext uri="{FF2B5EF4-FFF2-40B4-BE49-F238E27FC236}">
                  <a16:creationId xmlns:a16="http://schemas.microsoft.com/office/drawing/2014/main" xmlns="" id="{569F6ED7-AD77-49EA-9DE3-8E2B08BAD977}"/>
                </a:ext>
              </a:extLst>
            </p:cNvPr>
            <p:cNvSpPr/>
            <p:nvPr/>
          </p:nvSpPr>
          <p:spPr>
            <a:xfrm>
              <a:off x="793977" y="2535521"/>
              <a:ext cx="11013879" cy="2256050"/>
            </a:xfrm>
            <a:prstGeom prst="rect">
              <a:avLst/>
            </a:prstGeom>
            <a:solidFill>
              <a:schemeClr val="bg2">
                <a:lumMod val="75000"/>
                <a:alpha val="50000"/>
              </a:schemeClr>
            </a:solidFill>
            <a:ln w="12700" cap="flat" cmpd="sng" algn="ctr">
              <a:noFill/>
              <a:prstDash val="dash"/>
            </a:ln>
            <a:effectLst/>
          </p:spPr>
          <p:txBody>
            <a:bodyPr rtlCol="0" anchor="ctr"/>
            <a:lstStyle/>
            <a:p>
              <a:pPr algn="ctr" defTabSz="1236876"/>
              <a:endParaRPr lang="zh-CN" altLang="en-US" sz="102" kern="0" dirty="0">
                <a:solidFill>
                  <a:prstClr val="black"/>
                </a:solidFill>
                <a:latin typeface="微软雅黑" panose="020B0503020204020204" pitchFamily="34" charset="-122"/>
                <a:ea typeface="微软雅黑" panose="020B0503020204020204" pitchFamily="34" charset="-122"/>
                <a:cs typeface="Segoe UI" pitchFamily="34" charset="0"/>
              </a:endParaRPr>
            </a:p>
          </p:txBody>
        </p:sp>
        <p:sp>
          <p:nvSpPr>
            <p:cNvPr id="32" name="矩形 31">
              <a:extLst>
                <a:ext uri="{FF2B5EF4-FFF2-40B4-BE49-F238E27FC236}">
                  <a16:creationId xmlns:a16="http://schemas.microsoft.com/office/drawing/2014/main" xmlns="" id="{4BA183DF-4625-4FA2-8834-07C75FDC153E}"/>
                </a:ext>
              </a:extLst>
            </p:cNvPr>
            <p:cNvSpPr/>
            <p:nvPr/>
          </p:nvSpPr>
          <p:spPr>
            <a:xfrm>
              <a:off x="6688350" y="4873190"/>
              <a:ext cx="5119509" cy="1961150"/>
            </a:xfrm>
            <a:prstGeom prst="rect">
              <a:avLst/>
            </a:prstGeom>
            <a:solidFill>
              <a:schemeClr val="bg2">
                <a:lumMod val="75000"/>
                <a:alpha val="50000"/>
              </a:schemeClr>
            </a:solidFill>
            <a:ln w="12700" cap="flat" cmpd="sng" algn="ctr">
              <a:noFill/>
              <a:prstDash val="dash"/>
            </a:ln>
            <a:effectLst/>
          </p:spPr>
          <p:txBody>
            <a:bodyPr rtlCol="0" anchor="ctr"/>
            <a:lstStyle/>
            <a:p>
              <a:pPr algn="ctr" defTabSz="1236876"/>
              <a:endParaRPr lang="zh-CN" altLang="en-US" sz="102" kern="0">
                <a:solidFill>
                  <a:prstClr val="black"/>
                </a:solidFill>
                <a:latin typeface="微软雅黑" panose="020B0503020204020204" pitchFamily="34" charset="-122"/>
                <a:ea typeface="微软雅黑" panose="020B0503020204020204" pitchFamily="34" charset="-122"/>
                <a:cs typeface="Segoe UI" pitchFamily="34" charset="0"/>
              </a:endParaRPr>
            </a:p>
          </p:txBody>
        </p:sp>
        <p:sp>
          <p:nvSpPr>
            <p:cNvPr id="60" name="矩形: 圆角 6">
              <a:extLst>
                <a:ext uri="{FF2B5EF4-FFF2-40B4-BE49-F238E27FC236}">
                  <a16:creationId xmlns:a16="http://schemas.microsoft.com/office/drawing/2014/main" xmlns="" id="{1094BDDC-E72A-4FF0-A517-8FAD4B7925FF}"/>
                </a:ext>
              </a:extLst>
            </p:cNvPr>
            <p:cNvSpPr/>
            <p:nvPr/>
          </p:nvSpPr>
          <p:spPr>
            <a:xfrm>
              <a:off x="980358" y="5286362"/>
              <a:ext cx="1537861" cy="1423967"/>
            </a:xfrm>
            <a:prstGeom prst="roundRect">
              <a:avLst>
                <a:gd name="adj" fmla="val 0"/>
              </a:avLst>
            </a:prstGeom>
            <a:solidFill>
              <a:schemeClr val="bg2">
                <a:lumMod val="50000"/>
              </a:schemeClr>
            </a:solidFill>
            <a:ln w="317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a:solidFill>
                  <a:srgbClr val="FFFFFF"/>
                </a:solidFill>
              </a:endParaRPr>
            </a:p>
          </p:txBody>
        </p:sp>
        <p:sp>
          <p:nvSpPr>
            <p:cNvPr id="61" name="矩形 60">
              <a:extLst>
                <a:ext uri="{FF2B5EF4-FFF2-40B4-BE49-F238E27FC236}">
                  <a16:creationId xmlns:a16="http://schemas.microsoft.com/office/drawing/2014/main" xmlns="" id="{38D4FBCC-EBF6-471C-8293-DC9B4FAEAE85}"/>
                </a:ext>
              </a:extLst>
            </p:cNvPr>
            <p:cNvSpPr/>
            <p:nvPr/>
          </p:nvSpPr>
          <p:spPr>
            <a:xfrm>
              <a:off x="2514031" y="4903246"/>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836" b="1" dirty="0">
                  <a:solidFill>
                    <a:schemeClr val="bg2">
                      <a:lumMod val="25000"/>
                    </a:schemeClr>
                  </a:solidFill>
                  <a:latin typeface="微软雅黑" panose="020B0503020204020204" pitchFamily="34" charset="-122"/>
                  <a:ea typeface="微软雅黑" panose="020B0503020204020204" pitchFamily="34" charset="-122"/>
                </a:rPr>
                <a:t>云</a:t>
              </a:r>
              <a:r>
                <a:rPr lang="zh-CN" altLang="en-US" sz="1836" b="1" dirty="0" smtClean="0">
                  <a:solidFill>
                    <a:schemeClr val="bg2">
                      <a:lumMod val="25000"/>
                    </a:schemeClr>
                  </a:solidFill>
                  <a:latin typeface="微软雅黑" panose="020B0503020204020204" pitchFamily="34" charset="-122"/>
                  <a:ea typeface="微软雅黑" panose="020B0503020204020204" pitchFamily="34" charset="-122"/>
                </a:rPr>
                <a:t>产品规划</a:t>
              </a:r>
              <a:endParaRPr lang="en-US" altLang="zh-CN" sz="1836" b="1" dirty="0">
                <a:solidFill>
                  <a:schemeClr val="bg2">
                    <a:lumMod val="25000"/>
                  </a:schemeClr>
                </a:solidFill>
                <a:latin typeface="微软雅黑" panose="020B0503020204020204" pitchFamily="34" charset="-122"/>
                <a:ea typeface="微软雅黑" panose="020B0503020204020204" pitchFamily="34" charset="-122"/>
              </a:endParaRPr>
            </a:p>
          </p:txBody>
        </p:sp>
        <p:sp>
          <p:nvSpPr>
            <p:cNvPr id="62" name="矩形 61">
              <a:extLst>
                <a:ext uri="{FF2B5EF4-FFF2-40B4-BE49-F238E27FC236}">
                  <a16:creationId xmlns:a16="http://schemas.microsoft.com/office/drawing/2014/main" xmlns="" id="{D77EA2F3-90AE-4DFD-A39D-44A0FECBEEA9}"/>
                </a:ext>
              </a:extLst>
            </p:cNvPr>
            <p:cNvSpPr/>
            <p:nvPr/>
          </p:nvSpPr>
          <p:spPr>
            <a:xfrm>
              <a:off x="8428831" y="4903246"/>
              <a:ext cx="1800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836" b="1" dirty="0" smtClean="0">
                  <a:solidFill>
                    <a:schemeClr val="bg2">
                      <a:lumMod val="25000"/>
                    </a:schemeClr>
                  </a:solidFill>
                  <a:latin typeface="微软雅黑" panose="020B0503020204020204" pitchFamily="34" charset="-122"/>
                  <a:ea typeface="微软雅黑" panose="020B0503020204020204" pitchFamily="34" charset="-122"/>
                </a:rPr>
                <a:t>云服务规划</a:t>
              </a:r>
              <a:endParaRPr lang="en-US" altLang="zh-CN" sz="1836" b="1" dirty="0">
                <a:solidFill>
                  <a:schemeClr val="bg2">
                    <a:lumMod val="25000"/>
                  </a:schemeClr>
                </a:solidFill>
                <a:latin typeface="微软雅黑" panose="020B0503020204020204" pitchFamily="34" charset="-122"/>
                <a:ea typeface="微软雅黑" panose="020B0503020204020204" pitchFamily="34" charset="-122"/>
              </a:endParaRPr>
            </a:p>
          </p:txBody>
        </p:sp>
        <p:sp>
          <p:nvSpPr>
            <p:cNvPr id="63" name="矩形: 圆角 9">
              <a:extLst>
                <a:ext uri="{FF2B5EF4-FFF2-40B4-BE49-F238E27FC236}">
                  <a16:creationId xmlns:a16="http://schemas.microsoft.com/office/drawing/2014/main" xmlns="" id="{19C9C5F0-9EA3-40CA-87B7-2C6BF11E20FB}"/>
                </a:ext>
              </a:extLst>
            </p:cNvPr>
            <p:cNvSpPr/>
            <p:nvPr/>
          </p:nvSpPr>
          <p:spPr>
            <a:xfrm>
              <a:off x="2659404" y="5285028"/>
              <a:ext cx="1537861" cy="1423967"/>
            </a:xfrm>
            <a:prstGeom prst="roundRect">
              <a:avLst>
                <a:gd name="adj" fmla="val 0"/>
              </a:avLst>
            </a:prstGeom>
            <a:solidFill>
              <a:schemeClr val="bg2">
                <a:lumMod val="50000"/>
              </a:schemeClr>
            </a:solidFill>
            <a:ln w="317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a:solidFill>
                  <a:srgbClr val="FFFFFF"/>
                </a:solidFill>
              </a:endParaRPr>
            </a:p>
          </p:txBody>
        </p:sp>
        <p:sp>
          <p:nvSpPr>
            <p:cNvPr id="64" name="矩形: 圆角 10">
              <a:extLst>
                <a:ext uri="{FF2B5EF4-FFF2-40B4-BE49-F238E27FC236}">
                  <a16:creationId xmlns:a16="http://schemas.microsoft.com/office/drawing/2014/main" xmlns="" id="{36709501-B92F-4E28-9ED6-5A44925AED04}"/>
                </a:ext>
              </a:extLst>
            </p:cNvPr>
            <p:cNvSpPr/>
            <p:nvPr/>
          </p:nvSpPr>
          <p:spPr>
            <a:xfrm>
              <a:off x="4319005" y="5285028"/>
              <a:ext cx="1537861" cy="1423967"/>
            </a:xfrm>
            <a:prstGeom prst="roundRect">
              <a:avLst>
                <a:gd name="adj" fmla="val 0"/>
              </a:avLst>
            </a:prstGeom>
            <a:solidFill>
              <a:schemeClr val="bg2">
                <a:lumMod val="50000"/>
              </a:schemeClr>
            </a:solidFill>
            <a:ln w="317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a:solidFill>
                  <a:srgbClr val="FFFFFF"/>
                </a:solidFill>
              </a:endParaRPr>
            </a:p>
          </p:txBody>
        </p:sp>
        <p:sp>
          <p:nvSpPr>
            <p:cNvPr id="65" name="矩形: 圆角 11">
              <a:extLst>
                <a:ext uri="{FF2B5EF4-FFF2-40B4-BE49-F238E27FC236}">
                  <a16:creationId xmlns:a16="http://schemas.microsoft.com/office/drawing/2014/main" xmlns="" id="{C3451C66-5290-4FCA-9CD2-03EF12BA9B72}"/>
                </a:ext>
              </a:extLst>
            </p:cNvPr>
            <p:cNvSpPr/>
            <p:nvPr/>
          </p:nvSpPr>
          <p:spPr>
            <a:xfrm>
              <a:off x="6863460" y="5286363"/>
              <a:ext cx="1537861" cy="1423966"/>
            </a:xfrm>
            <a:prstGeom prst="roundRect">
              <a:avLst>
                <a:gd name="adj" fmla="val 0"/>
              </a:avLst>
            </a:prstGeom>
            <a:solidFill>
              <a:schemeClr val="bg2">
                <a:lumMod val="50000"/>
              </a:schemeClr>
            </a:solidFill>
            <a:ln w="317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a:solidFill>
                  <a:srgbClr val="FFFFFF"/>
                </a:solidFill>
              </a:endParaRPr>
            </a:p>
          </p:txBody>
        </p:sp>
        <p:sp>
          <p:nvSpPr>
            <p:cNvPr id="66" name="矩形: 圆角 12">
              <a:extLst>
                <a:ext uri="{FF2B5EF4-FFF2-40B4-BE49-F238E27FC236}">
                  <a16:creationId xmlns:a16="http://schemas.microsoft.com/office/drawing/2014/main" xmlns="" id="{51E2680A-66D5-479E-8C30-1DE555A01516}"/>
                </a:ext>
              </a:extLst>
            </p:cNvPr>
            <p:cNvSpPr/>
            <p:nvPr/>
          </p:nvSpPr>
          <p:spPr>
            <a:xfrm>
              <a:off x="8542508" y="5285028"/>
              <a:ext cx="1537861" cy="1423966"/>
            </a:xfrm>
            <a:prstGeom prst="roundRect">
              <a:avLst>
                <a:gd name="adj" fmla="val 0"/>
              </a:avLst>
            </a:prstGeom>
            <a:solidFill>
              <a:schemeClr val="bg2">
                <a:lumMod val="50000"/>
              </a:schemeClr>
            </a:solidFill>
            <a:ln w="317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a:solidFill>
                  <a:srgbClr val="FFFFFF"/>
                </a:solidFill>
              </a:endParaRPr>
            </a:p>
          </p:txBody>
        </p:sp>
        <p:sp>
          <p:nvSpPr>
            <p:cNvPr id="67" name="矩形: 圆角 13">
              <a:extLst>
                <a:ext uri="{FF2B5EF4-FFF2-40B4-BE49-F238E27FC236}">
                  <a16:creationId xmlns:a16="http://schemas.microsoft.com/office/drawing/2014/main" xmlns="" id="{5641109C-731D-4240-A473-C33919741DF1}"/>
                </a:ext>
              </a:extLst>
            </p:cNvPr>
            <p:cNvSpPr/>
            <p:nvPr/>
          </p:nvSpPr>
          <p:spPr>
            <a:xfrm>
              <a:off x="10202107" y="5285028"/>
              <a:ext cx="1417805" cy="1423966"/>
            </a:xfrm>
            <a:prstGeom prst="roundRect">
              <a:avLst>
                <a:gd name="adj" fmla="val 0"/>
              </a:avLst>
            </a:prstGeom>
            <a:solidFill>
              <a:schemeClr val="bg2">
                <a:lumMod val="50000"/>
              </a:schemeClr>
            </a:solidFill>
            <a:ln w="3175">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a:solidFill>
                  <a:srgbClr val="FFFFFF"/>
                </a:solidFill>
              </a:endParaRPr>
            </a:p>
          </p:txBody>
        </p:sp>
        <p:grpSp>
          <p:nvGrpSpPr>
            <p:cNvPr id="68" name="组合 67">
              <a:extLst>
                <a:ext uri="{FF2B5EF4-FFF2-40B4-BE49-F238E27FC236}">
                  <a16:creationId xmlns:a16="http://schemas.microsoft.com/office/drawing/2014/main" xmlns="" id="{29E745D2-3E2D-401F-9E60-30E5AD5A8D38}"/>
                </a:ext>
              </a:extLst>
            </p:cNvPr>
            <p:cNvGrpSpPr/>
            <p:nvPr/>
          </p:nvGrpSpPr>
          <p:grpSpPr>
            <a:xfrm>
              <a:off x="9676829" y="2693447"/>
              <a:ext cx="1800002" cy="1981200"/>
              <a:chOff x="9235642" y="2532763"/>
              <a:chExt cx="1763852" cy="1952242"/>
            </a:xfrm>
            <a:solidFill>
              <a:schemeClr val="bg2">
                <a:lumMod val="50000"/>
              </a:schemeClr>
            </a:solidFill>
          </p:grpSpPr>
          <p:sp>
            <p:nvSpPr>
              <p:cNvPr id="69" name="矩形 68">
                <a:extLst>
                  <a:ext uri="{FF2B5EF4-FFF2-40B4-BE49-F238E27FC236}">
                    <a16:creationId xmlns:a16="http://schemas.microsoft.com/office/drawing/2014/main" xmlns="" id="{F333BC54-AB0C-4247-861A-A5A70D73DA0C}"/>
                  </a:ext>
                </a:extLst>
              </p:cNvPr>
              <p:cNvSpPr/>
              <p:nvPr/>
            </p:nvSpPr>
            <p:spPr>
              <a:xfrm>
                <a:off x="9235645" y="2533945"/>
                <a:ext cx="1763849" cy="1951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dirty="0">
                  <a:solidFill>
                    <a:srgbClr val="FFFFFF"/>
                  </a:solidFill>
                </a:endParaRPr>
              </a:p>
            </p:txBody>
          </p:sp>
          <p:sp>
            <p:nvSpPr>
              <p:cNvPr id="70" name="矩形 69">
                <a:extLst>
                  <a:ext uri="{FF2B5EF4-FFF2-40B4-BE49-F238E27FC236}">
                    <a16:creationId xmlns:a16="http://schemas.microsoft.com/office/drawing/2014/main" xmlns="" id="{E99463AD-B7F8-4DEE-A4FC-EEBCAE15FD62}"/>
                  </a:ext>
                </a:extLst>
              </p:cNvPr>
              <p:cNvSpPr/>
              <p:nvPr/>
            </p:nvSpPr>
            <p:spPr>
              <a:xfrm>
                <a:off x="9235642" y="2532763"/>
                <a:ext cx="1763850" cy="3010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smtClean="0">
                    <a:solidFill>
                      <a:srgbClr val="FFFFFF"/>
                    </a:solidFill>
                    <a:latin typeface="微软雅黑" panose="020B0503020204020204" pitchFamily="34" charset="-122"/>
                    <a:ea typeface="微软雅黑" panose="020B0503020204020204" pitchFamily="34" charset="-122"/>
                  </a:rPr>
                  <a:t>建设保障机制</a:t>
                </a:r>
                <a:r>
                  <a:rPr lang="zh-CN" altLang="en-US" sz="1428" b="1" dirty="0">
                    <a:solidFill>
                      <a:srgbClr val="FFFFFF"/>
                    </a:solidFill>
                    <a:latin typeface="微软雅黑" panose="020B0503020204020204" pitchFamily="34" charset="-122"/>
                    <a:ea typeface="微软雅黑" panose="020B0503020204020204" pitchFamily="34" charset="-122"/>
                  </a:rPr>
                  <a:t>规划</a:t>
                </a:r>
                <a:endParaRPr lang="en-US" altLang="zh-CN" sz="1428" b="1" dirty="0">
                  <a:solidFill>
                    <a:srgbClr val="FFFFFF"/>
                  </a:solidFill>
                  <a:latin typeface="微软雅黑" panose="020B0503020204020204" pitchFamily="34" charset="-122"/>
                  <a:ea typeface="微软雅黑" panose="020B0503020204020204" pitchFamily="34" charset="-122"/>
                </a:endParaRPr>
              </a:p>
            </p:txBody>
          </p:sp>
        </p:grpSp>
        <p:grpSp>
          <p:nvGrpSpPr>
            <p:cNvPr id="72" name="组合 71">
              <a:extLst>
                <a:ext uri="{FF2B5EF4-FFF2-40B4-BE49-F238E27FC236}">
                  <a16:creationId xmlns:a16="http://schemas.microsoft.com/office/drawing/2014/main" xmlns="" id="{50341B46-C329-4AA9-9F7C-AB677D525C00}"/>
                </a:ext>
              </a:extLst>
            </p:cNvPr>
            <p:cNvGrpSpPr/>
            <p:nvPr/>
          </p:nvGrpSpPr>
          <p:grpSpPr>
            <a:xfrm>
              <a:off x="1121453" y="2671942"/>
              <a:ext cx="1800873" cy="1980000"/>
              <a:chOff x="849151" y="2511572"/>
              <a:chExt cx="1996618" cy="1951060"/>
            </a:xfrm>
            <a:solidFill>
              <a:schemeClr val="bg2">
                <a:lumMod val="50000"/>
              </a:schemeClr>
            </a:solidFill>
          </p:grpSpPr>
          <p:sp>
            <p:nvSpPr>
              <p:cNvPr id="73" name="矩形 72">
                <a:extLst>
                  <a:ext uri="{FF2B5EF4-FFF2-40B4-BE49-F238E27FC236}">
                    <a16:creationId xmlns:a16="http://schemas.microsoft.com/office/drawing/2014/main" xmlns="" id="{D308297B-6809-4942-9A3A-B4771FB4CED0}"/>
                  </a:ext>
                </a:extLst>
              </p:cNvPr>
              <p:cNvSpPr/>
              <p:nvPr/>
            </p:nvSpPr>
            <p:spPr>
              <a:xfrm>
                <a:off x="849151" y="2511572"/>
                <a:ext cx="1995649" cy="1951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dirty="0">
                  <a:solidFill>
                    <a:srgbClr val="FFFFFF"/>
                  </a:solidFill>
                </a:endParaRPr>
              </a:p>
            </p:txBody>
          </p:sp>
          <p:sp>
            <p:nvSpPr>
              <p:cNvPr id="74" name="矩形 73">
                <a:extLst>
                  <a:ext uri="{FF2B5EF4-FFF2-40B4-BE49-F238E27FC236}">
                    <a16:creationId xmlns:a16="http://schemas.microsoft.com/office/drawing/2014/main" xmlns="" id="{66E97C14-EE48-4F97-B40F-5C5FB0011FD6}"/>
                  </a:ext>
                </a:extLst>
              </p:cNvPr>
              <p:cNvSpPr/>
              <p:nvPr/>
            </p:nvSpPr>
            <p:spPr>
              <a:xfrm>
                <a:off x="1142815" y="2908193"/>
                <a:ext cx="1396955" cy="152537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lnSpc>
                    <a:spcPct val="150000"/>
                  </a:lnSpc>
                </a:pPr>
                <a:r>
                  <a:rPr lang="en-US" altLang="zh-CN" sz="1200" dirty="0">
                    <a:solidFill>
                      <a:srgbClr val="FFFFFF"/>
                    </a:solidFill>
                    <a:latin typeface="微软雅黑" panose="020B0503020204020204" pitchFamily="34" charset="-122"/>
                    <a:ea typeface="微软雅黑" panose="020B0503020204020204" pitchFamily="34" charset="-122"/>
                  </a:rPr>
                  <a:t>5G</a:t>
                </a:r>
                <a:r>
                  <a:rPr lang="zh-CN" altLang="en-US" sz="1200" dirty="0">
                    <a:solidFill>
                      <a:srgbClr val="FFFFFF"/>
                    </a:solidFill>
                    <a:latin typeface="微软雅黑" panose="020B0503020204020204" pitchFamily="34" charset="-122"/>
                    <a:ea typeface="微软雅黑" panose="020B0503020204020204" pitchFamily="34" charset="-122"/>
                  </a:rPr>
                  <a:t>通信</a:t>
                </a:r>
                <a:endParaRPr lang="en-US" altLang="zh-CN" sz="1200" dirty="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a:solidFill>
                      <a:srgbClr val="FFFFFF"/>
                    </a:solidFill>
                    <a:latin typeface="微软雅黑" panose="020B0503020204020204" pitchFamily="34" charset="-122"/>
                    <a:ea typeface="微软雅黑" panose="020B0503020204020204" pitchFamily="34" charset="-122"/>
                  </a:rPr>
                  <a:t>物联网</a:t>
                </a:r>
                <a:endParaRPr lang="en-US" altLang="zh-CN" sz="1200" dirty="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a:solidFill>
                      <a:srgbClr val="FFFFFF"/>
                    </a:solidFill>
                    <a:latin typeface="微软雅黑" panose="020B0503020204020204" pitchFamily="34" charset="-122"/>
                    <a:ea typeface="微软雅黑" panose="020B0503020204020204" pitchFamily="34" charset="-122"/>
                  </a:rPr>
                  <a:t>云计算</a:t>
                </a:r>
                <a:endParaRPr lang="en-US" altLang="zh-CN" sz="1200" dirty="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a:solidFill>
                      <a:srgbClr val="FFFFFF"/>
                    </a:solidFill>
                    <a:latin typeface="微软雅黑" panose="020B0503020204020204" pitchFamily="34" charset="-122"/>
                    <a:ea typeface="微软雅黑" panose="020B0503020204020204" pitchFamily="34" charset="-122"/>
                  </a:rPr>
                  <a:t>数据中心</a:t>
                </a:r>
                <a:endParaRPr lang="en-US" altLang="zh-CN" sz="1200" dirty="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a:solidFill>
                      <a:srgbClr val="FFFFFF"/>
                    </a:solidFill>
                    <a:latin typeface="微软雅黑" panose="020B0503020204020204" pitchFamily="34" charset="-122"/>
                    <a:ea typeface="微软雅黑" panose="020B0503020204020204" pitchFamily="34" charset="-122"/>
                  </a:rPr>
                  <a:t>网络安全</a:t>
                </a:r>
                <a:endParaRPr lang="en-US" altLang="zh-CN" sz="1200" dirty="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en-US" altLang="zh-CN" sz="1200" dirty="0" smtClean="0">
                    <a:solidFill>
                      <a:srgbClr val="FFFFFF"/>
                    </a:solidFill>
                    <a:latin typeface="微软雅黑" panose="020B0503020204020204" pitchFamily="34" charset="-122"/>
                    <a:ea typeface="微软雅黑" panose="020B0503020204020204" pitchFamily="34" charset="-122"/>
                  </a:rPr>
                  <a:t>……</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76" name="矩形 75">
                <a:extLst>
                  <a:ext uri="{FF2B5EF4-FFF2-40B4-BE49-F238E27FC236}">
                    <a16:creationId xmlns:a16="http://schemas.microsoft.com/office/drawing/2014/main" xmlns="" id="{2EF2D1D3-85FF-4DB0-B74C-F105D5048955}"/>
                  </a:ext>
                </a:extLst>
              </p:cNvPr>
              <p:cNvSpPr/>
              <p:nvPr/>
            </p:nvSpPr>
            <p:spPr>
              <a:xfrm>
                <a:off x="850120" y="2532762"/>
                <a:ext cx="1995649" cy="3547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smtClean="0">
                    <a:solidFill>
                      <a:srgbClr val="FFFFFF"/>
                    </a:solidFill>
                    <a:latin typeface="微软雅黑" panose="020B0503020204020204" pitchFamily="34" charset="-122"/>
                    <a:ea typeface="微软雅黑" panose="020B0503020204020204" pitchFamily="34" charset="-122"/>
                  </a:rPr>
                  <a:t>信息基础设施规划</a:t>
                </a:r>
                <a:endParaRPr lang="en-US" altLang="zh-CN" sz="1428" b="1" dirty="0">
                  <a:solidFill>
                    <a:srgbClr val="FFFFFF"/>
                  </a:solidFill>
                  <a:latin typeface="微软雅黑" panose="020B0503020204020204" pitchFamily="34" charset="-122"/>
                  <a:ea typeface="微软雅黑" panose="020B0503020204020204" pitchFamily="34" charset="-122"/>
                </a:endParaRPr>
              </a:p>
            </p:txBody>
          </p:sp>
        </p:grpSp>
        <p:grpSp>
          <p:nvGrpSpPr>
            <p:cNvPr id="79" name="组合 78">
              <a:extLst>
                <a:ext uri="{FF2B5EF4-FFF2-40B4-BE49-F238E27FC236}">
                  <a16:creationId xmlns:a16="http://schemas.microsoft.com/office/drawing/2014/main" xmlns="" id="{13C9A648-3C98-4A30-9DAA-752467787C19}"/>
                </a:ext>
              </a:extLst>
            </p:cNvPr>
            <p:cNvGrpSpPr/>
            <p:nvPr/>
          </p:nvGrpSpPr>
          <p:grpSpPr>
            <a:xfrm>
              <a:off x="3255926" y="2671942"/>
              <a:ext cx="1804371" cy="1980000"/>
              <a:chOff x="3022426" y="2511572"/>
              <a:chExt cx="1818024" cy="1951060"/>
            </a:xfrm>
            <a:solidFill>
              <a:schemeClr val="bg2">
                <a:lumMod val="50000"/>
              </a:schemeClr>
            </a:solidFill>
          </p:grpSpPr>
          <p:sp>
            <p:nvSpPr>
              <p:cNvPr id="80" name="矩形 79">
                <a:extLst>
                  <a:ext uri="{FF2B5EF4-FFF2-40B4-BE49-F238E27FC236}">
                    <a16:creationId xmlns:a16="http://schemas.microsoft.com/office/drawing/2014/main" xmlns="" id="{0005D5DB-4E45-4162-B460-BF4B35752677}"/>
                  </a:ext>
                </a:extLst>
              </p:cNvPr>
              <p:cNvSpPr/>
              <p:nvPr/>
            </p:nvSpPr>
            <p:spPr>
              <a:xfrm>
                <a:off x="3026830" y="2511572"/>
                <a:ext cx="1813620" cy="1951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dirty="0">
                  <a:solidFill>
                    <a:srgbClr val="FFFFFF"/>
                  </a:solidFill>
                </a:endParaRPr>
              </a:p>
            </p:txBody>
          </p:sp>
          <p:sp>
            <p:nvSpPr>
              <p:cNvPr id="81" name="矩形 80">
                <a:extLst>
                  <a:ext uri="{FF2B5EF4-FFF2-40B4-BE49-F238E27FC236}">
                    <a16:creationId xmlns:a16="http://schemas.microsoft.com/office/drawing/2014/main" xmlns="" id="{AF5A7B7C-CAA4-439E-BBA6-A9C40CD75DC0}"/>
                  </a:ext>
                </a:extLst>
              </p:cNvPr>
              <p:cNvSpPr/>
              <p:nvPr/>
            </p:nvSpPr>
            <p:spPr>
              <a:xfrm>
                <a:off x="3022426" y="2532762"/>
                <a:ext cx="1813620" cy="3010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smtClean="0">
                    <a:solidFill>
                      <a:srgbClr val="FFFFFF"/>
                    </a:solidFill>
                    <a:latin typeface="微软雅黑" panose="020B0503020204020204" pitchFamily="34" charset="-122"/>
                    <a:ea typeface="微软雅黑" panose="020B0503020204020204" pitchFamily="34" charset="-122"/>
                  </a:rPr>
                  <a:t>管理信息系统规划</a:t>
                </a:r>
                <a:endParaRPr lang="en-US" altLang="zh-CN" sz="1428" b="1" dirty="0">
                  <a:solidFill>
                    <a:srgbClr val="FFFFFF"/>
                  </a:solidFill>
                  <a:latin typeface="微软雅黑" panose="020B0503020204020204" pitchFamily="34" charset="-122"/>
                  <a:ea typeface="微软雅黑" panose="020B0503020204020204" pitchFamily="34" charset="-122"/>
                </a:endParaRPr>
              </a:p>
            </p:txBody>
          </p:sp>
        </p:grpSp>
        <p:grpSp>
          <p:nvGrpSpPr>
            <p:cNvPr id="87" name="组合 86">
              <a:extLst>
                <a:ext uri="{FF2B5EF4-FFF2-40B4-BE49-F238E27FC236}">
                  <a16:creationId xmlns:a16="http://schemas.microsoft.com/office/drawing/2014/main" xmlns="" id="{27A9D610-07B4-4766-B92E-A5F5DE9DA0D3}"/>
                </a:ext>
              </a:extLst>
            </p:cNvPr>
            <p:cNvGrpSpPr/>
            <p:nvPr/>
          </p:nvGrpSpPr>
          <p:grpSpPr>
            <a:xfrm>
              <a:off x="5389528" y="2671942"/>
              <a:ext cx="1800000" cy="1980000"/>
              <a:chOff x="5169751" y="2511572"/>
              <a:chExt cx="1657493" cy="1951060"/>
            </a:xfrm>
            <a:solidFill>
              <a:schemeClr val="bg2">
                <a:lumMod val="50000"/>
              </a:schemeClr>
            </a:solidFill>
          </p:grpSpPr>
          <p:sp>
            <p:nvSpPr>
              <p:cNvPr id="88" name="矩形 87">
                <a:extLst>
                  <a:ext uri="{FF2B5EF4-FFF2-40B4-BE49-F238E27FC236}">
                    <a16:creationId xmlns:a16="http://schemas.microsoft.com/office/drawing/2014/main" xmlns="" id="{367F6268-3398-49C4-B58C-F63A9FAE570A}"/>
                  </a:ext>
                </a:extLst>
              </p:cNvPr>
              <p:cNvSpPr/>
              <p:nvPr/>
            </p:nvSpPr>
            <p:spPr>
              <a:xfrm>
                <a:off x="5169751" y="2511572"/>
                <a:ext cx="1657493" cy="1951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dirty="0">
                  <a:solidFill>
                    <a:srgbClr val="FFFFFF"/>
                  </a:solidFill>
                </a:endParaRPr>
              </a:p>
            </p:txBody>
          </p:sp>
          <p:sp>
            <p:nvSpPr>
              <p:cNvPr id="90" name="矩形 89">
                <a:extLst>
                  <a:ext uri="{FF2B5EF4-FFF2-40B4-BE49-F238E27FC236}">
                    <a16:creationId xmlns:a16="http://schemas.microsoft.com/office/drawing/2014/main" xmlns="" id="{FD77AD6A-2313-4764-9291-FD8772056292}"/>
                  </a:ext>
                </a:extLst>
              </p:cNvPr>
              <p:cNvSpPr/>
              <p:nvPr/>
            </p:nvSpPr>
            <p:spPr>
              <a:xfrm>
                <a:off x="5169751" y="2532762"/>
                <a:ext cx="1657493" cy="3010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smtClean="0">
                    <a:solidFill>
                      <a:srgbClr val="FFFFFF"/>
                    </a:solidFill>
                    <a:latin typeface="微软雅黑" panose="020B0503020204020204" pitchFamily="34" charset="-122"/>
                    <a:ea typeface="微软雅黑" panose="020B0503020204020204" pitchFamily="34" charset="-122"/>
                  </a:rPr>
                  <a:t>公共服务平台规划</a:t>
                </a:r>
                <a:endParaRPr lang="en-US" altLang="zh-CN" sz="1428" b="1" dirty="0">
                  <a:solidFill>
                    <a:srgbClr val="FFFFFF"/>
                  </a:solidFill>
                  <a:latin typeface="微软雅黑" panose="020B0503020204020204" pitchFamily="34" charset="-122"/>
                  <a:ea typeface="微软雅黑" panose="020B0503020204020204" pitchFamily="34" charset="-122"/>
                </a:endParaRPr>
              </a:p>
            </p:txBody>
          </p:sp>
        </p:grpSp>
        <p:grpSp>
          <p:nvGrpSpPr>
            <p:cNvPr id="93" name="组合 92">
              <a:extLst>
                <a:ext uri="{FF2B5EF4-FFF2-40B4-BE49-F238E27FC236}">
                  <a16:creationId xmlns:a16="http://schemas.microsoft.com/office/drawing/2014/main" xmlns="" id="{45217D4E-A575-45EE-9D5D-C743BD35697D}"/>
                </a:ext>
              </a:extLst>
            </p:cNvPr>
            <p:cNvGrpSpPr/>
            <p:nvPr/>
          </p:nvGrpSpPr>
          <p:grpSpPr>
            <a:xfrm>
              <a:off x="7523127" y="2671943"/>
              <a:ext cx="1800000" cy="1971612"/>
              <a:chOff x="7077049" y="2511572"/>
              <a:chExt cx="1652013" cy="1951060"/>
            </a:xfrm>
            <a:solidFill>
              <a:schemeClr val="bg2">
                <a:lumMod val="50000"/>
              </a:schemeClr>
            </a:solidFill>
          </p:grpSpPr>
          <p:sp>
            <p:nvSpPr>
              <p:cNvPr id="94" name="矩形 93">
                <a:extLst>
                  <a:ext uri="{FF2B5EF4-FFF2-40B4-BE49-F238E27FC236}">
                    <a16:creationId xmlns:a16="http://schemas.microsoft.com/office/drawing/2014/main" xmlns="" id="{A862EA03-5D06-4823-A060-DF8374DCA476}"/>
                  </a:ext>
                </a:extLst>
              </p:cNvPr>
              <p:cNvSpPr/>
              <p:nvPr/>
            </p:nvSpPr>
            <p:spPr>
              <a:xfrm>
                <a:off x="7077049" y="2511572"/>
                <a:ext cx="1652013" cy="19510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dirty="0">
                  <a:solidFill>
                    <a:srgbClr val="FFFFFF"/>
                  </a:solidFill>
                </a:endParaRPr>
              </a:p>
            </p:txBody>
          </p:sp>
          <p:sp>
            <p:nvSpPr>
              <p:cNvPr id="95" name="矩形 94">
                <a:extLst>
                  <a:ext uri="{FF2B5EF4-FFF2-40B4-BE49-F238E27FC236}">
                    <a16:creationId xmlns:a16="http://schemas.microsoft.com/office/drawing/2014/main" xmlns="" id="{2F24D7DF-73CD-4E4E-94F9-48780F53F2FE}"/>
                  </a:ext>
                </a:extLst>
              </p:cNvPr>
              <p:cNvSpPr/>
              <p:nvPr/>
            </p:nvSpPr>
            <p:spPr>
              <a:xfrm>
                <a:off x="7319344" y="2886130"/>
                <a:ext cx="1156409" cy="15318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lnSpc>
                    <a:spcPct val="150000"/>
                  </a:lnSpc>
                </a:pPr>
                <a:r>
                  <a:rPr lang="zh-CN" altLang="en-US" sz="1224" dirty="0" smtClean="0">
                    <a:solidFill>
                      <a:srgbClr val="FFFFFF"/>
                    </a:solidFill>
                    <a:latin typeface="微软雅黑" panose="020B0503020204020204" pitchFamily="34" charset="-122"/>
                    <a:ea typeface="微软雅黑" panose="020B0503020204020204" pitchFamily="34" charset="-122"/>
                  </a:rPr>
                  <a:t>工业互联</a:t>
                </a:r>
                <a:endParaRPr lang="en-US" altLang="zh-CN" sz="1224"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24" dirty="0" smtClean="0">
                    <a:solidFill>
                      <a:srgbClr val="FFFFFF"/>
                    </a:solidFill>
                    <a:latin typeface="微软雅黑" panose="020B0503020204020204" pitchFamily="34" charset="-122"/>
                    <a:ea typeface="微软雅黑" panose="020B0503020204020204" pitchFamily="34" charset="-122"/>
                  </a:rPr>
                  <a:t>智能制造</a:t>
                </a:r>
                <a:endParaRPr lang="en-US" altLang="zh-CN" sz="1224"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24" dirty="0" smtClean="0">
                    <a:solidFill>
                      <a:srgbClr val="FFFFFF"/>
                    </a:solidFill>
                    <a:latin typeface="微软雅黑" panose="020B0503020204020204" pitchFamily="34" charset="-122"/>
                    <a:ea typeface="微软雅黑" panose="020B0503020204020204" pitchFamily="34" charset="-122"/>
                  </a:rPr>
                  <a:t>智慧医疗</a:t>
                </a:r>
                <a:endParaRPr lang="en-US" altLang="zh-CN" sz="1224"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24" dirty="0" smtClean="0">
                    <a:solidFill>
                      <a:srgbClr val="FFFFFF"/>
                    </a:solidFill>
                    <a:latin typeface="微软雅黑" panose="020B0503020204020204" pitchFamily="34" charset="-122"/>
                    <a:ea typeface="微软雅黑" panose="020B0503020204020204" pitchFamily="34" charset="-122"/>
                  </a:rPr>
                  <a:t>未来社区</a:t>
                </a:r>
                <a:endParaRPr lang="en-US" altLang="zh-CN" sz="1224"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24" dirty="0" smtClean="0">
                    <a:solidFill>
                      <a:srgbClr val="FFFFFF"/>
                    </a:solidFill>
                    <a:latin typeface="微软雅黑" panose="020B0503020204020204" pitchFamily="34" charset="-122"/>
                    <a:ea typeface="微软雅黑" panose="020B0503020204020204" pitchFamily="34" charset="-122"/>
                  </a:rPr>
                  <a:t>智慧校园</a:t>
                </a:r>
                <a:endParaRPr lang="en-US" altLang="zh-CN" sz="1224"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en-US" altLang="zh-CN" sz="1224" dirty="0" smtClean="0">
                    <a:solidFill>
                      <a:srgbClr val="FFFFFF"/>
                    </a:solidFill>
                    <a:latin typeface="微软雅黑" panose="020B0503020204020204" pitchFamily="34" charset="-122"/>
                    <a:ea typeface="微软雅黑" panose="020B0503020204020204" pitchFamily="34" charset="-122"/>
                  </a:rPr>
                  <a:t>……</a:t>
                </a:r>
              </a:p>
            </p:txBody>
          </p:sp>
          <p:sp>
            <p:nvSpPr>
              <p:cNvPr id="96" name="矩形 95">
                <a:extLst>
                  <a:ext uri="{FF2B5EF4-FFF2-40B4-BE49-F238E27FC236}">
                    <a16:creationId xmlns:a16="http://schemas.microsoft.com/office/drawing/2014/main" xmlns="" id="{0BDFDA3D-A4C5-4D0D-A0E1-D83A9E6281D8}"/>
                  </a:ext>
                </a:extLst>
              </p:cNvPr>
              <p:cNvSpPr/>
              <p:nvPr/>
            </p:nvSpPr>
            <p:spPr>
              <a:xfrm>
                <a:off x="7077049" y="2532852"/>
                <a:ext cx="1652013" cy="30108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smtClean="0">
                    <a:solidFill>
                      <a:srgbClr val="FFFFFF"/>
                    </a:solidFill>
                    <a:latin typeface="微软雅黑" panose="020B0503020204020204" pitchFamily="34" charset="-122"/>
                    <a:ea typeface="微软雅黑" panose="020B0503020204020204" pitchFamily="34" charset="-122"/>
                  </a:rPr>
                  <a:t>业务支撑体系规划</a:t>
                </a:r>
                <a:endParaRPr lang="en-US" altLang="zh-CN" sz="1428" b="1" dirty="0">
                  <a:solidFill>
                    <a:srgbClr val="FFFFFF"/>
                  </a:solidFill>
                  <a:latin typeface="微软雅黑" panose="020B0503020204020204" pitchFamily="34" charset="-122"/>
                  <a:ea typeface="微软雅黑" panose="020B0503020204020204" pitchFamily="34" charset="-122"/>
                </a:endParaRPr>
              </a:p>
            </p:txBody>
          </p:sp>
        </p:grpSp>
        <p:sp>
          <p:nvSpPr>
            <p:cNvPr id="97" name="矩形 96">
              <a:extLst>
                <a:ext uri="{FF2B5EF4-FFF2-40B4-BE49-F238E27FC236}">
                  <a16:creationId xmlns:a16="http://schemas.microsoft.com/office/drawing/2014/main" xmlns="" id="{1D5163EC-8550-4780-A1C9-382974628571}"/>
                </a:ext>
              </a:extLst>
            </p:cNvPr>
            <p:cNvSpPr/>
            <p:nvPr/>
          </p:nvSpPr>
          <p:spPr>
            <a:xfrm>
              <a:off x="1137292" y="5697618"/>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集团云版本</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98" name="矩形 97">
              <a:extLst>
                <a:ext uri="{FF2B5EF4-FFF2-40B4-BE49-F238E27FC236}">
                  <a16:creationId xmlns:a16="http://schemas.microsoft.com/office/drawing/2014/main" xmlns="" id="{6DE49B22-D5C7-4A14-A41D-1A23860D16B7}"/>
                </a:ext>
              </a:extLst>
            </p:cNvPr>
            <p:cNvSpPr/>
            <p:nvPr/>
          </p:nvSpPr>
          <p:spPr>
            <a:xfrm>
              <a:off x="1137292" y="5960494"/>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伙伴云版本</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99" name="矩形 98">
              <a:extLst>
                <a:ext uri="{FF2B5EF4-FFF2-40B4-BE49-F238E27FC236}">
                  <a16:creationId xmlns:a16="http://schemas.microsoft.com/office/drawing/2014/main" xmlns="" id="{A343DCF0-8237-48B4-82B0-0B51EA4810CF}"/>
                </a:ext>
              </a:extLst>
            </p:cNvPr>
            <p:cNvSpPr/>
            <p:nvPr/>
          </p:nvSpPr>
          <p:spPr>
            <a:xfrm>
              <a:off x="1137292" y="6223369"/>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混合云版本</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0" name="矩形 99">
              <a:extLst>
                <a:ext uri="{FF2B5EF4-FFF2-40B4-BE49-F238E27FC236}">
                  <a16:creationId xmlns:a16="http://schemas.microsoft.com/office/drawing/2014/main" xmlns="" id="{B765117E-48DC-4D72-B910-18BB5B6B2FDB}"/>
                </a:ext>
              </a:extLst>
            </p:cNvPr>
            <p:cNvSpPr/>
            <p:nvPr/>
          </p:nvSpPr>
          <p:spPr>
            <a:xfrm>
              <a:off x="2881278" y="5712032"/>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en-US" altLang="zh-CN" sz="1224" dirty="0">
                  <a:solidFill>
                    <a:srgbClr val="FFFFFF"/>
                  </a:solidFill>
                  <a:latin typeface="微软雅黑" panose="020B0503020204020204" pitchFamily="34" charset="-122"/>
                  <a:ea typeface="微软雅黑" panose="020B0503020204020204" pitchFamily="34" charset="-122"/>
                </a:rPr>
                <a:t>SaaS</a:t>
              </a:r>
              <a:r>
                <a:rPr lang="zh-CN" altLang="en-US" sz="1224" dirty="0">
                  <a:solidFill>
                    <a:srgbClr val="FFFFFF"/>
                  </a:solidFill>
                  <a:latin typeface="微软雅黑" panose="020B0503020204020204" pitchFamily="34" charset="-122"/>
                  <a:ea typeface="微软雅黑" panose="020B0503020204020204" pitchFamily="34" charset="-122"/>
                </a:rPr>
                <a:t>版本</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1" name="矩形 100">
              <a:extLst>
                <a:ext uri="{FF2B5EF4-FFF2-40B4-BE49-F238E27FC236}">
                  <a16:creationId xmlns:a16="http://schemas.microsoft.com/office/drawing/2014/main" xmlns="" id="{41F33C4D-9EB3-4E85-9949-29BB51444741}"/>
                </a:ext>
              </a:extLst>
            </p:cNvPr>
            <p:cNvSpPr/>
            <p:nvPr/>
          </p:nvSpPr>
          <p:spPr>
            <a:xfrm>
              <a:off x="2881278" y="5974907"/>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混合云版本</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2" name="矩形 101">
              <a:extLst>
                <a:ext uri="{FF2B5EF4-FFF2-40B4-BE49-F238E27FC236}">
                  <a16:creationId xmlns:a16="http://schemas.microsoft.com/office/drawing/2014/main" xmlns="" id="{B1B34672-95E8-4D8B-B84A-51EB05E1C36D}"/>
                </a:ext>
              </a:extLst>
            </p:cNvPr>
            <p:cNvSpPr/>
            <p:nvPr/>
          </p:nvSpPr>
          <p:spPr>
            <a:xfrm>
              <a:off x="2881278" y="6237783"/>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安全版本</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3" name="矩形 102">
              <a:extLst>
                <a:ext uri="{FF2B5EF4-FFF2-40B4-BE49-F238E27FC236}">
                  <a16:creationId xmlns:a16="http://schemas.microsoft.com/office/drawing/2014/main" xmlns="" id="{D331208E-1E68-41BA-A0E2-F107FDFFE75A}"/>
                </a:ext>
              </a:extLst>
            </p:cNvPr>
            <p:cNvSpPr/>
            <p:nvPr/>
          </p:nvSpPr>
          <p:spPr>
            <a:xfrm>
              <a:off x="4524848" y="5626893"/>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应用管理平台</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4" name="矩形 103">
              <a:extLst>
                <a:ext uri="{FF2B5EF4-FFF2-40B4-BE49-F238E27FC236}">
                  <a16:creationId xmlns:a16="http://schemas.microsoft.com/office/drawing/2014/main" xmlns="" id="{9D5B4427-66A1-4482-BB5B-F3E1A1165D64}"/>
                </a:ext>
              </a:extLst>
            </p:cNvPr>
            <p:cNvSpPr/>
            <p:nvPr/>
          </p:nvSpPr>
          <p:spPr>
            <a:xfrm>
              <a:off x="4524848" y="5885654"/>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应用效能平台</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5" name="矩形 104">
              <a:extLst>
                <a:ext uri="{FF2B5EF4-FFF2-40B4-BE49-F238E27FC236}">
                  <a16:creationId xmlns:a16="http://schemas.microsoft.com/office/drawing/2014/main" xmlns="" id="{06F68E3B-A28C-4DF3-937D-9B198806823A}"/>
                </a:ext>
              </a:extLst>
            </p:cNvPr>
            <p:cNvSpPr/>
            <p:nvPr/>
          </p:nvSpPr>
          <p:spPr>
            <a:xfrm>
              <a:off x="4524848" y="6144416"/>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应用运行平台</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6" name="矩形 105">
              <a:extLst>
                <a:ext uri="{FF2B5EF4-FFF2-40B4-BE49-F238E27FC236}">
                  <a16:creationId xmlns:a16="http://schemas.microsoft.com/office/drawing/2014/main" xmlns="" id="{D33604A6-335F-449E-A33F-FBFECCDAB36D}"/>
                </a:ext>
              </a:extLst>
            </p:cNvPr>
            <p:cNvSpPr/>
            <p:nvPr/>
          </p:nvSpPr>
          <p:spPr>
            <a:xfrm>
              <a:off x="4524848" y="6403177"/>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应用开发平台</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7" name="矩形 106">
              <a:extLst>
                <a:ext uri="{FF2B5EF4-FFF2-40B4-BE49-F238E27FC236}">
                  <a16:creationId xmlns:a16="http://schemas.microsoft.com/office/drawing/2014/main" xmlns="" id="{2E22FF36-8367-4C8E-A901-4E4890629820}"/>
                </a:ext>
              </a:extLst>
            </p:cNvPr>
            <p:cNvSpPr/>
            <p:nvPr/>
          </p:nvSpPr>
          <p:spPr>
            <a:xfrm>
              <a:off x="7072143" y="5654289"/>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云迁移</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8" name="矩形 107">
              <a:extLst>
                <a:ext uri="{FF2B5EF4-FFF2-40B4-BE49-F238E27FC236}">
                  <a16:creationId xmlns:a16="http://schemas.microsoft.com/office/drawing/2014/main" xmlns="" id="{9A24B73B-5CC2-44A6-AA27-4EF9DBFC2FEF}"/>
                </a:ext>
              </a:extLst>
            </p:cNvPr>
            <p:cNvSpPr/>
            <p:nvPr/>
          </p:nvSpPr>
          <p:spPr>
            <a:xfrm>
              <a:off x="7072143" y="5917164"/>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云容灾</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09" name="矩形 108">
              <a:extLst>
                <a:ext uri="{FF2B5EF4-FFF2-40B4-BE49-F238E27FC236}">
                  <a16:creationId xmlns:a16="http://schemas.microsoft.com/office/drawing/2014/main" xmlns="" id="{58E4A9EB-9A35-4730-8561-C36B186E1F4B}"/>
                </a:ext>
              </a:extLst>
            </p:cNvPr>
            <p:cNvSpPr/>
            <p:nvPr/>
          </p:nvSpPr>
          <p:spPr>
            <a:xfrm>
              <a:off x="7072143" y="6180040"/>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云原生</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10" name="矩形 109">
              <a:extLst>
                <a:ext uri="{FF2B5EF4-FFF2-40B4-BE49-F238E27FC236}">
                  <a16:creationId xmlns:a16="http://schemas.microsoft.com/office/drawing/2014/main" xmlns="" id="{7F9E1DA0-E79C-4C4C-9B38-973FB6A1A053}"/>
                </a:ext>
              </a:extLst>
            </p:cNvPr>
            <p:cNvSpPr/>
            <p:nvPr/>
          </p:nvSpPr>
          <p:spPr>
            <a:xfrm>
              <a:off x="8730404" y="5583285"/>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企业版</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11" name="矩形 110">
              <a:extLst>
                <a:ext uri="{FF2B5EF4-FFF2-40B4-BE49-F238E27FC236}">
                  <a16:creationId xmlns:a16="http://schemas.microsoft.com/office/drawing/2014/main" xmlns="" id="{7C0BD80A-A62D-4270-9655-DCA49023E8E2}"/>
                </a:ext>
              </a:extLst>
            </p:cNvPr>
            <p:cNvSpPr/>
            <p:nvPr/>
          </p:nvSpPr>
          <p:spPr>
            <a:xfrm>
              <a:off x="8730404" y="5842046"/>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专业版</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12" name="矩形 111">
              <a:extLst>
                <a:ext uri="{FF2B5EF4-FFF2-40B4-BE49-F238E27FC236}">
                  <a16:creationId xmlns:a16="http://schemas.microsoft.com/office/drawing/2014/main" xmlns="" id="{F6B6B871-D194-4DD8-A3A6-5C3488B343BC}"/>
                </a:ext>
              </a:extLst>
            </p:cNvPr>
            <p:cNvSpPr/>
            <p:nvPr/>
          </p:nvSpPr>
          <p:spPr>
            <a:xfrm>
              <a:off x="8730404" y="6100808"/>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旗舰版</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13" name="矩形 112">
              <a:extLst>
                <a:ext uri="{FF2B5EF4-FFF2-40B4-BE49-F238E27FC236}">
                  <a16:creationId xmlns:a16="http://schemas.microsoft.com/office/drawing/2014/main" xmlns="" id="{984ED008-0355-4373-8846-61664867A89D}"/>
                </a:ext>
              </a:extLst>
            </p:cNvPr>
            <p:cNvSpPr/>
            <p:nvPr/>
          </p:nvSpPr>
          <p:spPr>
            <a:xfrm>
              <a:off x="8730404" y="6359569"/>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定制版</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14" name="矩形 113">
              <a:extLst>
                <a:ext uri="{FF2B5EF4-FFF2-40B4-BE49-F238E27FC236}">
                  <a16:creationId xmlns:a16="http://schemas.microsoft.com/office/drawing/2014/main" xmlns="" id="{6C9A54AE-6787-4D4E-8DFE-45CCC5C9CF51}"/>
                </a:ext>
              </a:extLst>
            </p:cNvPr>
            <p:cNvSpPr/>
            <p:nvPr/>
          </p:nvSpPr>
          <p:spPr>
            <a:xfrm>
              <a:off x="10322993" y="5663807"/>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线上运营</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15" name="矩形 114">
              <a:extLst>
                <a:ext uri="{FF2B5EF4-FFF2-40B4-BE49-F238E27FC236}">
                  <a16:creationId xmlns:a16="http://schemas.microsoft.com/office/drawing/2014/main" xmlns="" id="{73951D01-E323-42AE-B468-DCEDFA4FC711}"/>
                </a:ext>
              </a:extLst>
            </p:cNvPr>
            <p:cNvSpPr/>
            <p:nvPr/>
          </p:nvSpPr>
          <p:spPr>
            <a:xfrm>
              <a:off x="10322993" y="5909801"/>
              <a:ext cx="1172575" cy="3071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224" dirty="0">
                  <a:solidFill>
                    <a:srgbClr val="FFFFFF"/>
                  </a:solidFill>
                  <a:latin typeface="微软雅黑" panose="020B0503020204020204" pitchFamily="34" charset="-122"/>
                  <a:ea typeface="微软雅黑" panose="020B0503020204020204" pitchFamily="34" charset="-122"/>
                </a:rPr>
                <a:t>线下运营</a:t>
              </a:r>
              <a:endParaRPr lang="en-US" altLang="zh-CN" sz="1224" dirty="0">
                <a:solidFill>
                  <a:srgbClr val="FFFFFF"/>
                </a:solidFill>
                <a:latin typeface="微软雅黑" panose="020B0503020204020204" pitchFamily="34" charset="-122"/>
                <a:ea typeface="微软雅黑" panose="020B0503020204020204" pitchFamily="34" charset="-122"/>
              </a:endParaRPr>
            </a:p>
          </p:txBody>
        </p:sp>
        <p:sp>
          <p:nvSpPr>
            <p:cNvPr id="116" name="iconfont-11262-5326857">
              <a:extLst>
                <a:ext uri="{FF2B5EF4-FFF2-40B4-BE49-F238E27FC236}">
                  <a16:creationId xmlns:a16="http://schemas.microsoft.com/office/drawing/2014/main" xmlns="" id="{D52C1B36-46BD-48AF-89D5-4BCEB0A81708}"/>
                </a:ext>
              </a:extLst>
            </p:cNvPr>
            <p:cNvSpPr/>
            <p:nvPr/>
          </p:nvSpPr>
          <p:spPr>
            <a:xfrm>
              <a:off x="6142512" y="5518014"/>
              <a:ext cx="477849" cy="460038"/>
            </a:xfrm>
            <a:custGeom>
              <a:avLst/>
              <a:gdLst>
                <a:gd name="connsiteX0" fmla="*/ 299429 w 450667"/>
                <a:gd name="connsiteY0" fmla="*/ 206535 h 450667"/>
                <a:gd name="connsiteX1" fmla="*/ 431620 w 450667"/>
                <a:gd name="connsiteY1" fmla="*/ 206535 h 450667"/>
                <a:gd name="connsiteX2" fmla="*/ 450667 w 450667"/>
                <a:gd name="connsiteY2" fmla="*/ 225582 h 450667"/>
                <a:gd name="connsiteX3" fmla="*/ 431620 w 450667"/>
                <a:gd name="connsiteY3" fmla="*/ 244628 h 450667"/>
                <a:gd name="connsiteX4" fmla="*/ 299429 w 450667"/>
                <a:gd name="connsiteY4" fmla="*/ 244628 h 450667"/>
                <a:gd name="connsiteX5" fmla="*/ 280381 w 450667"/>
                <a:gd name="connsiteY5" fmla="*/ 225582 h 450667"/>
                <a:gd name="connsiteX6" fmla="*/ 299429 w 450667"/>
                <a:gd name="connsiteY6" fmla="*/ 206535 h 450667"/>
                <a:gd name="connsiteX7" fmla="*/ 19048 w 450667"/>
                <a:gd name="connsiteY7" fmla="*/ 206535 h 450667"/>
                <a:gd name="connsiteX8" fmla="*/ 206535 w 450667"/>
                <a:gd name="connsiteY8" fmla="*/ 206535 h 450667"/>
                <a:gd name="connsiteX9" fmla="*/ 206535 w 450667"/>
                <a:gd name="connsiteY9" fmla="*/ 244628 h 450667"/>
                <a:gd name="connsiteX10" fmla="*/ 19048 w 450667"/>
                <a:gd name="connsiteY10" fmla="*/ 244628 h 450667"/>
                <a:gd name="connsiteX11" fmla="*/ 0 w 450667"/>
                <a:gd name="connsiteY11" fmla="*/ 225582 h 450667"/>
                <a:gd name="connsiteX12" fmla="*/ 19048 w 450667"/>
                <a:gd name="connsiteY12" fmla="*/ 206535 h 450667"/>
                <a:gd name="connsiteX13" fmla="*/ 225582 w 450667"/>
                <a:gd name="connsiteY13" fmla="*/ 0 h 450667"/>
                <a:gd name="connsiteX14" fmla="*/ 244628 w 450667"/>
                <a:gd name="connsiteY14" fmla="*/ 19048 h 450667"/>
                <a:gd name="connsiteX15" fmla="*/ 244628 w 450667"/>
                <a:gd name="connsiteY15" fmla="*/ 431619 h 450667"/>
                <a:gd name="connsiteX16" fmla="*/ 225582 w 450667"/>
                <a:gd name="connsiteY16" fmla="*/ 450667 h 450667"/>
                <a:gd name="connsiteX17" fmla="*/ 206535 w 450667"/>
                <a:gd name="connsiteY17" fmla="*/ 431619 h 450667"/>
                <a:gd name="connsiteX18" fmla="*/ 206535 w 450667"/>
                <a:gd name="connsiteY18" fmla="*/ 244628 h 450667"/>
                <a:gd name="connsiteX19" fmla="*/ 224381 w 450667"/>
                <a:gd name="connsiteY19" fmla="*/ 244628 h 450667"/>
                <a:gd name="connsiteX20" fmla="*/ 243429 w 450667"/>
                <a:gd name="connsiteY20" fmla="*/ 225582 h 450667"/>
                <a:gd name="connsiteX21" fmla="*/ 224381 w 450667"/>
                <a:gd name="connsiteY21" fmla="*/ 206535 h 450667"/>
                <a:gd name="connsiteX22" fmla="*/ 206535 w 450667"/>
                <a:gd name="connsiteY22" fmla="*/ 206535 h 450667"/>
                <a:gd name="connsiteX23" fmla="*/ 206535 w 450667"/>
                <a:gd name="connsiteY23" fmla="*/ 19048 h 450667"/>
                <a:gd name="connsiteX24" fmla="*/ 225582 w 450667"/>
                <a:gd name="connsiteY24" fmla="*/ 0 h 45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50667" h="450667">
                  <a:moveTo>
                    <a:pt x="299429" y="206535"/>
                  </a:moveTo>
                  <a:lnTo>
                    <a:pt x="431620" y="206535"/>
                  </a:lnTo>
                  <a:cubicBezTo>
                    <a:pt x="442286" y="206535"/>
                    <a:pt x="450667" y="214915"/>
                    <a:pt x="450667" y="225582"/>
                  </a:cubicBezTo>
                  <a:cubicBezTo>
                    <a:pt x="450667" y="236248"/>
                    <a:pt x="442286" y="244628"/>
                    <a:pt x="431620" y="244628"/>
                  </a:cubicBezTo>
                  <a:lnTo>
                    <a:pt x="299429" y="244628"/>
                  </a:lnTo>
                  <a:cubicBezTo>
                    <a:pt x="288762" y="244628"/>
                    <a:pt x="280381" y="236248"/>
                    <a:pt x="280381" y="225582"/>
                  </a:cubicBezTo>
                  <a:cubicBezTo>
                    <a:pt x="280381" y="214915"/>
                    <a:pt x="288762" y="206535"/>
                    <a:pt x="299429" y="206535"/>
                  </a:cubicBezTo>
                  <a:close/>
                  <a:moveTo>
                    <a:pt x="19048" y="206535"/>
                  </a:moveTo>
                  <a:lnTo>
                    <a:pt x="206535" y="206535"/>
                  </a:lnTo>
                  <a:lnTo>
                    <a:pt x="206535" y="244628"/>
                  </a:lnTo>
                  <a:lnTo>
                    <a:pt x="19048" y="244628"/>
                  </a:lnTo>
                  <a:cubicBezTo>
                    <a:pt x="8381" y="244628"/>
                    <a:pt x="0" y="236248"/>
                    <a:pt x="0" y="225582"/>
                  </a:cubicBezTo>
                  <a:cubicBezTo>
                    <a:pt x="0" y="214915"/>
                    <a:pt x="8381" y="206535"/>
                    <a:pt x="19048" y="206535"/>
                  </a:cubicBezTo>
                  <a:close/>
                  <a:moveTo>
                    <a:pt x="225582" y="0"/>
                  </a:moveTo>
                  <a:cubicBezTo>
                    <a:pt x="236248" y="0"/>
                    <a:pt x="244628" y="8381"/>
                    <a:pt x="244628" y="19048"/>
                  </a:cubicBezTo>
                  <a:lnTo>
                    <a:pt x="244628" y="431619"/>
                  </a:lnTo>
                  <a:cubicBezTo>
                    <a:pt x="244628" y="442286"/>
                    <a:pt x="235867" y="450667"/>
                    <a:pt x="225582" y="450667"/>
                  </a:cubicBezTo>
                  <a:cubicBezTo>
                    <a:pt x="214916" y="450667"/>
                    <a:pt x="206535" y="442286"/>
                    <a:pt x="206535" y="431619"/>
                  </a:cubicBezTo>
                  <a:lnTo>
                    <a:pt x="206535" y="244628"/>
                  </a:lnTo>
                  <a:lnTo>
                    <a:pt x="224381" y="244628"/>
                  </a:lnTo>
                  <a:cubicBezTo>
                    <a:pt x="235048" y="244628"/>
                    <a:pt x="243429" y="236248"/>
                    <a:pt x="243429" y="225582"/>
                  </a:cubicBezTo>
                  <a:cubicBezTo>
                    <a:pt x="243429" y="214915"/>
                    <a:pt x="235048" y="206535"/>
                    <a:pt x="224381" y="206535"/>
                  </a:cubicBezTo>
                  <a:lnTo>
                    <a:pt x="206535" y="206535"/>
                  </a:lnTo>
                  <a:lnTo>
                    <a:pt x="206535" y="19048"/>
                  </a:lnTo>
                  <a:cubicBezTo>
                    <a:pt x="206535" y="8381"/>
                    <a:pt x="214916" y="0"/>
                    <a:pt x="225582" y="0"/>
                  </a:cubicBezTo>
                  <a:close/>
                </a:path>
              </a:pathLst>
            </a:custGeom>
            <a:solidFill>
              <a:schemeClr val="bg2">
                <a:lumMod val="50000"/>
              </a:schemeClr>
            </a:soli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282" tIns="46641" rIns="93282" bIns="46641" numCol="1" spcCol="0" rtlCol="0" fromWordArt="0" anchor="ctr" anchorCtr="0" forceAA="0" compatLnSpc="1">
              <a:normAutofit/>
            </a:bodyPr>
            <a:lstStyle/>
            <a:p>
              <a:pPr algn="ctr" defTabSz="466390"/>
              <a:endParaRPr lang="en-US" sz="1428" b="1">
                <a:solidFill>
                  <a:srgbClr val="FFFFFF"/>
                </a:solidFill>
                <a:latin typeface="微软雅黑" panose="020B0503020204020204" pitchFamily="34" charset="-122"/>
                <a:ea typeface="微软雅黑" panose="020B0503020204020204" pitchFamily="34" charset="-122"/>
              </a:endParaRPr>
            </a:p>
          </p:txBody>
        </p:sp>
        <p:sp>
          <p:nvSpPr>
            <p:cNvPr id="117" name="矩形 116">
              <a:extLst>
                <a:ext uri="{FF2B5EF4-FFF2-40B4-BE49-F238E27FC236}">
                  <a16:creationId xmlns:a16="http://schemas.microsoft.com/office/drawing/2014/main" xmlns="" id="{E8F06F1F-247C-4C68-9F5B-E9A09C58C1BF}"/>
                </a:ext>
              </a:extLst>
            </p:cNvPr>
            <p:cNvSpPr/>
            <p:nvPr/>
          </p:nvSpPr>
          <p:spPr>
            <a:xfrm>
              <a:off x="980356" y="5369538"/>
              <a:ext cx="1537861" cy="265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a:solidFill>
                    <a:srgbClr val="FFFFFF"/>
                  </a:solidFill>
                  <a:latin typeface="微软雅黑" panose="020B0503020204020204" pitchFamily="34" charset="-122"/>
                  <a:ea typeface="微软雅黑" panose="020B0503020204020204" pitchFamily="34" charset="-122"/>
                </a:rPr>
                <a:t>商业生态云平台</a:t>
              </a:r>
            </a:p>
          </p:txBody>
        </p:sp>
        <p:sp>
          <p:nvSpPr>
            <p:cNvPr id="118" name="矩形 117">
              <a:extLst>
                <a:ext uri="{FF2B5EF4-FFF2-40B4-BE49-F238E27FC236}">
                  <a16:creationId xmlns:a16="http://schemas.microsoft.com/office/drawing/2014/main" xmlns="" id="{4E1FCEFD-6394-4C4D-BA93-3D72FAA5FF90}"/>
                </a:ext>
              </a:extLst>
            </p:cNvPr>
            <p:cNvSpPr/>
            <p:nvPr/>
          </p:nvSpPr>
          <p:spPr>
            <a:xfrm>
              <a:off x="2656744" y="5369538"/>
              <a:ext cx="1537861" cy="265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a:solidFill>
                    <a:srgbClr val="FFFFFF"/>
                  </a:solidFill>
                  <a:latin typeface="微软雅黑" panose="020B0503020204020204" pitchFamily="34" charset="-122"/>
                  <a:ea typeface="微软雅黑" panose="020B0503020204020204" pitchFamily="34" charset="-122"/>
                </a:rPr>
                <a:t>多云管理平台</a:t>
              </a:r>
            </a:p>
          </p:txBody>
        </p:sp>
        <p:sp>
          <p:nvSpPr>
            <p:cNvPr id="119" name="矩形 118">
              <a:extLst>
                <a:ext uri="{FF2B5EF4-FFF2-40B4-BE49-F238E27FC236}">
                  <a16:creationId xmlns:a16="http://schemas.microsoft.com/office/drawing/2014/main" xmlns="" id="{805588E7-5560-41AE-8BC5-2499CC20BC37}"/>
                </a:ext>
              </a:extLst>
            </p:cNvPr>
            <p:cNvSpPr/>
            <p:nvPr/>
          </p:nvSpPr>
          <p:spPr>
            <a:xfrm>
              <a:off x="4316344" y="5369538"/>
              <a:ext cx="1540523" cy="265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a:solidFill>
                    <a:srgbClr val="FFFFFF"/>
                  </a:solidFill>
                  <a:latin typeface="微软雅黑" panose="020B0503020204020204" pitchFamily="34" charset="-122"/>
                  <a:ea typeface="微软雅黑" panose="020B0503020204020204" pitchFamily="34" charset="-122"/>
                </a:rPr>
                <a:t>云原生应用平台</a:t>
              </a:r>
            </a:p>
          </p:txBody>
        </p:sp>
        <p:sp>
          <p:nvSpPr>
            <p:cNvPr id="120" name="矩形 119">
              <a:extLst>
                <a:ext uri="{FF2B5EF4-FFF2-40B4-BE49-F238E27FC236}">
                  <a16:creationId xmlns:a16="http://schemas.microsoft.com/office/drawing/2014/main" xmlns="" id="{9ADC4CA4-F9A9-4817-956E-0CE489C50D62}"/>
                </a:ext>
              </a:extLst>
            </p:cNvPr>
            <p:cNvSpPr/>
            <p:nvPr/>
          </p:nvSpPr>
          <p:spPr>
            <a:xfrm>
              <a:off x="6863460" y="5369538"/>
              <a:ext cx="1537861" cy="265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a:solidFill>
                    <a:srgbClr val="FFFFFF"/>
                  </a:solidFill>
                  <a:latin typeface="微软雅黑" panose="020B0503020204020204" pitchFamily="34" charset="-122"/>
                  <a:ea typeface="微软雅黑" panose="020B0503020204020204" pitchFamily="34" charset="-122"/>
                </a:rPr>
                <a:t>云专业服务</a:t>
              </a:r>
            </a:p>
          </p:txBody>
        </p:sp>
        <p:sp>
          <p:nvSpPr>
            <p:cNvPr id="121" name="矩形 120">
              <a:extLst>
                <a:ext uri="{FF2B5EF4-FFF2-40B4-BE49-F238E27FC236}">
                  <a16:creationId xmlns:a16="http://schemas.microsoft.com/office/drawing/2014/main" xmlns="" id="{FCF1FD83-B2B9-4234-BFB4-19F530A5BE9D}"/>
                </a:ext>
              </a:extLst>
            </p:cNvPr>
            <p:cNvSpPr/>
            <p:nvPr/>
          </p:nvSpPr>
          <p:spPr>
            <a:xfrm>
              <a:off x="8542508" y="5369538"/>
              <a:ext cx="1537861" cy="265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a:solidFill>
                    <a:srgbClr val="FFFFFF"/>
                  </a:solidFill>
                  <a:latin typeface="微软雅黑" panose="020B0503020204020204" pitchFamily="34" charset="-122"/>
                  <a:ea typeface="微软雅黑" panose="020B0503020204020204" pitchFamily="34" charset="-122"/>
                </a:rPr>
                <a:t>云管理服务</a:t>
              </a:r>
            </a:p>
          </p:txBody>
        </p:sp>
        <p:sp>
          <p:nvSpPr>
            <p:cNvPr id="122" name="矩形 121">
              <a:extLst>
                <a:ext uri="{FF2B5EF4-FFF2-40B4-BE49-F238E27FC236}">
                  <a16:creationId xmlns:a16="http://schemas.microsoft.com/office/drawing/2014/main" xmlns="" id="{769FCB72-102B-4DEC-A7E3-54D320B8CBA1}"/>
                </a:ext>
              </a:extLst>
            </p:cNvPr>
            <p:cNvSpPr/>
            <p:nvPr/>
          </p:nvSpPr>
          <p:spPr>
            <a:xfrm>
              <a:off x="10169733" y="5369880"/>
              <a:ext cx="1518412" cy="2653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428" b="1" dirty="0">
                  <a:solidFill>
                    <a:srgbClr val="FFFFFF"/>
                  </a:solidFill>
                  <a:latin typeface="微软雅黑" panose="020B0503020204020204" pitchFamily="34" charset="-122"/>
                  <a:ea typeface="微软雅黑" panose="020B0503020204020204" pitchFamily="34" charset="-122"/>
                </a:rPr>
                <a:t>云运营服务</a:t>
              </a:r>
            </a:p>
          </p:txBody>
        </p:sp>
        <p:sp>
          <p:nvSpPr>
            <p:cNvPr id="137" name="矩形 136">
              <a:extLst>
                <a:ext uri="{FF2B5EF4-FFF2-40B4-BE49-F238E27FC236}">
                  <a16:creationId xmlns:a16="http://schemas.microsoft.com/office/drawing/2014/main" xmlns="" id="{EA090138-25BA-40AB-96A9-AE60ECFE0A74}"/>
                </a:ext>
              </a:extLst>
            </p:cNvPr>
            <p:cNvSpPr/>
            <p:nvPr/>
          </p:nvSpPr>
          <p:spPr>
            <a:xfrm>
              <a:off x="793977" y="1844233"/>
              <a:ext cx="11013879" cy="605802"/>
            </a:xfrm>
            <a:prstGeom prst="rect">
              <a:avLst/>
            </a:prstGeom>
            <a:solidFill>
              <a:schemeClr val="bg2">
                <a:lumMod val="75000"/>
                <a:alpha val="50000"/>
              </a:schemeClr>
            </a:solidFill>
            <a:ln w="12700" cap="flat" cmpd="sng" algn="ctr">
              <a:noFill/>
              <a:prstDash val="dash"/>
            </a:ln>
            <a:effectLst/>
          </p:spPr>
          <p:txBody>
            <a:bodyPr rtlCol="0" anchor="ctr"/>
            <a:lstStyle/>
            <a:p>
              <a:pPr algn="ctr" defTabSz="1236876"/>
              <a:endParaRPr lang="zh-CN" altLang="en-US" sz="102" kern="0" dirty="0">
                <a:solidFill>
                  <a:schemeClr val="bg2">
                    <a:lumMod val="25000"/>
                  </a:schemeClr>
                </a:solidFill>
                <a:latin typeface="微软雅黑" panose="020B0503020204020204" pitchFamily="34" charset="-122"/>
                <a:ea typeface="微软雅黑" panose="020B0503020204020204" pitchFamily="34" charset="-122"/>
                <a:cs typeface="Segoe UI" pitchFamily="34" charset="0"/>
              </a:endParaRPr>
            </a:p>
          </p:txBody>
        </p:sp>
        <p:sp>
          <p:nvSpPr>
            <p:cNvPr id="140" name="矩形 139">
              <a:extLst>
                <a:ext uri="{FF2B5EF4-FFF2-40B4-BE49-F238E27FC236}">
                  <a16:creationId xmlns:a16="http://schemas.microsoft.com/office/drawing/2014/main" xmlns="" id="{196E9708-2E8D-45F7-BA1A-6254DFEEBBC4}"/>
                </a:ext>
              </a:extLst>
            </p:cNvPr>
            <p:cNvSpPr/>
            <p:nvPr/>
          </p:nvSpPr>
          <p:spPr>
            <a:xfrm>
              <a:off x="4280634" y="1931446"/>
              <a:ext cx="1800000" cy="432000"/>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600" b="1" dirty="0">
                  <a:solidFill>
                    <a:schemeClr val="bg2">
                      <a:lumMod val="25000"/>
                    </a:schemeClr>
                  </a:solidFill>
                  <a:latin typeface="微软雅黑" panose="020B0503020204020204" pitchFamily="34" charset="-122"/>
                  <a:ea typeface="微软雅黑" panose="020B0503020204020204" pitchFamily="34" charset="-122"/>
                </a:rPr>
                <a:t>顶层规划</a:t>
              </a:r>
              <a:endParaRPr lang="en-US" altLang="zh-CN" sz="1600" b="1" dirty="0">
                <a:solidFill>
                  <a:schemeClr val="bg2">
                    <a:lumMod val="25000"/>
                  </a:schemeClr>
                </a:solidFill>
                <a:latin typeface="微软雅黑" panose="020B0503020204020204" pitchFamily="34" charset="-122"/>
                <a:ea typeface="微软雅黑" panose="020B0503020204020204" pitchFamily="34" charset="-122"/>
              </a:endParaRPr>
            </a:p>
          </p:txBody>
        </p:sp>
        <p:sp>
          <p:nvSpPr>
            <p:cNvPr id="141" name="矩形 140">
              <a:extLst>
                <a:ext uri="{FF2B5EF4-FFF2-40B4-BE49-F238E27FC236}">
                  <a16:creationId xmlns:a16="http://schemas.microsoft.com/office/drawing/2014/main" xmlns="" id="{468EF155-62E8-4AFB-A1CE-E0E91C1852D1}"/>
                </a:ext>
              </a:extLst>
            </p:cNvPr>
            <p:cNvSpPr/>
            <p:nvPr/>
          </p:nvSpPr>
          <p:spPr>
            <a:xfrm>
              <a:off x="6810987" y="1931446"/>
              <a:ext cx="1800000" cy="432000"/>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600" b="1" dirty="0">
                  <a:solidFill>
                    <a:schemeClr val="bg2">
                      <a:lumMod val="25000"/>
                    </a:schemeClr>
                  </a:solidFill>
                  <a:latin typeface="微软雅黑" panose="020B0503020204020204" pitchFamily="34" charset="-122"/>
                  <a:ea typeface="微软雅黑" panose="020B0503020204020204" pitchFamily="34" charset="-122"/>
                </a:rPr>
                <a:t>专项规划</a:t>
              </a:r>
              <a:endParaRPr lang="en-US" altLang="zh-CN" sz="1600" b="1" dirty="0">
                <a:solidFill>
                  <a:schemeClr val="bg2">
                    <a:lumMod val="25000"/>
                  </a:schemeClr>
                </a:solidFill>
                <a:latin typeface="微软雅黑" panose="020B0503020204020204" pitchFamily="34" charset="-122"/>
                <a:ea typeface="微软雅黑" panose="020B0503020204020204" pitchFamily="34" charset="-122"/>
              </a:endParaRPr>
            </a:p>
          </p:txBody>
        </p:sp>
        <p:sp>
          <p:nvSpPr>
            <p:cNvPr id="142" name="矩形 141">
              <a:extLst>
                <a:ext uri="{FF2B5EF4-FFF2-40B4-BE49-F238E27FC236}">
                  <a16:creationId xmlns:a16="http://schemas.microsoft.com/office/drawing/2014/main" xmlns="" id="{0009258F-8261-4B50-BCA6-3131A9D1C8C6}"/>
                </a:ext>
              </a:extLst>
            </p:cNvPr>
            <p:cNvSpPr/>
            <p:nvPr/>
          </p:nvSpPr>
          <p:spPr>
            <a:xfrm>
              <a:off x="9341341" y="1931446"/>
              <a:ext cx="1800000" cy="432000"/>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600" b="1" dirty="0" smtClean="0">
                  <a:solidFill>
                    <a:schemeClr val="bg2">
                      <a:lumMod val="25000"/>
                    </a:schemeClr>
                  </a:solidFill>
                  <a:latin typeface="微软雅黑" panose="020B0503020204020204" pitchFamily="34" charset="-122"/>
                  <a:ea typeface="微软雅黑" panose="020B0503020204020204" pitchFamily="34" charset="-122"/>
                </a:rPr>
                <a:t>详细设计</a:t>
              </a:r>
              <a:endParaRPr lang="en-US" altLang="zh-CN" sz="1600" b="1" dirty="0">
                <a:solidFill>
                  <a:schemeClr val="bg2">
                    <a:lumMod val="25000"/>
                  </a:schemeClr>
                </a:solidFill>
                <a:latin typeface="微软雅黑" panose="020B0503020204020204" pitchFamily="34" charset="-122"/>
                <a:ea typeface="微软雅黑" panose="020B0503020204020204" pitchFamily="34" charset="-122"/>
              </a:endParaRPr>
            </a:p>
          </p:txBody>
        </p:sp>
        <p:sp>
          <p:nvSpPr>
            <p:cNvPr id="143" name="矩形 142">
              <a:extLst>
                <a:ext uri="{FF2B5EF4-FFF2-40B4-BE49-F238E27FC236}">
                  <a16:creationId xmlns:a16="http://schemas.microsoft.com/office/drawing/2014/main" xmlns="" id="{549FDD7F-D144-47A0-B70B-17995775F1D9}"/>
                </a:ext>
              </a:extLst>
            </p:cNvPr>
            <p:cNvSpPr/>
            <p:nvPr/>
          </p:nvSpPr>
          <p:spPr>
            <a:xfrm>
              <a:off x="1750281" y="1931446"/>
              <a:ext cx="1800000" cy="432000"/>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r>
                <a:rPr lang="zh-CN" altLang="en-US" sz="1600" b="1" dirty="0" smtClean="0">
                  <a:solidFill>
                    <a:schemeClr val="bg2">
                      <a:lumMod val="25000"/>
                    </a:schemeClr>
                  </a:solidFill>
                  <a:latin typeface="微软雅黑" panose="020B0503020204020204" pitchFamily="34" charset="-122"/>
                  <a:ea typeface="微软雅黑" panose="020B0503020204020204" pitchFamily="34" charset="-122"/>
                </a:rPr>
                <a:t>需求分析</a:t>
              </a:r>
              <a:endParaRPr lang="en-US" altLang="zh-CN" sz="1600" b="1" dirty="0">
                <a:solidFill>
                  <a:schemeClr val="bg2">
                    <a:lumMod val="25000"/>
                  </a:schemeClr>
                </a:solidFill>
                <a:latin typeface="微软雅黑" panose="020B0503020204020204" pitchFamily="34" charset="-122"/>
                <a:ea typeface="微软雅黑" panose="020B0503020204020204" pitchFamily="34" charset="-122"/>
              </a:endParaRPr>
            </a:p>
          </p:txBody>
        </p:sp>
        <p:sp>
          <p:nvSpPr>
            <p:cNvPr id="146" name="箭头: 五边形 95">
              <a:extLst>
                <a:ext uri="{FF2B5EF4-FFF2-40B4-BE49-F238E27FC236}">
                  <a16:creationId xmlns:a16="http://schemas.microsoft.com/office/drawing/2014/main" xmlns="" id="{534BA471-CE76-4EF6-BE6D-3FE77F001BC7}"/>
                </a:ext>
              </a:extLst>
            </p:cNvPr>
            <p:cNvSpPr/>
            <p:nvPr/>
          </p:nvSpPr>
          <p:spPr>
            <a:xfrm rot="16200000">
              <a:off x="5935283" y="-4127306"/>
              <a:ext cx="731270" cy="11013880"/>
            </a:xfrm>
            <a:prstGeom prst="homePlate">
              <a:avLst>
                <a:gd name="adj" fmla="val 86779"/>
              </a:avLst>
            </a:prstGeom>
            <a:solidFill>
              <a:schemeClr val="bg2">
                <a:lumMod val="25000"/>
              </a:schemeClr>
            </a:solidFill>
          </p:spPr>
          <p:txBody>
            <a:bodyPr vert="eaVert" lIns="132210" tIns="0" rIns="0" bIns="0" rtlCol="0" anchor="ctr" anchorCtr="1"/>
            <a:lstStyle/>
            <a:p>
              <a:pPr algn="ctr" defTabSz="932779">
                <a:defRPr/>
              </a:pPr>
              <a:endParaRPr lang="zh-CN" altLang="en-US" sz="1428" b="1" kern="0" dirty="0">
                <a:solidFill>
                  <a:srgbClr val="FFFFFF"/>
                </a:solidFill>
                <a:latin typeface="微软雅黑" panose="020B0503020204020204" pitchFamily="34" charset="-122"/>
                <a:ea typeface="微软雅黑" panose="020B0503020204020204" pitchFamily="34" charset="-122"/>
                <a:sym typeface="+mn-ea"/>
              </a:endParaRPr>
            </a:p>
          </p:txBody>
        </p:sp>
        <p:sp>
          <p:nvSpPr>
            <p:cNvPr id="147" name="矩形 146">
              <a:extLst>
                <a:ext uri="{FF2B5EF4-FFF2-40B4-BE49-F238E27FC236}">
                  <a16:creationId xmlns:a16="http://schemas.microsoft.com/office/drawing/2014/main" xmlns="" id="{A717705C-4A6A-49AE-A9DB-C6EF22D40A7D}"/>
                </a:ext>
              </a:extLst>
            </p:cNvPr>
            <p:cNvSpPr/>
            <p:nvPr/>
          </p:nvSpPr>
          <p:spPr>
            <a:xfrm>
              <a:off x="2569925" y="1135856"/>
              <a:ext cx="7477369" cy="54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79">
                <a:lnSpc>
                  <a:spcPct val="150000"/>
                </a:lnSpc>
                <a:defRPr/>
              </a:pPr>
              <a:r>
                <a:rPr lang="zh-CN" altLang="en-US" sz="1600" b="1" kern="0" dirty="0" smtClean="0">
                  <a:solidFill>
                    <a:srgbClr val="FFFFFF"/>
                  </a:solidFill>
                  <a:latin typeface="微软雅黑" panose="020B0503020204020204" pitchFamily="34" charset="-122"/>
                  <a:ea typeface="微软雅黑" panose="020B0503020204020204" pitchFamily="34" charset="-122"/>
                  <a:sym typeface="+mn-ea"/>
                </a:rPr>
                <a:t>中软国际智慧园区咨询服务</a:t>
              </a:r>
              <a:endParaRPr lang="en-US" altLang="zh-CN" sz="1600" b="1" kern="0" dirty="0" smtClean="0">
                <a:solidFill>
                  <a:srgbClr val="FFFFFF"/>
                </a:solidFill>
                <a:latin typeface="微软雅黑" panose="020B0503020204020204" pitchFamily="34" charset="-122"/>
                <a:ea typeface="微软雅黑" panose="020B0503020204020204" pitchFamily="34" charset="-122"/>
                <a:sym typeface="+mn-ea"/>
              </a:endParaRPr>
            </a:p>
            <a:p>
              <a:pPr algn="ctr" defTabSz="932779">
                <a:defRPr/>
              </a:pPr>
              <a:r>
                <a:rPr lang="zh-CN" altLang="en-US" sz="1400" kern="0" dirty="0" smtClean="0">
                  <a:solidFill>
                    <a:srgbClr val="FFFFFF"/>
                  </a:solidFill>
                  <a:latin typeface="微软雅黑" panose="020B0503020204020204" pitchFamily="34" charset="-122"/>
                  <a:ea typeface="微软雅黑" panose="020B0503020204020204" pitchFamily="34" charset="-122"/>
                  <a:sym typeface="+mn-ea"/>
                </a:rPr>
                <a:t>（产业园区、制造园区、医院、社区、校园、场馆、综合体）</a:t>
              </a:r>
              <a:endParaRPr lang="en-US" altLang="zh-CN" sz="1400" kern="0" dirty="0">
                <a:solidFill>
                  <a:srgbClr val="FFFFFF"/>
                </a:solidFill>
                <a:latin typeface="微软雅黑" panose="020B0503020204020204" pitchFamily="34" charset="-122"/>
                <a:ea typeface="微软雅黑" panose="020B0503020204020204" pitchFamily="34" charset="-122"/>
                <a:sym typeface="+mn-ea"/>
              </a:endParaRPr>
            </a:p>
          </p:txBody>
        </p:sp>
        <p:sp>
          <p:nvSpPr>
            <p:cNvPr id="148" name="矩形 147">
              <a:extLst>
                <a:ext uri="{FF2B5EF4-FFF2-40B4-BE49-F238E27FC236}">
                  <a16:creationId xmlns:a16="http://schemas.microsoft.com/office/drawing/2014/main" xmlns="" id="{66E97C14-EE48-4F97-B40F-5C5FB0011FD6}"/>
                </a:ext>
              </a:extLst>
            </p:cNvPr>
            <p:cNvSpPr/>
            <p:nvPr/>
          </p:nvSpPr>
          <p:spPr>
            <a:xfrm>
              <a:off x="3519927" y="3074446"/>
              <a:ext cx="1260000" cy="15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便捷通行</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综合安防</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资产管理</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设施运维</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能源环境</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en-US" altLang="zh-CN" sz="1200" dirty="0" smtClean="0">
                  <a:solidFill>
                    <a:srgbClr val="FFFFFF"/>
                  </a:solidFill>
                  <a:latin typeface="微软雅黑" panose="020B0503020204020204" pitchFamily="34" charset="-122"/>
                  <a:ea typeface="微软雅黑" panose="020B0503020204020204" pitchFamily="34" charset="-122"/>
                </a:rPr>
                <a:t>……</a:t>
              </a:r>
              <a:endParaRPr lang="zh-CN" altLang="en-US" sz="1200" dirty="0">
                <a:solidFill>
                  <a:srgbClr val="FFFFFF"/>
                </a:solidFill>
                <a:latin typeface="微软雅黑" panose="020B0503020204020204" pitchFamily="34" charset="-122"/>
                <a:ea typeface="微软雅黑" panose="020B0503020204020204" pitchFamily="34" charset="-122"/>
              </a:endParaRPr>
            </a:p>
          </p:txBody>
        </p:sp>
        <p:sp>
          <p:nvSpPr>
            <p:cNvPr id="149" name="矩形 148">
              <a:extLst>
                <a:ext uri="{FF2B5EF4-FFF2-40B4-BE49-F238E27FC236}">
                  <a16:creationId xmlns:a16="http://schemas.microsoft.com/office/drawing/2014/main" xmlns="" id="{66E97C14-EE48-4F97-B40F-5C5FB0011FD6}"/>
                </a:ext>
              </a:extLst>
            </p:cNvPr>
            <p:cNvSpPr/>
            <p:nvPr/>
          </p:nvSpPr>
          <p:spPr>
            <a:xfrm>
              <a:off x="5653527" y="3050446"/>
              <a:ext cx="1260000" cy="15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数字办公</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a:solidFill>
                    <a:srgbClr val="FFFFFF"/>
                  </a:solidFill>
                  <a:latin typeface="微软雅黑" panose="020B0503020204020204" pitchFamily="34" charset="-122"/>
                  <a:ea typeface="微软雅黑" panose="020B0503020204020204" pitchFamily="34" charset="-122"/>
                </a:rPr>
                <a:t>企业</a:t>
              </a:r>
              <a:r>
                <a:rPr lang="zh-CN" altLang="en-US" sz="1200" dirty="0" smtClean="0">
                  <a:solidFill>
                    <a:srgbClr val="FFFFFF"/>
                  </a:solidFill>
                  <a:latin typeface="微软雅黑" panose="020B0503020204020204" pitchFamily="34" charset="-122"/>
                  <a:ea typeface="微软雅黑" panose="020B0503020204020204" pitchFamily="34" charset="-122"/>
                </a:rPr>
                <a:t>服务</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电子商务</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智慧生活</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a:solidFill>
                    <a:srgbClr val="FFFFFF"/>
                  </a:solidFill>
                  <a:latin typeface="微软雅黑" panose="020B0503020204020204" pitchFamily="34" charset="-122"/>
                  <a:ea typeface="微软雅黑" panose="020B0503020204020204" pitchFamily="34" charset="-122"/>
                </a:rPr>
                <a:t>智慧</a:t>
              </a:r>
              <a:r>
                <a:rPr lang="zh-CN" altLang="en-US" sz="1200" dirty="0" smtClean="0">
                  <a:solidFill>
                    <a:srgbClr val="FFFFFF"/>
                  </a:solidFill>
                  <a:latin typeface="微软雅黑" panose="020B0503020204020204" pitchFamily="34" charset="-122"/>
                  <a:ea typeface="微软雅黑" panose="020B0503020204020204" pitchFamily="34" charset="-122"/>
                </a:rPr>
                <a:t>政务</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en-US" altLang="zh-CN" sz="1200" dirty="0" smtClean="0">
                  <a:solidFill>
                    <a:srgbClr val="FFFFFF"/>
                  </a:solidFill>
                  <a:latin typeface="微软雅黑" panose="020B0503020204020204" pitchFamily="34" charset="-122"/>
                  <a:ea typeface="微软雅黑" panose="020B0503020204020204" pitchFamily="34" charset="-122"/>
                </a:rPr>
                <a:t>……</a:t>
              </a:r>
            </a:p>
          </p:txBody>
        </p:sp>
        <p:sp>
          <p:nvSpPr>
            <p:cNvPr id="150" name="矩形 149">
              <a:extLst>
                <a:ext uri="{FF2B5EF4-FFF2-40B4-BE49-F238E27FC236}">
                  <a16:creationId xmlns:a16="http://schemas.microsoft.com/office/drawing/2014/main" xmlns="" id="{66E97C14-EE48-4F97-B40F-5C5FB0011FD6}"/>
                </a:ext>
              </a:extLst>
            </p:cNvPr>
            <p:cNvSpPr/>
            <p:nvPr/>
          </p:nvSpPr>
          <p:spPr>
            <a:xfrm>
              <a:off x="9920727" y="3023200"/>
              <a:ext cx="1260000" cy="154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组织体系</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人才支撑</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项目管理</a:t>
              </a:r>
              <a:endParaRPr lang="en-US" altLang="zh-CN" sz="1200" dirty="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资金安排</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zh-CN" altLang="en-US" sz="1200" dirty="0" smtClean="0">
                  <a:solidFill>
                    <a:srgbClr val="FFFFFF"/>
                  </a:solidFill>
                  <a:latin typeface="微软雅黑" panose="020B0503020204020204" pitchFamily="34" charset="-122"/>
                  <a:ea typeface="微软雅黑" panose="020B0503020204020204" pitchFamily="34" charset="-122"/>
                </a:rPr>
                <a:t>生态合作</a:t>
              </a:r>
              <a:endParaRPr lang="en-US" altLang="zh-CN" sz="1200" dirty="0" smtClean="0">
                <a:solidFill>
                  <a:srgbClr val="FFFFFF"/>
                </a:solidFill>
                <a:latin typeface="微软雅黑" panose="020B0503020204020204" pitchFamily="34" charset="-122"/>
                <a:ea typeface="微软雅黑" panose="020B0503020204020204" pitchFamily="34" charset="-122"/>
              </a:endParaRPr>
            </a:p>
            <a:p>
              <a:pPr algn="ctr" defTabSz="466390">
                <a:lnSpc>
                  <a:spcPct val="150000"/>
                </a:lnSpc>
              </a:pPr>
              <a:r>
                <a:rPr lang="en-US" altLang="zh-CN" sz="1200" dirty="0" smtClean="0">
                  <a:solidFill>
                    <a:srgbClr val="FFFFFF"/>
                  </a:solidFill>
                  <a:latin typeface="微软雅黑" panose="020B0503020204020204" pitchFamily="34" charset="-122"/>
                  <a:ea typeface="微软雅黑" panose="020B0503020204020204" pitchFamily="34" charset="-122"/>
                </a:rPr>
                <a:t>……</a:t>
              </a:r>
            </a:p>
          </p:txBody>
        </p:sp>
      </p:grpSp>
    </p:spTree>
    <p:extLst>
      <p:ext uri="{BB962C8B-B14F-4D97-AF65-F5344CB8AC3E}">
        <p14:creationId xmlns:p14="http://schemas.microsoft.com/office/powerpoint/2010/main" val="10339823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智慧</a:t>
            </a:r>
            <a:r>
              <a:rPr lang="zh-CN" altLang="en-US" dirty="0"/>
              <a:t>园区</a:t>
            </a:r>
            <a:r>
              <a:rPr lang="zh-CN" altLang="en-US" dirty="0" smtClean="0"/>
              <a:t>典型案例</a:t>
            </a:r>
            <a:endParaRPr lang="zh-CN" altLang="en-US" dirty="0"/>
          </a:p>
        </p:txBody>
      </p:sp>
      <p:sp>
        <p:nvSpPr>
          <p:cNvPr id="75" name="文本框 7">
            <a:extLst>
              <a:ext uri="{FF2B5EF4-FFF2-40B4-BE49-F238E27FC236}">
                <a16:creationId xmlns:a16="http://schemas.microsoft.com/office/drawing/2014/main" xmlns="" id="{D05EC2FB-F344-42F3-830A-53291E3FDEBA}"/>
              </a:ext>
            </a:extLst>
          </p:cNvPr>
          <p:cNvSpPr txBox="1"/>
          <p:nvPr/>
        </p:nvSpPr>
        <p:spPr>
          <a:xfrm>
            <a:off x="565608" y="1922144"/>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时代中国数据</a:t>
            </a:r>
            <a:r>
              <a:rPr lang="zh-CN" altLang="en-US" sz="1400" kern="0" spc="51" dirty="0" smtClean="0">
                <a:solidFill>
                  <a:schemeClr val="bg2">
                    <a:lumMod val="25000"/>
                  </a:schemeClr>
                </a:solidFill>
              </a:rPr>
              <a:t>标准</a:t>
            </a:r>
            <a:endParaRPr lang="en-US" altLang="zh-CN" sz="1400" kern="0" spc="51" dirty="0" smtClean="0">
              <a:solidFill>
                <a:schemeClr val="bg2">
                  <a:lumMod val="25000"/>
                </a:schemeClr>
              </a:solidFill>
            </a:endParaRPr>
          </a:p>
          <a:p>
            <a:pPr defTabSz="932734">
              <a:defRPr/>
            </a:pPr>
            <a:r>
              <a:rPr lang="zh-CN" altLang="en-US" sz="1400" kern="0" spc="51" dirty="0" smtClean="0">
                <a:solidFill>
                  <a:schemeClr val="bg2">
                    <a:lumMod val="25000"/>
                  </a:schemeClr>
                </a:solidFill>
              </a:rPr>
              <a:t>咨询服务</a:t>
            </a:r>
            <a:endParaRPr lang="zh-CN" altLang="en-US" sz="1400" kern="0" spc="51" dirty="0">
              <a:solidFill>
                <a:schemeClr val="bg2">
                  <a:lumMod val="25000"/>
                </a:schemeClr>
              </a:solidFill>
            </a:endParaRPr>
          </a:p>
        </p:txBody>
      </p:sp>
      <p:pic>
        <p:nvPicPr>
          <p:cNvPr id="77" name="Picture 26" descr="C:\Users\nelsone-pc01\Desktop\手环\4.png">
            <a:extLst>
              <a:ext uri="{FF2B5EF4-FFF2-40B4-BE49-F238E27FC236}">
                <a16:creationId xmlns:a16="http://schemas.microsoft.com/office/drawing/2014/main" xmlns="" id="{3A959180-8A11-4C7A-9C13-BE495C19E8B9}"/>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448029" y="2248975"/>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78" name="文本框 77">
            <a:extLst>
              <a:ext uri="{FF2B5EF4-FFF2-40B4-BE49-F238E27FC236}">
                <a16:creationId xmlns:a16="http://schemas.microsoft.com/office/drawing/2014/main" xmlns="" id="{6B584A74-AD76-4F73-A57E-1D872BF4C22D}"/>
              </a:ext>
            </a:extLst>
          </p:cNvPr>
          <p:cNvSpPr txBox="1"/>
          <p:nvPr/>
        </p:nvSpPr>
        <p:spPr>
          <a:xfrm>
            <a:off x="2810189" y="1922144"/>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辽宁艾特斯智慧楼宇</a:t>
            </a:r>
          </a:p>
        </p:txBody>
      </p:sp>
      <p:pic>
        <p:nvPicPr>
          <p:cNvPr id="82" name="Picture 26" descr="C:\Users\nelsone-pc01\Desktop\手环\4.png">
            <a:extLst>
              <a:ext uri="{FF2B5EF4-FFF2-40B4-BE49-F238E27FC236}">
                <a16:creationId xmlns:a16="http://schemas.microsoft.com/office/drawing/2014/main" xmlns="" id="{30FF01EB-2F5F-4493-80F0-85DB0251C838}"/>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2692610" y="2248975"/>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83" name="文本框 7">
            <a:extLst>
              <a:ext uri="{FF2B5EF4-FFF2-40B4-BE49-F238E27FC236}">
                <a16:creationId xmlns:a16="http://schemas.microsoft.com/office/drawing/2014/main" xmlns="" id="{DBF02C4F-5D83-49BD-A4A9-B419CD748415}"/>
              </a:ext>
            </a:extLst>
          </p:cNvPr>
          <p:cNvSpPr txBox="1"/>
          <p:nvPr/>
        </p:nvSpPr>
        <p:spPr>
          <a:xfrm>
            <a:off x="5052827" y="1922144"/>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西安奥体中心智慧园区</a:t>
            </a:r>
          </a:p>
        </p:txBody>
      </p:sp>
      <p:pic>
        <p:nvPicPr>
          <p:cNvPr id="84" name="Picture 26" descr="C:\Users\nelsone-pc01\Desktop\手环\4.png">
            <a:extLst>
              <a:ext uri="{FF2B5EF4-FFF2-40B4-BE49-F238E27FC236}">
                <a16:creationId xmlns:a16="http://schemas.microsoft.com/office/drawing/2014/main" xmlns="" id="{E7B62D5A-C8B8-4F4E-8DDD-0B9C4954BAEF}"/>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4935249" y="2248975"/>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85" name="文本框 7">
            <a:extLst>
              <a:ext uri="{FF2B5EF4-FFF2-40B4-BE49-F238E27FC236}">
                <a16:creationId xmlns:a16="http://schemas.microsoft.com/office/drawing/2014/main" xmlns="" id="{BB618D61-29B6-451C-9F85-3629E114C6D5}"/>
              </a:ext>
            </a:extLst>
          </p:cNvPr>
          <p:cNvSpPr txBox="1"/>
          <p:nvPr/>
        </p:nvSpPr>
        <p:spPr>
          <a:xfrm>
            <a:off x="7291578" y="1922144"/>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北控水</a:t>
            </a:r>
            <a:r>
              <a:rPr lang="zh-CN" altLang="en-US" sz="1400" kern="0" spc="51" dirty="0" smtClean="0">
                <a:solidFill>
                  <a:schemeClr val="bg2">
                    <a:lumMod val="25000"/>
                  </a:schemeClr>
                </a:solidFill>
              </a:rPr>
              <a:t>务管理数字化</a:t>
            </a:r>
            <a:endParaRPr lang="en-US" altLang="zh-CN" sz="1400" kern="0" spc="51" dirty="0" smtClean="0">
              <a:solidFill>
                <a:schemeClr val="bg2">
                  <a:lumMod val="25000"/>
                </a:schemeClr>
              </a:solidFill>
            </a:endParaRPr>
          </a:p>
          <a:p>
            <a:pPr defTabSz="932734">
              <a:defRPr/>
            </a:pPr>
            <a:r>
              <a:rPr lang="zh-CN" altLang="en-US" sz="1400" kern="0" spc="51" dirty="0" smtClean="0">
                <a:solidFill>
                  <a:schemeClr val="bg2">
                    <a:lumMod val="25000"/>
                  </a:schemeClr>
                </a:solidFill>
              </a:rPr>
              <a:t>规划</a:t>
            </a:r>
            <a:r>
              <a:rPr lang="zh-CN" altLang="en-US" sz="1400" kern="0" spc="51" dirty="0">
                <a:solidFill>
                  <a:schemeClr val="bg2">
                    <a:lumMod val="25000"/>
                  </a:schemeClr>
                </a:solidFill>
              </a:rPr>
              <a:t>咨询</a:t>
            </a:r>
            <a:endParaRPr lang="zh-CN" altLang="en-US" sz="1400" kern="0" spc="51" dirty="0">
              <a:solidFill>
                <a:schemeClr val="bg2">
                  <a:lumMod val="25000"/>
                </a:schemeClr>
              </a:solidFill>
            </a:endParaRPr>
          </a:p>
        </p:txBody>
      </p:sp>
      <p:pic>
        <p:nvPicPr>
          <p:cNvPr id="86" name="Picture 26" descr="C:\Users\nelsone-pc01\Desktop\手环\4.png">
            <a:extLst>
              <a:ext uri="{FF2B5EF4-FFF2-40B4-BE49-F238E27FC236}">
                <a16:creationId xmlns:a16="http://schemas.microsoft.com/office/drawing/2014/main" xmlns="" id="{D9431EC9-5948-4CAD-8B65-FCA70CE7845B}"/>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7174000" y="2248975"/>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89" name="文本框 7">
            <a:extLst>
              <a:ext uri="{FF2B5EF4-FFF2-40B4-BE49-F238E27FC236}">
                <a16:creationId xmlns:a16="http://schemas.microsoft.com/office/drawing/2014/main" xmlns="" id="{FE87C678-B976-4C75-AFF9-CC7EC532A292}"/>
              </a:ext>
            </a:extLst>
          </p:cNvPr>
          <p:cNvSpPr txBox="1"/>
          <p:nvPr/>
        </p:nvSpPr>
        <p:spPr>
          <a:xfrm>
            <a:off x="565608" y="1223210"/>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香港启</a:t>
            </a:r>
            <a:r>
              <a:rPr lang="zh-CN" altLang="en-US" sz="1400" kern="0" spc="51" dirty="0" smtClean="0">
                <a:solidFill>
                  <a:schemeClr val="bg2">
                    <a:lumMod val="25000"/>
                  </a:schemeClr>
                </a:solidFill>
              </a:rPr>
              <a:t>徳园区咨询设计</a:t>
            </a:r>
            <a:endParaRPr lang="zh-CN" altLang="en-US" sz="1400" kern="0" spc="51" dirty="0">
              <a:solidFill>
                <a:schemeClr val="bg2">
                  <a:lumMod val="25000"/>
                </a:schemeClr>
              </a:solidFill>
            </a:endParaRPr>
          </a:p>
        </p:txBody>
      </p:sp>
      <p:pic>
        <p:nvPicPr>
          <p:cNvPr id="91" name="Picture 26" descr="C:\Users\nelsone-pc01\Desktop\手环\4.png">
            <a:extLst>
              <a:ext uri="{FF2B5EF4-FFF2-40B4-BE49-F238E27FC236}">
                <a16:creationId xmlns:a16="http://schemas.microsoft.com/office/drawing/2014/main" xmlns="" id="{3BECD711-8562-40FE-A3DB-1A3F898049D8}"/>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448029" y="1554600"/>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92" name="文本框 7">
            <a:extLst>
              <a:ext uri="{FF2B5EF4-FFF2-40B4-BE49-F238E27FC236}">
                <a16:creationId xmlns:a16="http://schemas.microsoft.com/office/drawing/2014/main" xmlns="" id="{78E39C2F-E329-4DF6-92AF-01F0F6A0F306}"/>
              </a:ext>
            </a:extLst>
          </p:cNvPr>
          <p:cNvSpPr txBox="1"/>
          <p:nvPr/>
        </p:nvSpPr>
        <p:spPr>
          <a:xfrm>
            <a:off x="2810189" y="1223210"/>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smtClean="0">
                <a:solidFill>
                  <a:schemeClr val="bg2">
                    <a:lumMod val="25000"/>
                  </a:schemeClr>
                </a:solidFill>
              </a:rPr>
              <a:t>首都机场信息规划咨询</a:t>
            </a:r>
            <a:endParaRPr lang="zh-CN" altLang="en-US" sz="1400" kern="0" spc="51" dirty="0">
              <a:solidFill>
                <a:schemeClr val="bg2">
                  <a:lumMod val="25000"/>
                </a:schemeClr>
              </a:solidFill>
            </a:endParaRPr>
          </a:p>
        </p:txBody>
      </p:sp>
      <p:pic>
        <p:nvPicPr>
          <p:cNvPr id="123" name="Picture 26" descr="C:\Users\nelsone-pc01\Desktop\手环\4.png">
            <a:extLst>
              <a:ext uri="{FF2B5EF4-FFF2-40B4-BE49-F238E27FC236}">
                <a16:creationId xmlns:a16="http://schemas.microsoft.com/office/drawing/2014/main" xmlns="" id="{30C33C89-7B6C-4206-932B-5777BAD349FC}"/>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2692610" y="1554600"/>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124" name="文本框 7">
            <a:extLst>
              <a:ext uri="{FF2B5EF4-FFF2-40B4-BE49-F238E27FC236}">
                <a16:creationId xmlns:a16="http://schemas.microsoft.com/office/drawing/2014/main" xmlns="" id="{00485984-58D4-4EE2-92C0-7DBC7BE11E51}"/>
              </a:ext>
            </a:extLst>
          </p:cNvPr>
          <p:cNvSpPr txBox="1"/>
          <p:nvPr/>
        </p:nvSpPr>
        <p:spPr>
          <a:xfrm>
            <a:off x="5052827" y="1223210"/>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临沂国家级经开区</a:t>
            </a:r>
          </a:p>
        </p:txBody>
      </p:sp>
      <p:pic>
        <p:nvPicPr>
          <p:cNvPr id="125" name="Picture 26" descr="C:\Users\nelsone-pc01\Desktop\手环\4.png">
            <a:extLst>
              <a:ext uri="{FF2B5EF4-FFF2-40B4-BE49-F238E27FC236}">
                <a16:creationId xmlns:a16="http://schemas.microsoft.com/office/drawing/2014/main" xmlns="" id="{479CF283-1F1F-4B9B-ADAA-BD5EB15B88CD}"/>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4935249" y="1554600"/>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126" name="文本框 7">
            <a:extLst>
              <a:ext uri="{FF2B5EF4-FFF2-40B4-BE49-F238E27FC236}">
                <a16:creationId xmlns:a16="http://schemas.microsoft.com/office/drawing/2014/main" xmlns="" id="{B042B262-8AB6-46F1-8709-C0F55F0F3BF1}"/>
              </a:ext>
            </a:extLst>
          </p:cNvPr>
          <p:cNvSpPr txBox="1"/>
          <p:nvPr/>
        </p:nvSpPr>
        <p:spPr>
          <a:xfrm>
            <a:off x="7291578" y="1223210"/>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亦庄经开区智慧园区</a:t>
            </a:r>
          </a:p>
        </p:txBody>
      </p:sp>
      <p:pic>
        <p:nvPicPr>
          <p:cNvPr id="127" name="Picture 26" descr="C:\Users\nelsone-pc01\Desktop\手环\4.png">
            <a:extLst>
              <a:ext uri="{FF2B5EF4-FFF2-40B4-BE49-F238E27FC236}">
                <a16:creationId xmlns:a16="http://schemas.microsoft.com/office/drawing/2014/main" xmlns="" id="{C20D63DF-00F5-4F11-B4CC-8759F8291365}"/>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7174000" y="1554600"/>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128" name="文本框 7">
            <a:extLst>
              <a:ext uri="{FF2B5EF4-FFF2-40B4-BE49-F238E27FC236}">
                <a16:creationId xmlns:a16="http://schemas.microsoft.com/office/drawing/2014/main" xmlns="" id="{9D50AC23-C076-46BC-A18E-BC5542A29FE6}"/>
              </a:ext>
            </a:extLst>
          </p:cNvPr>
          <p:cNvSpPr txBox="1"/>
          <p:nvPr/>
        </p:nvSpPr>
        <p:spPr>
          <a:xfrm>
            <a:off x="9547037" y="1910990"/>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福建党校智慧校区</a:t>
            </a:r>
          </a:p>
        </p:txBody>
      </p:sp>
      <p:pic>
        <p:nvPicPr>
          <p:cNvPr id="129" name="Picture 26" descr="C:\Users\nelsone-pc01\Desktop\手环\4.png">
            <a:extLst>
              <a:ext uri="{FF2B5EF4-FFF2-40B4-BE49-F238E27FC236}">
                <a16:creationId xmlns:a16="http://schemas.microsoft.com/office/drawing/2014/main" xmlns="" id="{9867E8A7-ABDC-421D-9905-1D0807DCCF5A}"/>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9429459" y="2237821"/>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130" name="文本框 7">
            <a:extLst>
              <a:ext uri="{FF2B5EF4-FFF2-40B4-BE49-F238E27FC236}">
                <a16:creationId xmlns:a16="http://schemas.microsoft.com/office/drawing/2014/main" xmlns="" id="{98967822-CD5B-429E-B6F5-7C9C116C6855}"/>
              </a:ext>
            </a:extLst>
          </p:cNvPr>
          <p:cNvSpPr txBox="1"/>
          <p:nvPr/>
        </p:nvSpPr>
        <p:spPr>
          <a:xfrm>
            <a:off x="9547037" y="1212056"/>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长沙铭城智慧产业园</a:t>
            </a:r>
          </a:p>
        </p:txBody>
      </p:sp>
      <p:pic>
        <p:nvPicPr>
          <p:cNvPr id="131" name="Picture 26" descr="C:\Users\nelsone-pc01\Desktop\手环\4.png">
            <a:extLst>
              <a:ext uri="{FF2B5EF4-FFF2-40B4-BE49-F238E27FC236}">
                <a16:creationId xmlns:a16="http://schemas.microsoft.com/office/drawing/2014/main" xmlns="" id="{00ABED19-0BA0-4FFB-88E0-EB19634551A9}"/>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9429459" y="1543446"/>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132" name="文本框 7">
            <a:extLst>
              <a:ext uri="{FF2B5EF4-FFF2-40B4-BE49-F238E27FC236}">
                <a16:creationId xmlns:a16="http://schemas.microsoft.com/office/drawing/2014/main" xmlns="" id="{31AA3AE0-7807-4995-BDF0-A0897E2A3378}"/>
              </a:ext>
            </a:extLst>
          </p:cNvPr>
          <p:cNvSpPr txBox="1"/>
          <p:nvPr/>
        </p:nvSpPr>
        <p:spPr>
          <a:xfrm>
            <a:off x="565608" y="2649296"/>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上海江南造船厂智慧园区</a:t>
            </a:r>
          </a:p>
        </p:txBody>
      </p:sp>
      <p:sp>
        <p:nvSpPr>
          <p:cNvPr id="133" name="文本框 132">
            <a:extLst>
              <a:ext uri="{FF2B5EF4-FFF2-40B4-BE49-F238E27FC236}">
                <a16:creationId xmlns:a16="http://schemas.microsoft.com/office/drawing/2014/main" xmlns="" id="{1D1FABA3-BB81-416F-9522-0675D739A2F7}"/>
              </a:ext>
            </a:extLst>
          </p:cNvPr>
          <p:cNvSpPr txBox="1"/>
          <p:nvPr/>
        </p:nvSpPr>
        <p:spPr>
          <a:xfrm>
            <a:off x="2810189" y="2649296"/>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雄安中冶搅拌站智慧园区</a:t>
            </a:r>
          </a:p>
        </p:txBody>
      </p:sp>
      <p:pic>
        <p:nvPicPr>
          <p:cNvPr id="134" name="Picture 26" descr="C:\Users\nelsone-pc01\Desktop\手环\4.png">
            <a:extLst>
              <a:ext uri="{FF2B5EF4-FFF2-40B4-BE49-F238E27FC236}">
                <a16:creationId xmlns:a16="http://schemas.microsoft.com/office/drawing/2014/main" xmlns="" id="{6D72A0E7-8FD2-4681-893B-C3D3FD3F4FC5}"/>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2692610" y="2988402"/>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135" name="文本框 7">
            <a:extLst>
              <a:ext uri="{FF2B5EF4-FFF2-40B4-BE49-F238E27FC236}">
                <a16:creationId xmlns:a16="http://schemas.microsoft.com/office/drawing/2014/main" xmlns="" id="{1E94A46E-163F-49D0-9594-18873FD95D96}"/>
              </a:ext>
            </a:extLst>
          </p:cNvPr>
          <p:cNvSpPr txBox="1"/>
          <p:nvPr/>
        </p:nvSpPr>
        <p:spPr>
          <a:xfrm>
            <a:off x="5052827" y="2649296"/>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张家港智慧城市</a:t>
            </a:r>
          </a:p>
        </p:txBody>
      </p:sp>
      <p:pic>
        <p:nvPicPr>
          <p:cNvPr id="136" name="Picture 26" descr="C:\Users\nelsone-pc01\Desktop\手环\4.png">
            <a:extLst>
              <a:ext uri="{FF2B5EF4-FFF2-40B4-BE49-F238E27FC236}">
                <a16:creationId xmlns:a16="http://schemas.microsoft.com/office/drawing/2014/main" xmlns="" id="{26F2B35E-1975-44E3-AF54-96BDA15BAA08}"/>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4935249" y="2988402"/>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138" name="文本框 7">
            <a:extLst>
              <a:ext uri="{FF2B5EF4-FFF2-40B4-BE49-F238E27FC236}">
                <a16:creationId xmlns:a16="http://schemas.microsoft.com/office/drawing/2014/main" xmlns="" id="{840D9EEA-35CA-4F04-BF86-D282EDFFADA2}"/>
              </a:ext>
            </a:extLst>
          </p:cNvPr>
          <p:cNvSpPr txBox="1"/>
          <p:nvPr/>
        </p:nvSpPr>
        <p:spPr>
          <a:xfrm>
            <a:off x="7291578" y="2649296"/>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腾</a:t>
            </a:r>
            <a:r>
              <a:rPr lang="zh-CN" altLang="en-US" sz="1400" kern="0" spc="51" dirty="0" smtClean="0">
                <a:solidFill>
                  <a:schemeClr val="bg2">
                    <a:lumMod val="25000"/>
                  </a:schemeClr>
                </a:solidFill>
              </a:rPr>
              <a:t>讯大厦信息化改造咨询</a:t>
            </a:r>
            <a:endParaRPr lang="zh-CN" altLang="en-US" sz="1400" kern="0" spc="51" dirty="0">
              <a:solidFill>
                <a:schemeClr val="bg2">
                  <a:lumMod val="25000"/>
                </a:schemeClr>
              </a:solidFill>
            </a:endParaRPr>
          </a:p>
        </p:txBody>
      </p:sp>
      <p:pic>
        <p:nvPicPr>
          <p:cNvPr id="139" name="Picture 26" descr="C:\Users\nelsone-pc01\Desktop\手环\4.png">
            <a:extLst>
              <a:ext uri="{FF2B5EF4-FFF2-40B4-BE49-F238E27FC236}">
                <a16:creationId xmlns:a16="http://schemas.microsoft.com/office/drawing/2014/main" xmlns="" id="{1E9FC87A-6C39-484A-9DC5-3025044884D0}"/>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7174000" y="2988402"/>
            <a:ext cx="2246416" cy="344850"/>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26" descr="C:\Users\nelsone-pc01\Desktop\手环\4.png">
            <a:extLst>
              <a:ext uri="{FF2B5EF4-FFF2-40B4-BE49-F238E27FC236}">
                <a16:creationId xmlns:a16="http://schemas.microsoft.com/office/drawing/2014/main" xmlns="" id="{2A317264-2719-4CA0-AAD3-0BB0673ECA30}"/>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2692610" y="2229395"/>
            <a:ext cx="2246416" cy="344850"/>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26" descr="C:\Users\nelsone-pc01\Desktop\手环\4.png">
            <a:extLst>
              <a:ext uri="{FF2B5EF4-FFF2-40B4-BE49-F238E27FC236}">
                <a16:creationId xmlns:a16="http://schemas.microsoft.com/office/drawing/2014/main" xmlns="" id="{75B50704-0F9D-4104-B35B-027209BC8DD2}"/>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4935249" y="2229395"/>
            <a:ext cx="2246416" cy="344850"/>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26" descr="C:\Users\nelsone-pc01\Desktop\手环\4.png">
            <a:extLst>
              <a:ext uri="{FF2B5EF4-FFF2-40B4-BE49-F238E27FC236}">
                <a16:creationId xmlns:a16="http://schemas.microsoft.com/office/drawing/2014/main" xmlns="" id="{C543D1F8-7F10-4D5E-AD41-516CACFCA603}"/>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7174000" y="2229395"/>
            <a:ext cx="2246416" cy="344850"/>
          </a:xfrm>
          <a:prstGeom prst="rect">
            <a:avLst/>
          </a:prstGeom>
          <a:noFill/>
          <a:extLst>
            <a:ext uri="{909E8E84-426E-40DD-AFC4-6F175D3DCCD1}">
              <a14:hiddenFill xmlns:a14="http://schemas.microsoft.com/office/drawing/2010/main">
                <a:solidFill>
                  <a:srgbClr val="FFFFFF"/>
                </a:solidFill>
              </a14:hiddenFill>
            </a:ext>
          </a:extLst>
        </p:spPr>
      </p:pic>
      <p:sp>
        <p:nvSpPr>
          <p:cNvPr id="152" name="文本框 7">
            <a:extLst>
              <a:ext uri="{FF2B5EF4-FFF2-40B4-BE49-F238E27FC236}">
                <a16:creationId xmlns:a16="http://schemas.microsoft.com/office/drawing/2014/main" xmlns="" id="{BBCB1923-8BF4-4389-93AF-E04F9294B5F2}"/>
              </a:ext>
            </a:extLst>
          </p:cNvPr>
          <p:cNvSpPr txBox="1"/>
          <p:nvPr/>
        </p:nvSpPr>
        <p:spPr>
          <a:xfrm>
            <a:off x="9547037" y="2638142"/>
            <a:ext cx="2053277" cy="516287"/>
          </a:xfrm>
          <a:prstGeom prst="rect">
            <a:avLst/>
          </a:prstGeom>
          <a:noFill/>
          <a:ln w="6350" cap="flat" cmpd="sng" algn="ctr">
            <a:solidFill>
              <a:schemeClr val="bg2">
                <a:lumMod val="75000"/>
              </a:schemeClr>
            </a:solidFill>
            <a:prstDash val="solid"/>
            <a:miter lim="800000"/>
            <a:headEnd type="none" w="med" len="med"/>
            <a:tailEnd type="none" w="med" len="med"/>
          </a:ln>
          <a:effectLst>
            <a:outerShdw blurRad="76200" dist="63500" dir="8100000" algn="ctr" rotWithShape="0">
              <a:srgbClr val="000000">
                <a:alpha val="40000"/>
              </a:srgbClr>
            </a:outerShdw>
          </a:effectLst>
        </p:spPr>
        <p:txBody>
          <a:bodyPr wrap="square" lIns="0" tIns="0" rIns="0" bIns="0" anchor="ctr" anchorCtr="1"/>
          <a:lstStyle>
            <a:defPPr>
              <a:defRPr lang="en-US"/>
            </a:defPPr>
            <a:lvl1pPr algn="ctr" defTabSz="914355">
              <a:defRPr sz="1200" b="1" spc="50">
                <a:solidFill>
                  <a:srgbClr val="FFC000"/>
                </a:solidFill>
                <a:effectLst>
                  <a:outerShdw blurRad="25400" dir="2700000" algn="tl">
                    <a:srgbClr val="000000">
                      <a:alpha val="30000"/>
                    </a:srgbClr>
                  </a:outerShdw>
                </a:effectLst>
                <a:latin typeface="微软雅黑" pitchFamily="34" charset="-122"/>
                <a:ea typeface="微软雅黑" pitchFamily="34" charset="-122"/>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32734">
              <a:defRPr/>
            </a:pPr>
            <a:r>
              <a:rPr lang="zh-CN" altLang="en-US" sz="1400" kern="0" spc="51" dirty="0">
                <a:solidFill>
                  <a:schemeClr val="bg2">
                    <a:lumMod val="25000"/>
                  </a:schemeClr>
                </a:solidFill>
              </a:rPr>
              <a:t>清澜山智慧校园</a:t>
            </a:r>
          </a:p>
        </p:txBody>
      </p:sp>
      <p:pic>
        <p:nvPicPr>
          <p:cNvPr id="153" name="Picture 26" descr="C:\Users\nelsone-pc01\Desktop\手环\4.png">
            <a:extLst>
              <a:ext uri="{FF2B5EF4-FFF2-40B4-BE49-F238E27FC236}">
                <a16:creationId xmlns:a16="http://schemas.microsoft.com/office/drawing/2014/main" xmlns="" id="{810B9289-F19A-4159-89D8-46564D2BAB2D}"/>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9429459" y="2977247"/>
            <a:ext cx="2246416" cy="344850"/>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26" descr="C:\Users\nelsone-pc01\Desktop\手环\4.png">
            <a:extLst>
              <a:ext uri="{FF2B5EF4-FFF2-40B4-BE49-F238E27FC236}">
                <a16:creationId xmlns:a16="http://schemas.microsoft.com/office/drawing/2014/main" xmlns="" id="{0A6B1EA1-6503-43A5-9D78-02F3C549395A}"/>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9429459" y="2218241"/>
            <a:ext cx="2246416" cy="344850"/>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26" descr="C:\Users\nelsone-pc01\Desktop\手环\4.png">
            <a:extLst>
              <a:ext uri="{FF2B5EF4-FFF2-40B4-BE49-F238E27FC236}">
                <a16:creationId xmlns:a16="http://schemas.microsoft.com/office/drawing/2014/main" xmlns="" id="{943F3AB7-3546-4FE0-AC0C-2F99AD6CFC5F}"/>
              </a:ext>
            </a:extLst>
          </p:cNvPr>
          <p:cNvPicPr>
            <a:picLocks noChangeAspect="1" noChangeArrowheads="1"/>
          </p:cNvPicPr>
          <p:nvPr/>
        </p:nvPicPr>
        <p:blipFill>
          <a:blip r:embed="rId2" cstate="print">
            <a:grayscl/>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flipV="1">
            <a:off x="552838" y="2977247"/>
            <a:ext cx="2246416" cy="344850"/>
          </a:xfrm>
          <a:prstGeom prst="rect">
            <a:avLst/>
          </a:prstGeom>
          <a:noFill/>
          <a:extLst>
            <a:ext uri="{909E8E84-426E-40DD-AFC4-6F175D3DCCD1}">
              <a14:hiddenFill xmlns:a14="http://schemas.microsoft.com/office/drawing/2010/main">
                <a:solidFill>
                  <a:srgbClr val="FFFFFF"/>
                </a:solidFill>
              </a14:hiddenFill>
            </a:ext>
          </a:extLst>
        </p:spPr>
      </p:pic>
      <p:grpSp>
        <p:nvGrpSpPr>
          <p:cNvPr id="156" name="组合 155">
            <a:extLst>
              <a:ext uri="{FF2B5EF4-FFF2-40B4-BE49-F238E27FC236}">
                <a16:creationId xmlns:a16="http://schemas.microsoft.com/office/drawing/2014/main" xmlns="" id="{30B13A55-FA2E-461F-BD3A-BF95870E9014}"/>
              </a:ext>
            </a:extLst>
          </p:cNvPr>
          <p:cNvGrpSpPr/>
          <p:nvPr/>
        </p:nvGrpSpPr>
        <p:grpSpPr>
          <a:xfrm>
            <a:off x="162442" y="3462921"/>
            <a:ext cx="12132000" cy="2899397"/>
            <a:chOff x="539749" y="1415932"/>
            <a:chExt cx="2591185" cy="899331"/>
          </a:xfrm>
        </p:grpSpPr>
        <p:sp>
          <p:nvSpPr>
            <p:cNvPr id="157" name="矩形 156">
              <a:extLst>
                <a:ext uri="{FF2B5EF4-FFF2-40B4-BE49-F238E27FC236}">
                  <a16:creationId xmlns:a16="http://schemas.microsoft.com/office/drawing/2014/main" xmlns="" id="{60D942E6-4B8F-4EBC-834D-C1B4018EEFDC}"/>
                </a:ext>
              </a:extLst>
            </p:cNvPr>
            <p:cNvSpPr/>
            <p:nvPr/>
          </p:nvSpPr>
          <p:spPr>
            <a:xfrm>
              <a:off x="539749" y="1487939"/>
              <a:ext cx="2591185" cy="827324"/>
            </a:xfrm>
            <a:prstGeom prst="rect">
              <a:avLst/>
            </a:prstGeom>
            <a:solidFill>
              <a:schemeClr val="bg2"/>
            </a:solidFill>
            <a:ln w="12700">
              <a:solidFill>
                <a:schemeClr val="bg2">
                  <a:lumMod val="75000"/>
                </a:schemeClr>
              </a:solidFill>
            </a:ln>
          </p:spPr>
          <p:txBody>
            <a:bodyPr vert="horz" wrap="square" lIns="93282" tIns="46641" rIns="93282" bIns="46641" numCol="1" anchor="t" anchorCtr="0" compatLnSpc="1">
              <a:prstTxWarp prst="textNoShape">
                <a:avLst/>
              </a:prstTxWarp>
            </a:bodyPr>
            <a:lstStyle/>
            <a:p>
              <a:pPr defTabSz="932779">
                <a:defRPr/>
              </a:pPr>
              <a:endParaRPr lang="zh-CN" altLang="en-US" sz="1836" kern="0">
                <a:latin typeface="Arial" pitchFamily="34" charset="0"/>
                <a:cs typeface="Arial" pitchFamily="34" charset="0"/>
              </a:endParaRPr>
            </a:p>
          </p:txBody>
        </p:sp>
        <p:sp>
          <p:nvSpPr>
            <p:cNvPr id="158" name="梯形 157">
              <a:extLst>
                <a:ext uri="{FF2B5EF4-FFF2-40B4-BE49-F238E27FC236}">
                  <a16:creationId xmlns:a16="http://schemas.microsoft.com/office/drawing/2014/main" xmlns="" id="{DF74F0E7-3F8D-4563-9E66-E43E82952B76}"/>
                </a:ext>
              </a:extLst>
            </p:cNvPr>
            <p:cNvSpPr/>
            <p:nvPr/>
          </p:nvSpPr>
          <p:spPr>
            <a:xfrm>
              <a:off x="539749" y="1415932"/>
              <a:ext cx="2591185" cy="71515"/>
            </a:xfrm>
            <a:prstGeom prst="trapezoid">
              <a:avLst>
                <a:gd name="adj" fmla="val 134505"/>
              </a:avLst>
            </a:prstGeom>
            <a:solidFill>
              <a:schemeClr val="bg2"/>
            </a:solidFill>
            <a:ln w="6350" cap="flat" cmpd="sng" algn="ctr">
              <a:solidFill>
                <a:schemeClr val="bg2">
                  <a:lumMod val="75000"/>
                </a:schemeClr>
              </a:solidFill>
              <a:prstDash val="solid"/>
              <a:miter lim="800000"/>
            </a:ln>
            <a:effectLst/>
          </p:spPr>
          <p:txBody>
            <a:bodyPr lIns="186554" tIns="93276" rIns="186554" bIns="93276" anchor="ctr"/>
            <a:lstStyle/>
            <a:p>
              <a:pPr algn="ctr" defTabSz="932779">
                <a:defRPr/>
              </a:pPr>
              <a:endParaRPr lang="zh-CN" altLang="en-US" sz="1224" kern="0" dirty="0">
                <a:effectLst>
                  <a:outerShdw blurRad="38100" dist="38100" dir="2700000" algn="tl">
                    <a:srgbClr val="000000">
                      <a:alpha val="43137"/>
                    </a:srgbClr>
                  </a:outerShdw>
                </a:effectLst>
                <a:latin typeface="Arial" pitchFamily="34" charset="0"/>
                <a:ea typeface="微软雅黑" pitchFamily="34" charset="-122"/>
                <a:cs typeface="Arial" pitchFamily="34" charset="0"/>
              </a:endParaRPr>
            </a:p>
          </p:txBody>
        </p:sp>
      </p:grpSp>
      <p:sp>
        <p:nvSpPr>
          <p:cNvPr id="160" name="矩形 159">
            <a:extLst>
              <a:ext uri="{FF2B5EF4-FFF2-40B4-BE49-F238E27FC236}">
                <a16:creationId xmlns:a16="http://schemas.microsoft.com/office/drawing/2014/main" xmlns="" id="{50635F2D-C25D-4868-BA82-59657261E8B2}"/>
              </a:ext>
            </a:extLst>
          </p:cNvPr>
          <p:cNvSpPr/>
          <p:nvPr/>
        </p:nvSpPr>
        <p:spPr>
          <a:xfrm>
            <a:off x="5140187" y="3783159"/>
            <a:ext cx="2236510" cy="400110"/>
          </a:xfrm>
          <a:prstGeom prst="rect">
            <a:avLst/>
          </a:prstGeom>
        </p:spPr>
        <p:txBody>
          <a:bodyPr wrap="none">
            <a:spAutoFit/>
          </a:bodyPr>
          <a:lstStyle/>
          <a:p>
            <a:pPr defTabSz="932779"/>
            <a:r>
              <a:rPr lang="zh-CN" altLang="en-US" sz="2000" b="1" dirty="0">
                <a:solidFill>
                  <a:schemeClr val="bg2">
                    <a:lumMod val="25000"/>
                  </a:schemeClr>
                </a:solidFill>
                <a:latin typeface="微软雅黑" panose="020B0503020204020204" pitchFamily="34" charset="-122"/>
                <a:ea typeface="微软雅黑" panose="020B0503020204020204" pitchFamily="34" charset="-122"/>
              </a:rPr>
              <a:t>智慧</a:t>
            </a:r>
            <a:r>
              <a:rPr lang="zh-CN" altLang="en-US" sz="2000" b="1" dirty="0" smtClean="0">
                <a:solidFill>
                  <a:schemeClr val="bg2">
                    <a:lumMod val="25000"/>
                  </a:schemeClr>
                </a:solidFill>
                <a:latin typeface="微软雅黑" panose="020B0503020204020204" pitchFamily="34" charset="-122"/>
                <a:ea typeface="微软雅黑" panose="020B0503020204020204" pitchFamily="34" charset="-122"/>
              </a:rPr>
              <a:t>园区标杆</a:t>
            </a:r>
            <a:r>
              <a:rPr lang="zh-CN" altLang="en-US" sz="2000" b="1" dirty="0">
                <a:solidFill>
                  <a:schemeClr val="bg2">
                    <a:lumMod val="25000"/>
                  </a:schemeClr>
                </a:solidFill>
                <a:latin typeface="微软雅黑" panose="020B0503020204020204" pitchFamily="34" charset="-122"/>
                <a:ea typeface="微软雅黑" panose="020B0503020204020204" pitchFamily="34" charset="-122"/>
              </a:rPr>
              <a:t>项目</a:t>
            </a:r>
          </a:p>
        </p:txBody>
      </p:sp>
      <p:sp>
        <p:nvSpPr>
          <p:cNvPr id="161" name="TextBox 113">
            <a:extLst>
              <a:ext uri="{FF2B5EF4-FFF2-40B4-BE49-F238E27FC236}">
                <a16:creationId xmlns:a16="http://schemas.microsoft.com/office/drawing/2014/main" xmlns="" id="{AC07CB84-9D2A-47E1-9829-AFB348D6AA8A}"/>
              </a:ext>
            </a:extLst>
          </p:cNvPr>
          <p:cNvSpPr txBox="1"/>
          <p:nvPr/>
        </p:nvSpPr>
        <p:spPr>
          <a:xfrm>
            <a:off x="161859" y="4307127"/>
            <a:ext cx="2961724" cy="330132"/>
          </a:xfrm>
          <a:prstGeom prst="rect">
            <a:avLst/>
          </a:prstGeom>
          <a:solidFill>
            <a:schemeClr val="bg2">
              <a:lumMod val="90000"/>
            </a:schemeClr>
          </a:solidFill>
          <a:ln w="9525" cap="flat" cmpd="sng" algn="ctr">
            <a:solidFill>
              <a:schemeClr val="bg2">
                <a:lumMod val="90000"/>
              </a:schemeClr>
            </a:solidFill>
            <a:prstDash val="solid"/>
            <a:miter lim="800000"/>
            <a:headEnd type="none" w="med" len="med"/>
            <a:tailEnd type="none" w="med" len="med"/>
          </a:ln>
          <a:effectLst/>
        </p:spPr>
        <p:txBody>
          <a:bodyPr wrap="none" anchor="ctr" anchorCtr="1"/>
          <a:lstStyle>
            <a:defPPr>
              <a:defRPr lang="zh-CN"/>
            </a:defPPr>
            <a:lvl1pPr algn="ctr" defTabSz="959254">
              <a:defRPr sz="1200">
                <a:solidFill>
                  <a:schemeClr val="bg1"/>
                </a:solidFill>
                <a:latin typeface="微软雅黑" pitchFamily="34" charset="-122"/>
                <a:ea typeface="微软雅黑" pitchFamily="34" charset="-122"/>
                <a:cs typeface="Arial"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78535">
              <a:defRPr/>
            </a:pPr>
            <a:r>
              <a:rPr lang="zh-CN" altLang="en-US" sz="1600" b="1" kern="0" dirty="0">
                <a:solidFill>
                  <a:schemeClr val="bg2">
                    <a:lumMod val="25000"/>
                  </a:schemeClr>
                </a:solidFill>
              </a:rPr>
              <a:t>广东二医全场景智慧院区标杆</a:t>
            </a:r>
          </a:p>
        </p:txBody>
      </p:sp>
      <p:sp>
        <p:nvSpPr>
          <p:cNvPr id="162" name="TextBox 113">
            <a:extLst>
              <a:ext uri="{FF2B5EF4-FFF2-40B4-BE49-F238E27FC236}">
                <a16:creationId xmlns:a16="http://schemas.microsoft.com/office/drawing/2014/main" xmlns="" id="{5EDF90F4-A8C4-403B-8423-0DB0D36D3579}"/>
              </a:ext>
            </a:extLst>
          </p:cNvPr>
          <p:cNvSpPr txBox="1"/>
          <p:nvPr/>
        </p:nvSpPr>
        <p:spPr>
          <a:xfrm>
            <a:off x="3186597" y="4303020"/>
            <a:ext cx="2961724" cy="330132"/>
          </a:xfrm>
          <a:prstGeom prst="rect">
            <a:avLst/>
          </a:prstGeom>
          <a:solidFill>
            <a:schemeClr val="bg2">
              <a:lumMod val="90000"/>
            </a:schemeClr>
          </a:solidFill>
          <a:ln w="9525" cap="flat" cmpd="sng" algn="ctr">
            <a:solidFill>
              <a:schemeClr val="bg2">
                <a:lumMod val="90000"/>
              </a:schemeClr>
            </a:solidFill>
            <a:prstDash val="solid"/>
            <a:miter lim="800000"/>
            <a:headEnd type="none" w="med" len="med"/>
            <a:tailEnd type="none" w="med" len="med"/>
          </a:ln>
          <a:effectLst/>
        </p:spPr>
        <p:txBody>
          <a:bodyPr wrap="none" anchor="ctr" anchorCtr="1"/>
          <a:lstStyle>
            <a:defPPr>
              <a:defRPr lang="zh-CN"/>
            </a:defPPr>
            <a:lvl1pPr algn="ctr" defTabSz="959254">
              <a:defRPr sz="1200">
                <a:solidFill>
                  <a:schemeClr val="bg1"/>
                </a:solidFill>
                <a:latin typeface="微软雅黑" pitchFamily="34" charset="-122"/>
                <a:ea typeface="微软雅黑" pitchFamily="34" charset="-122"/>
                <a:cs typeface="Arial"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78535">
              <a:defRPr/>
            </a:pPr>
            <a:r>
              <a:rPr lang="zh-CN" altLang="en-US" sz="1600" b="1" kern="0" dirty="0">
                <a:solidFill>
                  <a:schemeClr val="bg2">
                    <a:lumMod val="25000"/>
                  </a:schemeClr>
                </a:solidFill>
              </a:rPr>
              <a:t>保利华南智慧社区标杆</a:t>
            </a:r>
          </a:p>
        </p:txBody>
      </p:sp>
      <p:sp>
        <p:nvSpPr>
          <p:cNvPr id="163" name="TextBox 113">
            <a:extLst>
              <a:ext uri="{FF2B5EF4-FFF2-40B4-BE49-F238E27FC236}">
                <a16:creationId xmlns:a16="http://schemas.microsoft.com/office/drawing/2014/main" xmlns="" id="{AF5F6A2C-9E54-4682-A90E-3C5BF49EFE49}"/>
              </a:ext>
            </a:extLst>
          </p:cNvPr>
          <p:cNvSpPr txBox="1"/>
          <p:nvPr/>
        </p:nvSpPr>
        <p:spPr>
          <a:xfrm>
            <a:off x="9250200" y="4303019"/>
            <a:ext cx="3056797" cy="349728"/>
          </a:xfrm>
          <a:prstGeom prst="rect">
            <a:avLst/>
          </a:prstGeom>
          <a:solidFill>
            <a:schemeClr val="bg2">
              <a:lumMod val="90000"/>
            </a:schemeClr>
          </a:solidFill>
          <a:ln w="9525" cap="flat" cmpd="sng" algn="ctr">
            <a:solidFill>
              <a:schemeClr val="bg2">
                <a:lumMod val="90000"/>
              </a:schemeClr>
            </a:solidFill>
            <a:prstDash val="solid"/>
            <a:miter lim="800000"/>
            <a:headEnd type="none" w="med" len="med"/>
            <a:tailEnd type="none" w="med" len="med"/>
          </a:ln>
          <a:effectLst/>
        </p:spPr>
        <p:txBody>
          <a:bodyPr wrap="none" anchor="ctr" anchorCtr="1"/>
          <a:lstStyle>
            <a:defPPr>
              <a:defRPr lang="zh-CN"/>
            </a:defPPr>
            <a:lvl1pPr algn="ctr" defTabSz="959254">
              <a:defRPr sz="1200">
                <a:solidFill>
                  <a:schemeClr val="bg1"/>
                </a:solidFill>
                <a:latin typeface="微软雅黑" pitchFamily="34" charset="-122"/>
                <a:ea typeface="微软雅黑" pitchFamily="34" charset="-122"/>
                <a:cs typeface="Arial"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78535">
              <a:defRPr/>
            </a:pPr>
            <a:r>
              <a:rPr lang="en-US" altLang="zh-CN" sz="1600" b="1" kern="0" dirty="0">
                <a:solidFill>
                  <a:schemeClr val="bg2">
                    <a:lumMod val="25000"/>
                  </a:schemeClr>
                </a:solidFill>
              </a:rPr>
              <a:t>TCL</a:t>
            </a:r>
            <a:r>
              <a:rPr lang="zh-CN" altLang="en-US" sz="1600" b="1" kern="0" dirty="0">
                <a:solidFill>
                  <a:schemeClr val="bg2">
                    <a:lumMod val="25000"/>
                  </a:schemeClr>
                </a:solidFill>
              </a:rPr>
              <a:t>惠州潼湖智慧制造园区标杆</a:t>
            </a:r>
          </a:p>
        </p:txBody>
      </p:sp>
      <p:pic>
        <p:nvPicPr>
          <p:cNvPr id="164" name="图片 163">
            <a:extLst>
              <a:ext uri="{FF2B5EF4-FFF2-40B4-BE49-F238E27FC236}">
                <a16:creationId xmlns:a16="http://schemas.microsoft.com/office/drawing/2014/main" xmlns="" id="{150B69C3-B9F8-4504-B72F-39B9EF522464}"/>
              </a:ext>
            </a:extLst>
          </p:cNvPr>
          <p:cNvPicPr>
            <a:picLocks noChangeAspect="1"/>
          </p:cNvPicPr>
          <p:nvPr/>
        </p:nvPicPr>
        <p:blipFill>
          <a:blip r:embed="rId4"/>
          <a:stretch>
            <a:fillRect/>
          </a:stretch>
        </p:blipFill>
        <p:spPr>
          <a:xfrm>
            <a:off x="165002" y="4680661"/>
            <a:ext cx="2969508" cy="1700590"/>
          </a:xfrm>
          <a:prstGeom prst="rect">
            <a:avLst/>
          </a:prstGeom>
        </p:spPr>
      </p:pic>
      <p:pic>
        <p:nvPicPr>
          <p:cNvPr id="165" name="图片 164">
            <a:extLst>
              <a:ext uri="{FF2B5EF4-FFF2-40B4-BE49-F238E27FC236}">
                <a16:creationId xmlns:a16="http://schemas.microsoft.com/office/drawing/2014/main" xmlns="" id="{0F1BF1E4-A59C-4895-8769-85036B51493D}"/>
              </a:ext>
            </a:extLst>
          </p:cNvPr>
          <p:cNvPicPr>
            <a:picLocks noChangeAspect="1"/>
          </p:cNvPicPr>
          <p:nvPr/>
        </p:nvPicPr>
        <p:blipFill>
          <a:blip r:embed="rId5"/>
          <a:stretch>
            <a:fillRect/>
          </a:stretch>
        </p:blipFill>
        <p:spPr>
          <a:xfrm>
            <a:off x="3186598" y="4680661"/>
            <a:ext cx="2969508" cy="1700590"/>
          </a:xfrm>
          <a:prstGeom prst="rect">
            <a:avLst/>
          </a:prstGeom>
        </p:spPr>
      </p:pic>
      <p:pic>
        <p:nvPicPr>
          <p:cNvPr id="166" name="图片 165">
            <a:extLst>
              <a:ext uri="{FF2B5EF4-FFF2-40B4-BE49-F238E27FC236}">
                <a16:creationId xmlns:a16="http://schemas.microsoft.com/office/drawing/2014/main" xmlns="" id="{7F7DFBB7-2F2C-4362-876D-BE46267925B3}"/>
              </a:ext>
            </a:extLst>
          </p:cNvPr>
          <p:cNvPicPr>
            <a:picLocks noChangeAspect="1"/>
          </p:cNvPicPr>
          <p:nvPr/>
        </p:nvPicPr>
        <p:blipFill>
          <a:blip r:embed="rId6"/>
          <a:stretch>
            <a:fillRect/>
          </a:stretch>
        </p:blipFill>
        <p:spPr>
          <a:xfrm>
            <a:off x="9250200" y="4678085"/>
            <a:ext cx="3064831" cy="1700590"/>
          </a:xfrm>
          <a:prstGeom prst="rect">
            <a:avLst/>
          </a:prstGeom>
        </p:spPr>
      </p:pic>
      <p:sp>
        <p:nvSpPr>
          <p:cNvPr id="167" name="TextBox 113">
            <a:extLst>
              <a:ext uri="{FF2B5EF4-FFF2-40B4-BE49-F238E27FC236}">
                <a16:creationId xmlns:a16="http://schemas.microsoft.com/office/drawing/2014/main" xmlns="" id="{F3D50ADE-7925-4CFC-A369-EB4DBF60A804}"/>
              </a:ext>
            </a:extLst>
          </p:cNvPr>
          <p:cNvSpPr txBox="1"/>
          <p:nvPr/>
        </p:nvSpPr>
        <p:spPr>
          <a:xfrm>
            <a:off x="6224302" y="4312817"/>
            <a:ext cx="2961724" cy="330132"/>
          </a:xfrm>
          <a:prstGeom prst="rect">
            <a:avLst/>
          </a:prstGeom>
          <a:solidFill>
            <a:schemeClr val="bg2">
              <a:lumMod val="90000"/>
            </a:schemeClr>
          </a:solidFill>
          <a:ln w="9525" cap="flat" cmpd="sng" algn="ctr">
            <a:solidFill>
              <a:schemeClr val="bg2">
                <a:lumMod val="90000"/>
              </a:schemeClr>
            </a:solidFill>
            <a:prstDash val="solid"/>
            <a:miter lim="800000"/>
            <a:headEnd type="none" w="med" len="med"/>
            <a:tailEnd type="none" w="med" len="med"/>
          </a:ln>
          <a:effectLst/>
        </p:spPr>
        <p:txBody>
          <a:bodyPr wrap="none" anchor="ctr" anchorCtr="1"/>
          <a:lstStyle>
            <a:defPPr>
              <a:defRPr lang="zh-CN"/>
            </a:defPPr>
            <a:lvl1pPr algn="ctr" defTabSz="959254">
              <a:defRPr sz="1200">
                <a:solidFill>
                  <a:schemeClr val="bg1"/>
                </a:solidFill>
                <a:latin typeface="微软雅黑" pitchFamily="34" charset="-122"/>
                <a:ea typeface="微软雅黑" pitchFamily="34" charset="-122"/>
                <a:cs typeface="Arial" pitchFamily="34"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78535">
              <a:defRPr/>
            </a:pPr>
            <a:r>
              <a:rPr lang="zh-CN" altLang="en-US" sz="1600" b="1" kern="0" dirty="0">
                <a:solidFill>
                  <a:schemeClr val="bg2">
                    <a:lumMod val="25000"/>
                  </a:schemeClr>
                </a:solidFill>
              </a:rPr>
              <a:t>成都温江产业园区标杆</a:t>
            </a:r>
          </a:p>
        </p:txBody>
      </p:sp>
      <p:sp>
        <p:nvSpPr>
          <p:cNvPr id="168" name="object 6">
            <a:extLst>
              <a:ext uri="{FF2B5EF4-FFF2-40B4-BE49-F238E27FC236}">
                <a16:creationId xmlns:a16="http://schemas.microsoft.com/office/drawing/2014/main" xmlns="" id="{A7103EB0-CC33-425A-9A43-136F218F3CAA}"/>
              </a:ext>
            </a:extLst>
          </p:cNvPr>
          <p:cNvSpPr/>
          <p:nvPr/>
        </p:nvSpPr>
        <p:spPr>
          <a:xfrm>
            <a:off x="6224693" y="4673210"/>
            <a:ext cx="2961724" cy="1708042"/>
          </a:xfrm>
          <a:prstGeom prst="rect">
            <a:avLst/>
          </a:prstGeom>
          <a:blipFill>
            <a:blip r:embed="rId7" cstate="print"/>
            <a:stretch>
              <a:fillRect/>
            </a:stretch>
          </a:blipFill>
        </p:spPr>
        <p:txBody>
          <a:bodyPr wrap="square" lIns="0" tIns="0" rIns="0" bIns="0" rtlCol="0"/>
          <a:lstStyle/>
          <a:p>
            <a:endParaRPr sz="2448"/>
          </a:p>
        </p:txBody>
      </p:sp>
    </p:spTree>
    <p:extLst>
      <p:ext uri="{BB962C8B-B14F-4D97-AF65-F5344CB8AC3E}">
        <p14:creationId xmlns:p14="http://schemas.microsoft.com/office/powerpoint/2010/main" val="28964191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华为</a:t>
            </a:r>
            <a:r>
              <a:rPr lang="zh-CN" altLang="en-US" dirty="0"/>
              <a:t>严</a:t>
            </a:r>
            <a:r>
              <a:rPr lang="zh-CN" altLang="en-US" dirty="0" smtClean="0"/>
              <a:t>选操作步骤</a:t>
            </a:r>
            <a:endParaRPr lang="zh-CN" altLang="en-US" dirty="0"/>
          </a:p>
        </p:txBody>
      </p:sp>
      <p:sp>
        <p:nvSpPr>
          <p:cNvPr id="49" name="文本框 48">
            <a:extLst>
              <a:ext uri="{FF2B5EF4-FFF2-40B4-BE49-F238E27FC236}">
                <a16:creationId xmlns:a16="http://schemas.microsoft.com/office/drawing/2014/main" xmlns="" id="{36049486-87A2-4974-8ADD-2A6EC4E44FFE}"/>
              </a:ext>
            </a:extLst>
          </p:cNvPr>
          <p:cNvSpPr txBox="1"/>
          <p:nvPr/>
        </p:nvSpPr>
        <p:spPr>
          <a:xfrm>
            <a:off x="459031" y="1162943"/>
            <a:ext cx="11520000" cy="5078313"/>
          </a:xfrm>
          <a:prstGeom prst="rect">
            <a:avLst/>
          </a:prstGeom>
          <a:noFill/>
        </p:spPr>
        <p:txBody>
          <a:bodyPr wrap="square">
            <a:spAutoFit/>
          </a:bodyPr>
          <a:lstStyle/>
          <a:p>
            <a:pPr>
              <a:lnSpc>
                <a:spcPct val="150000"/>
              </a:lnSpc>
            </a:pPr>
            <a:r>
              <a:rPr lang="zh-CN" altLang="en-US" b="1" dirty="0">
                <a:solidFill>
                  <a:schemeClr val="bg2">
                    <a:lumMod val="25000"/>
                  </a:schemeClr>
                </a:solidFill>
                <a:latin typeface="+mn-ea"/>
              </a:rPr>
              <a:t>步骤</a:t>
            </a:r>
            <a:r>
              <a:rPr lang="en-US" altLang="zh-CN" b="1" dirty="0">
                <a:solidFill>
                  <a:schemeClr val="bg2">
                    <a:lumMod val="25000"/>
                  </a:schemeClr>
                </a:solidFill>
                <a:latin typeface="+mn-ea"/>
              </a:rPr>
              <a:t>1 </a:t>
            </a:r>
            <a:r>
              <a:rPr lang="zh-CN" altLang="en-US" b="1" dirty="0">
                <a:solidFill>
                  <a:schemeClr val="bg2">
                    <a:lumMod val="25000"/>
                  </a:schemeClr>
                </a:solidFill>
                <a:latin typeface="+mn-ea"/>
              </a:rPr>
              <a:t>登录华为云云市场</a:t>
            </a:r>
            <a:r>
              <a:rPr lang="zh-CN" altLang="en-US" b="1" dirty="0" smtClean="0">
                <a:solidFill>
                  <a:schemeClr val="bg2">
                    <a:lumMod val="25000"/>
                  </a:schemeClr>
                </a:solidFill>
                <a:latin typeface="+mn-ea"/>
              </a:rPr>
              <a:t>主页</a:t>
            </a:r>
            <a:endParaRPr lang="en-US" altLang="zh-CN" b="1" dirty="0" smtClean="0">
              <a:solidFill>
                <a:schemeClr val="bg2">
                  <a:lumMod val="25000"/>
                </a:schemeClr>
              </a:solidFill>
              <a:latin typeface="+mn-ea"/>
            </a:endParaRPr>
          </a:p>
          <a:p>
            <a:pPr>
              <a:lnSpc>
                <a:spcPct val="150000"/>
              </a:lnSpc>
            </a:pPr>
            <a:r>
              <a:rPr lang="en-US" altLang="zh-CN" b="1" dirty="0" smtClean="0">
                <a:solidFill>
                  <a:schemeClr val="bg2">
                    <a:lumMod val="25000"/>
                  </a:schemeClr>
                </a:solidFill>
                <a:latin typeface="+mn-ea"/>
              </a:rPr>
              <a:t> </a:t>
            </a:r>
            <a:r>
              <a:rPr lang="en-US" altLang="zh-CN" dirty="0" smtClean="0">
                <a:solidFill>
                  <a:schemeClr val="bg2">
                    <a:lumMod val="25000"/>
                  </a:schemeClr>
                </a:solidFill>
                <a:latin typeface="+mn-ea"/>
              </a:rPr>
              <a:t>https</a:t>
            </a:r>
            <a:r>
              <a:rPr lang="en-US" altLang="zh-CN" dirty="0">
                <a:solidFill>
                  <a:schemeClr val="bg2">
                    <a:lumMod val="25000"/>
                  </a:schemeClr>
                </a:solidFill>
                <a:latin typeface="+mn-ea"/>
              </a:rPr>
              <a:t>://marketplace.huaweicloud.com/ </a:t>
            </a:r>
            <a:endParaRPr lang="zh-CN" altLang="en-US" dirty="0">
              <a:solidFill>
                <a:schemeClr val="bg2">
                  <a:lumMod val="25000"/>
                </a:schemeClr>
              </a:solidFill>
              <a:latin typeface="+mn-ea"/>
            </a:endParaRPr>
          </a:p>
          <a:p>
            <a:pPr>
              <a:lnSpc>
                <a:spcPct val="150000"/>
              </a:lnSpc>
            </a:pPr>
            <a:r>
              <a:rPr lang="zh-CN" altLang="en-US" b="1" dirty="0">
                <a:solidFill>
                  <a:schemeClr val="bg2">
                    <a:lumMod val="25000"/>
                  </a:schemeClr>
                </a:solidFill>
                <a:latin typeface="+mn-ea"/>
              </a:rPr>
              <a:t>步骤</a:t>
            </a:r>
            <a:r>
              <a:rPr lang="en-US" altLang="zh-CN" b="1" dirty="0">
                <a:solidFill>
                  <a:schemeClr val="bg2">
                    <a:lumMod val="25000"/>
                  </a:schemeClr>
                </a:solidFill>
                <a:latin typeface="+mn-ea"/>
              </a:rPr>
              <a:t>2 </a:t>
            </a:r>
            <a:r>
              <a:rPr lang="zh-CN" altLang="en-US" b="1" dirty="0" smtClean="0">
                <a:solidFill>
                  <a:schemeClr val="bg2">
                    <a:lumMod val="25000"/>
                  </a:schemeClr>
                </a:solidFill>
                <a:latin typeface="+mn-ea"/>
              </a:rPr>
              <a:t>选择商品</a:t>
            </a:r>
            <a:endParaRPr lang="zh-CN" altLang="en-US" b="1" dirty="0">
              <a:solidFill>
                <a:schemeClr val="bg2">
                  <a:lumMod val="25000"/>
                </a:schemeClr>
              </a:solidFill>
              <a:latin typeface="+mn-ea"/>
            </a:endParaRPr>
          </a:p>
          <a:p>
            <a:pPr>
              <a:lnSpc>
                <a:spcPct val="150000"/>
              </a:lnSpc>
            </a:pPr>
            <a:r>
              <a:rPr lang="zh-CN" altLang="en-US" dirty="0" smtClean="0">
                <a:solidFill>
                  <a:schemeClr val="bg2">
                    <a:lumMod val="25000"/>
                  </a:schemeClr>
                </a:solidFill>
                <a:latin typeface="+mn-ea"/>
              </a:rPr>
              <a:t>在</a:t>
            </a:r>
            <a:r>
              <a:rPr lang="zh-CN" altLang="en-US" dirty="0">
                <a:solidFill>
                  <a:schemeClr val="bg2">
                    <a:lumMod val="25000"/>
                  </a:schemeClr>
                </a:solidFill>
                <a:latin typeface="+mn-ea"/>
              </a:rPr>
              <a:t>页面顶端搜索栏</a:t>
            </a:r>
            <a:r>
              <a:rPr lang="zh-CN" altLang="en-US" dirty="0" smtClean="0">
                <a:solidFill>
                  <a:schemeClr val="bg2">
                    <a:lumMod val="25000"/>
                  </a:schemeClr>
                </a:solidFill>
                <a:latin typeface="+mn-ea"/>
              </a:rPr>
              <a:t>搜索“中软国际智慧园区咨询服务”</a:t>
            </a:r>
            <a:endParaRPr lang="zh-CN" altLang="en-US" dirty="0">
              <a:solidFill>
                <a:schemeClr val="bg2">
                  <a:lumMod val="25000"/>
                </a:schemeClr>
              </a:solidFill>
              <a:latin typeface="+mn-ea"/>
            </a:endParaRPr>
          </a:p>
          <a:p>
            <a:pPr>
              <a:lnSpc>
                <a:spcPct val="150000"/>
              </a:lnSpc>
            </a:pPr>
            <a:r>
              <a:rPr lang="zh-CN" altLang="en-US" b="1" dirty="0" smtClean="0">
                <a:solidFill>
                  <a:schemeClr val="bg2">
                    <a:lumMod val="25000"/>
                  </a:schemeClr>
                </a:solidFill>
                <a:latin typeface="+mn-ea"/>
              </a:rPr>
              <a:t>步骤</a:t>
            </a:r>
            <a:r>
              <a:rPr lang="en-US" altLang="zh-CN" b="1" dirty="0">
                <a:solidFill>
                  <a:schemeClr val="bg2">
                    <a:lumMod val="25000"/>
                  </a:schemeClr>
                </a:solidFill>
                <a:latin typeface="+mn-ea"/>
              </a:rPr>
              <a:t>3 </a:t>
            </a:r>
            <a:r>
              <a:rPr lang="zh-CN" altLang="en-US" b="1" dirty="0">
                <a:solidFill>
                  <a:schemeClr val="bg2">
                    <a:lumMod val="25000"/>
                  </a:schemeClr>
                </a:solidFill>
                <a:latin typeface="+mn-ea"/>
              </a:rPr>
              <a:t>单击具体商品名称，进入商品详情</a:t>
            </a:r>
            <a:r>
              <a:rPr lang="zh-CN" altLang="en-US" b="1" dirty="0" smtClean="0">
                <a:solidFill>
                  <a:schemeClr val="bg2">
                    <a:lumMod val="25000"/>
                  </a:schemeClr>
                </a:solidFill>
                <a:latin typeface="+mn-ea"/>
              </a:rPr>
              <a:t>页面</a:t>
            </a:r>
            <a:endParaRPr lang="zh-CN" altLang="en-US" b="1" dirty="0">
              <a:solidFill>
                <a:schemeClr val="bg2">
                  <a:lumMod val="25000"/>
                </a:schemeClr>
              </a:solidFill>
              <a:latin typeface="+mn-ea"/>
            </a:endParaRPr>
          </a:p>
          <a:p>
            <a:pPr>
              <a:lnSpc>
                <a:spcPct val="150000"/>
              </a:lnSpc>
            </a:pPr>
            <a:r>
              <a:rPr lang="zh-CN" altLang="en-US" b="1" dirty="0">
                <a:solidFill>
                  <a:schemeClr val="bg2">
                    <a:lumMod val="25000"/>
                  </a:schemeClr>
                </a:solidFill>
                <a:latin typeface="+mn-ea"/>
              </a:rPr>
              <a:t>步骤</a:t>
            </a:r>
            <a:r>
              <a:rPr lang="en-US" altLang="zh-CN" b="1" dirty="0">
                <a:solidFill>
                  <a:schemeClr val="bg2">
                    <a:lumMod val="25000"/>
                  </a:schemeClr>
                </a:solidFill>
                <a:latin typeface="+mn-ea"/>
              </a:rPr>
              <a:t>4 </a:t>
            </a:r>
            <a:r>
              <a:rPr lang="zh-CN" altLang="en-US" b="1" dirty="0">
                <a:solidFill>
                  <a:schemeClr val="bg2">
                    <a:lumMod val="25000"/>
                  </a:schemeClr>
                </a:solidFill>
                <a:latin typeface="+mn-ea"/>
              </a:rPr>
              <a:t>查看商品信息、设置服务选型后，单击</a:t>
            </a:r>
            <a:r>
              <a:rPr lang="zh-CN" altLang="en-US" b="1" dirty="0" smtClean="0">
                <a:solidFill>
                  <a:schemeClr val="bg2">
                    <a:lumMod val="25000"/>
                  </a:schemeClr>
                </a:solidFill>
                <a:latin typeface="+mn-ea"/>
              </a:rPr>
              <a:t>“立即购买”</a:t>
            </a:r>
            <a:endParaRPr lang="en-US" altLang="zh-CN" b="1" dirty="0">
              <a:solidFill>
                <a:schemeClr val="bg2">
                  <a:lumMod val="25000"/>
                </a:schemeClr>
              </a:solidFill>
              <a:latin typeface="+mn-ea"/>
            </a:endParaRPr>
          </a:p>
          <a:p>
            <a:pPr>
              <a:lnSpc>
                <a:spcPct val="150000"/>
              </a:lnSpc>
            </a:pPr>
            <a:endParaRPr lang="en-US" altLang="zh-CN" b="1" dirty="0" smtClean="0">
              <a:solidFill>
                <a:schemeClr val="bg2">
                  <a:lumMod val="25000"/>
                </a:schemeClr>
              </a:solidFill>
              <a:latin typeface="+mn-ea"/>
            </a:endParaRPr>
          </a:p>
          <a:p>
            <a:pPr>
              <a:lnSpc>
                <a:spcPct val="150000"/>
              </a:lnSpc>
            </a:pPr>
            <a:r>
              <a:rPr lang="zh-CN" altLang="en-US" b="1" dirty="0" smtClean="0">
                <a:solidFill>
                  <a:schemeClr val="bg2">
                    <a:lumMod val="25000"/>
                  </a:schemeClr>
                </a:solidFill>
                <a:latin typeface="+mn-ea"/>
              </a:rPr>
              <a:t>智慧园区咨询服务属于高定制商品，建议购买服务前与服务商联系，沟通确认好细节后再进行下单购买，祝您购物愉快！</a:t>
            </a:r>
            <a:endParaRPr lang="zh-CN" altLang="en-US" dirty="0">
              <a:solidFill>
                <a:schemeClr val="bg2">
                  <a:lumMod val="25000"/>
                </a:schemeClr>
              </a:solidFill>
              <a:latin typeface="+mn-ea"/>
            </a:endParaRPr>
          </a:p>
        </p:txBody>
      </p:sp>
    </p:spTree>
    <p:extLst>
      <p:ext uri="{BB962C8B-B14F-4D97-AF65-F5344CB8AC3E}">
        <p14:creationId xmlns:p14="http://schemas.microsoft.com/office/powerpoint/2010/main" val="27741152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73C6"/>
        </a:solidFill>
        <a:effectLst/>
      </p:bgPr>
    </p:bg>
    <p:spTree>
      <p:nvGrpSpPr>
        <p:cNvPr id="1" name=""/>
        <p:cNvGrpSpPr/>
        <p:nvPr/>
      </p:nvGrpSpPr>
      <p:grpSpPr>
        <a:xfrm>
          <a:off x="0" y="0"/>
          <a:ext cx="0" cy="0"/>
          <a:chOff x="0" y="0"/>
          <a:chExt cx="0" cy="0"/>
        </a:xfrm>
      </p:grpSpPr>
    </p:spTree>
  </p:cSld>
  <p:clrMapOvr>
    <a:masterClrMapping/>
  </p:clrMapOvr>
  <p:transition spd="slow">
    <p:push dir="u"/>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a:t>中</a:t>
            </a:r>
            <a:r>
              <a:rPr lang="zh-CN" altLang="en-US" dirty="0" smtClean="0"/>
              <a:t>软国际简介</a:t>
            </a:r>
            <a:endParaRPr lang="zh-CN" altLang="en-US" dirty="0"/>
          </a:p>
        </p:txBody>
      </p:sp>
      <p:sp>
        <p:nvSpPr>
          <p:cNvPr id="6" name="文本框 5"/>
          <p:cNvSpPr txBox="1"/>
          <p:nvPr/>
        </p:nvSpPr>
        <p:spPr>
          <a:xfrm>
            <a:off x="351630" y="1036725"/>
            <a:ext cx="9000000" cy="480131"/>
          </a:xfrm>
          <a:prstGeom prst="rect">
            <a:avLst/>
          </a:prstGeom>
          <a:noFill/>
          <a:effectLst>
            <a:outerShdw blurRad="50800" dist="38100" dir="8100000" algn="tr" rotWithShape="0">
              <a:prstClr val="black">
                <a:alpha val="40000"/>
              </a:prstClr>
            </a:outerShdw>
          </a:effectLst>
        </p:spPr>
        <p:txBody>
          <a:bodyPr wrap="square" rtlCol="0" anchor="t">
            <a:spAutoFit/>
          </a:bodyPr>
          <a:lstStyle/>
          <a:p>
            <a:pPr defTabSz="466390">
              <a:lnSpc>
                <a:spcPct val="140000"/>
              </a:lnSpc>
            </a:pPr>
            <a:r>
              <a:rPr lang="zh-CN" altLang="en-US" sz="1800" spc="153" dirty="0" smtClean="0">
                <a:solidFill>
                  <a:schemeClr val="bg2">
                    <a:lumMod val="25000"/>
                  </a:schemeClr>
                </a:solidFill>
                <a:latin typeface="+mn-ea"/>
                <a:cs typeface="微软雅黑" panose="020B0503020204020204" pitchFamily="34" charset="-122"/>
                <a:sym typeface="+mn-lt"/>
              </a:rPr>
              <a:t>创造</a:t>
            </a:r>
            <a:r>
              <a:rPr lang="zh-CN" altLang="en-US" sz="1800" spc="153" dirty="0">
                <a:solidFill>
                  <a:schemeClr val="bg2">
                    <a:lumMod val="25000"/>
                  </a:schemeClr>
                </a:solidFill>
                <a:latin typeface="+mn-ea"/>
                <a:cs typeface="微软雅黑" panose="020B0503020204020204" pitchFamily="34" charset="-122"/>
                <a:sym typeface="+mn-lt"/>
              </a:rPr>
              <a:t>与分享，普惠IT服务，在世界数字经济舞台构建中国力量！</a:t>
            </a:r>
          </a:p>
        </p:txBody>
      </p:sp>
      <p:cxnSp>
        <p:nvCxnSpPr>
          <p:cNvPr id="7" name="直接连接符 6"/>
          <p:cNvCxnSpPr/>
          <p:nvPr/>
        </p:nvCxnSpPr>
        <p:spPr>
          <a:xfrm flipV="1">
            <a:off x="351631" y="1516856"/>
            <a:ext cx="11353800" cy="7216"/>
          </a:xfrm>
          <a:prstGeom prst="line">
            <a:avLst/>
          </a:prstGeom>
          <a:ln>
            <a:solidFill>
              <a:schemeClr val="bg2">
                <a:lumMod val="25000"/>
              </a:schemeClr>
            </a:solidFill>
          </a:ln>
        </p:spPr>
        <p:style>
          <a:lnRef idx="1">
            <a:schemeClr val="dk1"/>
          </a:lnRef>
          <a:fillRef idx="0">
            <a:schemeClr val="dk1"/>
          </a:fillRef>
          <a:effectRef idx="0">
            <a:schemeClr val="dk1"/>
          </a:effectRef>
          <a:fontRef idx="minor">
            <a:schemeClr val="tx1"/>
          </a:fontRef>
        </p:style>
      </p:cxnSp>
      <p:sp>
        <p:nvSpPr>
          <p:cNvPr id="8" name="Rectangle 67"/>
          <p:cNvSpPr/>
          <p:nvPr/>
        </p:nvSpPr>
        <p:spPr>
          <a:xfrm>
            <a:off x="442485" y="1593056"/>
            <a:ext cx="5776546" cy="3416320"/>
          </a:xfrm>
          <a:prstGeom prst="rect">
            <a:avLst/>
          </a:prstGeom>
          <a:noFill/>
        </p:spPr>
        <p:txBody>
          <a:bodyPr wrap="square">
            <a:spAutoFit/>
            <a:scene3d>
              <a:camera prst="orthographicFront"/>
              <a:lightRig rig="threePt" dir="t"/>
            </a:scene3d>
          </a:bodyPr>
          <a:lstStyle/>
          <a:p>
            <a:pPr marL="291494" indent="-291494" algn="just" defTabSz="466390">
              <a:lnSpc>
                <a:spcPct val="200000"/>
              </a:lnSpc>
              <a:buFont typeface="Arial" panose="020B0604020202020204" pitchFamily="34" charset="0"/>
              <a:buChar char="•"/>
            </a:pPr>
            <a:r>
              <a:rPr lang="zh-CN" altLang="en-US" sz="1800" dirty="0">
                <a:solidFill>
                  <a:schemeClr val="bg2">
                    <a:lumMod val="25000"/>
                  </a:schemeClr>
                </a:solidFill>
                <a:latin typeface="+mn-ea"/>
                <a:cs typeface="Microsoft YaHei UI Light" panose="020B0502040204020203" pitchFamily="34" charset="-122"/>
              </a:rPr>
              <a:t>2000年成立，与中国软件产业共成长</a:t>
            </a:r>
          </a:p>
          <a:p>
            <a:pPr marL="291494" indent="-291494" algn="just" defTabSz="466390">
              <a:lnSpc>
                <a:spcPct val="200000"/>
              </a:lnSpc>
              <a:buFont typeface="Arial" panose="020B0604020202020204" pitchFamily="34" charset="0"/>
              <a:buChar char="•"/>
            </a:pPr>
            <a:r>
              <a:rPr lang="zh-CN" altLang="en-US" sz="1800" dirty="0">
                <a:solidFill>
                  <a:schemeClr val="bg2">
                    <a:lumMod val="25000"/>
                  </a:schemeClr>
                </a:solidFill>
                <a:latin typeface="+mn-ea"/>
                <a:cs typeface="Microsoft YaHei UI Light" panose="020B0502040204020203" pitchFamily="34" charset="-122"/>
              </a:rPr>
              <a:t>香港主板上市（HKSE: 00354</a:t>
            </a:r>
            <a:r>
              <a:rPr lang="zh-CN" altLang="en-US" sz="1800" dirty="0" smtClean="0">
                <a:solidFill>
                  <a:schemeClr val="bg2">
                    <a:lumMod val="25000"/>
                  </a:schemeClr>
                </a:solidFill>
                <a:latin typeface="+mn-ea"/>
                <a:cs typeface="Microsoft YaHei UI Light" panose="020B0502040204020203" pitchFamily="34" charset="-122"/>
              </a:rPr>
              <a:t>），企业信用等级</a:t>
            </a:r>
            <a:r>
              <a:rPr lang="en-US" altLang="zh-CN" sz="1800" dirty="0" smtClean="0">
                <a:solidFill>
                  <a:schemeClr val="bg2">
                    <a:lumMod val="25000"/>
                  </a:schemeClr>
                </a:solidFill>
                <a:latin typeface="+mn-ea"/>
                <a:cs typeface="Microsoft YaHei UI Light" panose="020B0502040204020203" pitchFamily="34" charset="-122"/>
              </a:rPr>
              <a:t>AAA</a:t>
            </a:r>
            <a:endParaRPr lang="zh-CN" altLang="en-US" sz="1800" dirty="0">
              <a:solidFill>
                <a:schemeClr val="bg2">
                  <a:lumMod val="25000"/>
                </a:schemeClr>
              </a:solidFill>
              <a:latin typeface="+mn-ea"/>
              <a:cs typeface="Microsoft YaHei UI Light" panose="020B0502040204020203" pitchFamily="34" charset="-122"/>
            </a:endParaRPr>
          </a:p>
          <a:p>
            <a:pPr marL="291494" indent="-291494" algn="just" defTabSz="466390">
              <a:lnSpc>
                <a:spcPct val="200000"/>
              </a:lnSpc>
              <a:buFont typeface="Arial" panose="020B0604020202020204" pitchFamily="34" charset="0"/>
              <a:buChar char="•"/>
            </a:pPr>
            <a:r>
              <a:rPr lang="zh-CN" altLang="en-US" sz="1800" dirty="0">
                <a:solidFill>
                  <a:schemeClr val="bg2">
                    <a:lumMod val="25000"/>
                  </a:schemeClr>
                </a:solidFill>
                <a:latin typeface="+mn-ea"/>
                <a:cs typeface="Microsoft YaHei UI Light" panose="020B0502040204020203" pitchFamily="34" charset="-122"/>
                <a:sym typeface="+mn-ea"/>
              </a:rPr>
              <a:t>全球6大战略中心，服务32个国家，1911个活跃</a:t>
            </a:r>
            <a:r>
              <a:rPr lang="zh-CN" altLang="en-US" sz="1800" dirty="0" smtClean="0">
                <a:solidFill>
                  <a:schemeClr val="bg2">
                    <a:lumMod val="25000"/>
                  </a:schemeClr>
                </a:solidFill>
                <a:latin typeface="+mn-ea"/>
                <a:cs typeface="Microsoft YaHei UI Light" panose="020B0502040204020203" pitchFamily="34" charset="-122"/>
                <a:sym typeface="+mn-ea"/>
              </a:rPr>
              <a:t>客户</a:t>
            </a:r>
            <a:endParaRPr lang="zh-CN" altLang="en-US" sz="1800" dirty="0">
              <a:solidFill>
                <a:schemeClr val="bg2">
                  <a:lumMod val="25000"/>
                </a:schemeClr>
              </a:solidFill>
              <a:latin typeface="+mn-ea"/>
              <a:cs typeface="Microsoft YaHei UI Light" panose="020B0502040204020203" pitchFamily="34" charset="-122"/>
              <a:sym typeface="+mn-ea"/>
            </a:endParaRPr>
          </a:p>
          <a:p>
            <a:pPr marL="291494" indent="-291494" algn="just" defTabSz="466390">
              <a:lnSpc>
                <a:spcPct val="200000"/>
              </a:lnSpc>
              <a:buFont typeface="Arial" panose="020B0604020202020204" pitchFamily="34" charset="0"/>
              <a:buChar char="•"/>
            </a:pPr>
            <a:r>
              <a:rPr lang="zh-CN" altLang="en-US" sz="1800" dirty="0">
                <a:solidFill>
                  <a:schemeClr val="bg2">
                    <a:lumMod val="25000"/>
                  </a:schemeClr>
                </a:solidFill>
                <a:latin typeface="+mn-ea"/>
                <a:cs typeface="Microsoft YaHei UI Light" panose="020B0502040204020203" pitchFamily="34" charset="-122"/>
                <a:sym typeface="+mn-ea"/>
              </a:rPr>
              <a:t>连续7年荣膺“国家规划布局内重点软件企业”</a:t>
            </a:r>
          </a:p>
          <a:p>
            <a:pPr marL="291494" indent="-291494" algn="just" defTabSz="466390">
              <a:lnSpc>
                <a:spcPct val="200000"/>
              </a:lnSpc>
              <a:buFont typeface="Arial" panose="020B0604020202020204" pitchFamily="34" charset="0"/>
              <a:buChar char="•"/>
            </a:pPr>
            <a:r>
              <a:rPr lang="zh-CN" altLang="en-US" sz="1800" dirty="0">
                <a:solidFill>
                  <a:schemeClr val="bg2">
                    <a:lumMod val="25000"/>
                  </a:schemeClr>
                </a:solidFill>
                <a:latin typeface="+mn-ea"/>
                <a:cs typeface="Microsoft YaHei UI Light" panose="020B0502040204020203" pitchFamily="34" charset="-122"/>
              </a:rPr>
              <a:t>蝉联中国软件和信息服务综合竞争力百强企业TOP10</a:t>
            </a:r>
          </a:p>
          <a:p>
            <a:pPr marL="291494" indent="-291494" algn="just" defTabSz="466390">
              <a:lnSpc>
                <a:spcPct val="200000"/>
              </a:lnSpc>
              <a:buFont typeface="Arial" panose="020B0604020202020204" pitchFamily="34" charset="0"/>
              <a:buChar char="•"/>
            </a:pPr>
            <a:r>
              <a:rPr lang="zh-CN" altLang="en-US" sz="1800" dirty="0">
                <a:solidFill>
                  <a:schemeClr val="bg2">
                    <a:lumMod val="25000"/>
                  </a:schemeClr>
                </a:solidFill>
                <a:latin typeface="+mn-ea"/>
                <a:cs typeface="Microsoft YaHei UI Light" panose="020B0502040204020203" pitchFamily="34" charset="-122"/>
                <a:sym typeface="+mn-ea"/>
              </a:rPr>
              <a:t>多次入选德勤“高科技，高成长亚洲500强”</a:t>
            </a:r>
          </a:p>
        </p:txBody>
      </p:sp>
      <p:sp>
        <p:nvSpPr>
          <p:cNvPr id="9" name="矩形 8"/>
          <p:cNvSpPr/>
          <p:nvPr>
            <p:custDataLst>
              <p:tags r:id="rId1"/>
            </p:custDataLst>
          </p:nvPr>
        </p:nvSpPr>
        <p:spPr>
          <a:xfrm>
            <a:off x="1266031" y="6207056"/>
            <a:ext cx="1652508" cy="379604"/>
          </a:xfrm>
          <a:prstGeom prst="rect">
            <a:avLst/>
          </a:prstGeom>
        </p:spPr>
        <p:txBody>
          <a:bodyPr wrap="square" lIns="91813" tIns="47743" rIns="91813" bIns="47743" anchor="t" anchorCtr="0">
            <a:noAutofit/>
            <a:scene3d>
              <a:camera prst="orthographicFront"/>
              <a:lightRig rig="threePt" dir="t"/>
            </a:scene3d>
          </a:bodyPr>
          <a:lstStyle/>
          <a:p>
            <a:pPr algn="ctr" defTabSz="932779">
              <a:lnSpc>
                <a:spcPct val="120000"/>
              </a:lnSpc>
              <a:defRPr/>
            </a:pPr>
            <a:r>
              <a:rPr lang="zh-CN" altLang="en-US" sz="1632" b="1" spc="153" dirty="0" smtClean="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rPr>
              <a:t>总</a:t>
            </a:r>
            <a:r>
              <a:rPr lang="zh-CN" altLang="en-US" sz="1632" b="1" spc="153" dirty="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rPr>
              <a:t>营收</a:t>
            </a:r>
          </a:p>
        </p:txBody>
      </p:sp>
      <p:sp>
        <p:nvSpPr>
          <p:cNvPr id="10" name="矩形 9"/>
          <p:cNvSpPr/>
          <p:nvPr>
            <p:custDataLst>
              <p:tags r:id="rId2"/>
            </p:custDataLst>
          </p:nvPr>
        </p:nvSpPr>
        <p:spPr>
          <a:xfrm>
            <a:off x="3399631" y="6207056"/>
            <a:ext cx="1885711" cy="379604"/>
          </a:xfrm>
          <a:prstGeom prst="rect">
            <a:avLst/>
          </a:prstGeom>
        </p:spPr>
        <p:txBody>
          <a:bodyPr wrap="square" lIns="91813" tIns="47743" rIns="91813" bIns="47743" anchor="t" anchorCtr="0">
            <a:noAutofit/>
            <a:scene3d>
              <a:camera prst="orthographicFront"/>
              <a:lightRig rig="threePt" dir="t"/>
            </a:scene3d>
          </a:bodyPr>
          <a:lstStyle/>
          <a:p>
            <a:pPr algn="ctr" defTabSz="932779">
              <a:lnSpc>
                <a:spcPct val="120000"/>
              </a:lnSpc>
              <a:defRPr/>
            </a:pPr>
            <a:r>
              <a:rPr lang="zh-CN" altLang="en-US" sz="1632" b="1" spc="153" dirty="0">
                <a:solidFill>
                  <a:schemeClr val="bg2">
                    <a:lumMod val="25000"/>
                  </a:schemeClr>
                </a:solidFill>
                <a:effectLst>
                  <a:outerShdw blurRad="38100" dist="38100" dir="2700000" algn="tl">
                    <a:srgbClr val="000000">
                      <a:alpha val="43137"/>
                    </a:srgbClr>
                  </a:outerShdw>
                </a:effectLst>
                <a:latin typeface="+mn-ea"/>
              </a:rPr>
              <a:t>云智能业务</a:t>
            </a:r>
          </a:p>
        </p:txBody>
      </p:sp>
      <p:sp>
        <p:nvSpPr>
          <p:cNvPr id="11" name="矩形 10"/>
          <p:cNvSpPr/>
          <p:nvPr>
            <p:custDataLst>
              <p:tags r:id="rId3"/>
            </p:custDataLst>
          </p:nvPr>
        </p:nvSpPr>
        <p:spPr>
          <a:xfrm>
            <a:off x="5152231" y="6207056"/>
            <a:ext cx="2827595" cy="720000"/>
          </a:xfrm>
          <a:prstGeom prst="rect">
            <a:avLst/>
          </a:prstGeom>
        </p:spPr>
        <p:txBody>
          <a:bodyPr wrap="square" lIns="91813" tIns="47743" rIns="91813" bIns="47743" anchor="t" anchorCtr="0">
            <a:noAutofit/>
            <a:scene3d>
              <a:camera prst="orthographicFront"/>
              <a:lightRig rig="threePt" dir="t"/>
            </a:scene3d>
          </a:bodyPr>
          <a:lstStyle/>
          <a:p>
            <a:pPr algn="ctr" defTabSz="932779">
              <a:lnSpc>
                <a:spcPct val="120000"/>
              </a:lnSpc>
              <a:defRPr/>
            </a:pPr>
            <a:r>
              <a:rPr lang="zh-CN" altLang="en-US" sz="1632" b="1" spc="153" dirty="0">
                <a:solidFill>
                  <a:schemeClr val="bg2">
                    <a:lumMod val="25000"/>
                  </a:schemeClr>
                </a:solidFill>
                <a:effectLst>
                  <a:outerShdw blurRad="38100" dist="38100" dir="2700000" algn="tl">
                    <a:srgbClr val="000000">
                      <a:alpha val="43137"/>
                    </a:srgbClr>
                  </a:outerShdw>
                </a:effectLst>
                <a:latin typeface="+mn-ea"/>
                <a:cs typeface="Microsoft YaHei UI Light" panose="020B0502040204020203" pitchFamily="34" charset="-122"/>
                <a:sym typeface="+mn-ea"/>
              </a:rPr>
              <a:t>Gartner IT</a:t>
            </a:r>
            <a:r>
              <a:rPr lang="zh-CN" altLang="en-US" sz="1632" b="1" spc="153" dirty="0" smtClean="0">
                <a:solidFill>
                  <a:schemeClr val="bg2">
                    <a:lumMod val="25000"/>
                  </a:schemeClr>
                </a:solidFill>
                <a:effectLst>
                  <a:outerShdw blurRad="38100" dist="38100" dir="2700000" algn="tl">
                    <a:srgbClr val="000000">
                      <a:alpha val="43137"/>
                    </a:srgbClr>
                  </a:outerShdw>
                </a:effectLst>
                <a:latin typeface="+mn-ea"/>
                <a:cs typeface="Microsoft YaHei UI Light" panose="020B0502040204020203" pitchFamily="34" charset="-122"/>
                <a:sym typeface="+mn-ea"/>
              </a:rPr>
              <a:t>服务</a:t>
            </a:r>
            <a:endParaRPr lang="en-US" altLang="zh-CN" sz="1632" b="1" spc="153" dirty="0" smtClean="0">
              <a:solidFill>
                <a:schemeClr val="bg2">
                  <a:lumMod val="25000"/>
                </a:schemeClr>
              </a:solidFill>
              <a:effectLst>
                <a:outerShdw blurRad="38100" dist="38100" dir="2700000" algn="tl">
                  <a:srgbClr val="000000">
                    <a:alpha val="43137"/>
                  </a:srgbClr>
                </a:outerShdw>
              </a:effectLst>
              <a:latin typeface="+mn-ea"/>
              <a:cs typeface="Microsoft YaHei UI Light" panose="020B0502040204020203" pitchFamily="34" charset="-122"/>
              <a:sym typeface="+mn-ea"/>
            </a:endParaRPr>
          </a:p>
          <a:p>
            <a:pPr algn="ctr" defTabSz="932779">
              <a:lnSpc>
                <a:spcPct val="120000"/>
              </a:lnSpc>
              <a:defRPr/>
            </a:pPr>
            <a:r>
              <a:rPr lang="zh-CN" altLang="en-US" sz="1632" b="1" spc="153" dirty="0" smtClean="0">
                <a:solidFill>
                  <a:schemeClr val="bg2">
                    <a:lumMod val="25000"/>
                  </a:schemeClr>
                </a:solidFill>
                <a:effectLst>
                  <a:outerShdw blurRad="38100" dist="38100" dir="2700000" algn="tl">
                    <a:srgbClr val="000000">
                      <a:alpha val="43137"/>
                    </a:srgbClr>
                  </a:outerShdw>
                </a:effectLst>
                <a:latin typeface="+mn-ea"/>
                <a:cs typeface="Microsoft YaHei UI Light" panose="020B0502040204020203" pitchFamily="34" charset="-122"/>
                <a:sym typeface="+mn-ea"/>
              </a:rPr>
              <a:t>市场份额全球</a:t>
            </a:r>
            <a:r>
              <a:rPr lang="zh-CN" altLang="en-US" sz="1632" b="1" spc="153" dirty="0">
                <a:solidFill>
                  <a:schemeClr val="bg2">
                    <a:lumMod val="25000"/>
                  </a:schemeClr>
                </a:solidFill>
                <a:effectLst>
                  <a:outerShdw blurRad="38100" dist="38100" dir="2700000" algn="tl">
                    <a:srgbClr val="000000">
                      <a:alpha val="43137"/>
                    </a:srgbClr>
                  </a:outerShdw>
                </a:effectLst>
                <a:latin typeface="+mn-ea"/>
                <a:cs typeface="Microsoft YaHei UI Light" panose="020B0502040204020203" pitchFamily="34" charset="-122"/>
                <a:sym typeface="+mn-ea"/>
              </a:rPr>
              <a:t>排名</a:t>
            </a:r>
          </a:p>
        </p:txBody>
      </p:sp>
      <p:sp>
        <p:nvSpPr>
          <p:cNvPr id="12" name="矩形 11"/>
          <p:cNvSpPr/>
          <p:nvPr>
            <p:custDataLst>
              <p:tags r:id="rId4"/>
            </p:custDataLst>
          </p:nvPr>
        </p:nvSpPr>
        <p:spPr>
          <a:xfrm>
            <a:off x="8124031" y="6207056"/>
            <a:ext cx="1652508" cy="720000"/>
          </a:xfrm>
          <a:prstGeom prst="rect">
            <a:avLst/>
          </a:prstGeom>
        </p:spPr>
        <p:txBody>
          <a:bodyPr wrap="square" lIns="91813" tIns="47743" rIns="91813" bIns="47743" anchor="t" anchorCtr="0">
            <a:noAutofit/>
            <a:scene3d>
              <a:camera prst="orthographicFront"/>
              <a:lightRig rig="threePt" dir="t"/>
            </a:scene3d>
          </a:bodyPr>
          <a:lstStyle/>
          <a:p>
            <a:pPr algn="ctr" defTabSz="932779">
              <a:lnSpc>
                <a:spcPct val="120000"/>
              </a:lnSpc>
              <a:defRPr/>
            </a:pPr>
            <a:r>
              <a:rPr lang="zh-CN" altLang="en-US" sz="1632" b="1" spc="153" dirty="0">
                <a:solidFill>
                  <a:schemeClr val="bg2">
                    <a:lumMod val="25000"/>
                  </a:schemeClr>
                </a:solidFill>
                <a:effectLst>
                  <a:outerShdw blurRad="38100" dist="38100" dir="2700000" algn="tl">
                    <a:srgbClr val="000000">
                      <a:alpha val="43137"/>
                    </a:srgbClr>
                  </a:outerShdw>
                </a:effectLst>
                <a:latin typeface="+mn-ea"/>
                <a:cs typeface="Microsoft YaHei UI Light" panose="020B0502040204020203" pitchFamily="34" charset="-122"/>
                <a:sym typeface="+mn-ea"/>
              </a:rPr>
              <a:t>IDC中国</a:t>
            </a:r>
          </a:p>
          <a:p>
            <a:pPr algn="ctr" defTabSz="932779">
              <a:lnSpc>
                <a:spcPct val="120000"/>
              </a:lnSpc>
              <a:defRPr/>
            </a:pPr>
            <a:r>
              <a:rPr lang="zh-CN" altLang="en-US" sz="1632" b="1" spc="153" dirty="0">
                <a:solidFill>
                  <a:schemeClr val="bg2">
                    <a:lumMod val="25000"/>
                  </a:schemeClr>
                </a:solidFill>
                <a:effectLst>
                  <a:outerShdw blurRad="38100" dist="38100" dir="2700000" algn="tl">
                    <a:srgbClr val="000000">
                      <a:alpha val="43137"/>
                    </a:srgbClr>
                  </a:outerShdw>
                </a:effectLst>
                <a:latin typeface="+mn-ea"/>
                <a:cs typeface="Microsoft YaHei UI Light" panose="020B0502040204020203" pitchFamily="34" charset="-122"/>
                <a:sym typeface="+mn-ea"/>
              </a:rPr>
              <a:t>云管理市场</a:t>
            </a:r>
          </a:p>
          <a:p>
            <a:pPr algn="ctr" defTabSz="932779">
              <a:lnSpc>
                <a:spcPct val="120000"/>
              </a:lnSpc>
              <a:defRPr/>
            </a:pPr>
            <a:endParaRPr lang="zh-CN" altLang="en-US" sz="1632" b="1" spc="153" dirty="0">
              <a:solidFill>
                <a:schemeClr val="bg2">
                  <a:lumMod val="25000"/>
                </a:schemeClr>
              </a:solidFill>
              <a:effectLst>
                <a:outerShdw blurRad="38100" dist="38100" dir="2700000" algn="tl">
                  <a:srgbClr val="000000">
                    <a:alpha val="43137"/>
                  </a:srgbClr>
                </a:outerShdw>
              </a:effectLst>
              <a:latin typeface="+mn-ea"/>
              <a:cs typeface="Microsoft YaHei UI Light" panose="020B0502040204020203" pitchFamily="34" charset="-122"/>
              <a:sym typeface="+mn-ea"/>
            </a:endParaRPr>
          </a:p>
        </p:txBody>
      </p:sp>
      <p:sp>
        <p:nvSpPr>
          <p:cNvPr id="13" name="矩形 12"/>
          <p:cNvSpPr/>
          <p:nvPr>
            <p:custDataLst>
              <p:tags r:id="rId5"/>
            </p:custDataLst>
          </p:nvPr>
        </p:nvSpPr>
        <p:spPr>
          <a:xfrm>
            <a:off x="10257631" y="6207056"/>
            <a:ext cx="1652508" cy="379604"/>
          </a:xfrm>
          <a:prstGeom prst="rect">
            <a:avLst/>
          </a:prstGeom>
        </p:spPr>
        <p:txBody>
          <a:bodyPr wrap="square" lIns="91813" tIns="47743" rIns="91813" bIns="47743" anchor="t" anchorCtr="0">
            <a:noAutofit/>
            <a:scene3d>
              <a:camera prst="orthographicFront"/>
              <a:lightRig rig="threePt" dir="t"/>
            </a:scene3d>
          </a:bodyPr>
          <a:lstStyle/>
          <a:p>
            <a:pPr algn="ctr" defTabSz="932779">
              <a:lnSpc>
                <a:spcPct val="120000"/>
              </a:lnSpc>
              <a:defRPr/>
            </a:pPr>
            <a:r>
              <a:rPr lang="zh-CN" altLang="en-US" sz="1632" b="1" spc="153" dirty="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sym typeface="+mn-ea"/>
              </a:rPr>
              <a:t>全球员工</a:t>
            </a:r>
          </a:p>
          <a:p>
            <a:pPr algn="ctr" defTabSz="932779">
              <a:lnSpc>
                <a:spcPct val="120000"/>
              </a:lnSpc>
              <a:defRPr/>
            </a:pPr>
            <a:endParaRPr lang="zh-CN" altLang="en-US" sz="1632" b="1" spc="153" dirty="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sym typeface="+mn-ea"/>
            </a:endParaRPr>
          </a:p>
        </p:txBody>
      </p:sp>
      <p:grpSp>
        <p:nvGrpSpPr>
          <p:cNvPr id="14" name="组合 13"/>
          <p:cNvGrpSpPr/>
          <p:nvPr/>
        </p:nvGrpSpPr>
        <p:grpSpPr>
          <a:xfrm>
            <a:off x="975031" y="5385528"/>
            <a:ext cx="11340000" cy="721244"/>
            <a:chOff x="1758" y="4898"/>
            <a:chExt cx="15690" cy="557"/>
          </a:xfrm>
        </p:grpSpPr>
        <p:cxnSp>
          <p:nvCxnSpPr>
            <p:cNvPr id="15" name="直接连接符 14"/>
            <p:cNvCxnSpPr/>
            <p:nvPr>
              <p:custDataLst>
                <p:tags r:id="rId7"/>
              </p:custDataLst>
            </p:nvPr>
          </p:nvCxnSpPr>
          <p:spPr>
            <a:xfrm>
              <a:off x="4817" y="4898"/>
              <a:ext cx="0" cy="557"/>
            </a:xfrm>
            <a:prstGeom prst="line">
              <a:avLst/>
            </a:prstGeom>
            <a:ln w="9525">
              <a:solidFill>
                <a:sysClr val="window" lastClr="FFFFFF">
                  <a:lumMod val="85000"/>
                </a:sysClr>
              </a:solidFill>
            </a:ln>
          </p:spPr>
          <p:style>
            <a:lnRef idx="1">
              <a:srgbClr val="1F74AD"/>
            </a:lnRef>
            <a:fillRef idx="0">
              <a:srgbClr val="1F74AD"/>
            </a:fillRef>
            <a:effectRef idx="0">
              <a:srgbClr val="1F74AD"/>
            </a:effectRef>
            <a:fontRef idx="minor">
              <a:srgbClr val="000000"/>
            </a:fontRef>
          </p:style>
        </p:cxnSp>
        <p:cxnSp>
          <p:nvCxnSpPr>
            <p:cNvPr id="16" name="直接连接符 15"/>
            <p:cNvCxnSpPr/>
            <p:nvPr>
              <p:custDataLst>
                <p:tags r:id="rId8"/>
              </p:custDataLst>
            </p:nvPr>
          </p:nvCxnSpPr>
          <p:spPr>
            <a:xfrm>
              <a:off x="7809" y="4898"/>
              <a:ext cx="0" cy="557"/>
            </a:xfrm>
            <a:prstGeom prst="line">
              <a:avLst/>
            </a:prstGeom>
            <a:ln w="9525">
              <a:solidFill>
                <a:sysClr val="window" lastClr="FFFFFF">
                  <a:lumMod val="85000"/>
                </a:sysClr>
              </a:solidFill>
            </a:ln>
          </p:spPr>
          <p:style>
            <a:lnRef idx="1">
              <a:srgbClr val="1F74AD"/>
            </a:lnRef>
            <a:fillRef idx="0">
              <a:srgbClr val="1F74AD"/>
            </a:fillRef>
            <a:effectRef idx="0">
              <a:srgbClr val="1F74AD"/>
            </a:effectRef>
            <a:fontRef idx="minor">
              <a:srgbClr val="000000"/>
            </a:fontRef>
          </p:style>
        </p:cxnSp>
        <p:cxnSp>
          <p:nvCxnSpPr>
            <p:cNvPr id="17" name="直接连接符 16"/>
            <p:cNvCxnSpPr/>
            <p:nvPr>
              <p:custDataLst>
                <p:tags r:id="rId9"/>
              </p:custDataLst>
            </p:nvPr>
          </p:nvCxnSpPr>
          <p:spPr>
            <a:xfrm>
              <a:off x="11597" y="4898"/>
              <a:ext cx="0" cy="557"/>
            </a:xfrm>
            <a:prstGeom prst="line">
              <a:avLst/>
            </a:prstGeom>
            <a:ln w="9525">
              <a:solidFill>
                <a:sysClr val="window" lastClr="FFFFFF">
                  <a:lumMod val="85000"/>
                </a:sysClr>
              </a:solidFill>
            </a:ln>
          </p:spPr>
          <p:style>
            <a:lnRef idx="1">
              <a:srgbClr val="1F74AD"/>
            </a:lnRef>
            <a:fillRef idx="0">
              <a:srgbClr val="1F74AD"/>
            </a:fillRef>
            <a:effectRef idx="0">
              <a:srgbClr val="1F74AD"/>
            </a:effectRef>
            <a:fontRef idx="minor">
              <a:srgbClr val="000000"/>
            </a:fontRef>
          </p:style>
        </p:cxnSp>
        <p:cxnSp>
          <p:nvCxnSpPr>
            <p:cNvPr id="18" name="直接连接符 17"/>
            <p:cNvCxnSpPr/>
            <p:nvPr>
              <p:custDataLst>
                <p:tags r:id="rId10"/>
              </p:custDataLst>
            </p:nvPr>
          </p:nvCxnSpPr>
          <p:spPr>
            <a:xfrm>
              <a:off x="14582" y="4898"/>
              <a:ext cx="0" cy="557"/>
            </a:xfrm>
            <a:prstGeom prst="line">
              <a:avLst/>
            </a:prstGeom>
            <a:ln w="9525">
              <a:solidFill>
                <a:sysClr val="window" lastClr="FFFFFF">
                  <a:lumMod val="85000"/>
                </a:sysClr>
              </a:solidFill>
            </a:ln>
          </p:spPr>
          <p:style>
            <a:lnRef idx="1">
              <a:srgbClr val="1F74AD"/>
            </a:lnRef>
            <a:fillRef idx="0">
              <a:srgbClr val="1F74AD"/>
            </a:fillRef>
            <a:effectRef idx="0">
              <a:srgbClr val="1F74AD"/>
            </a:effectRef>
            <a:fontRef idx="minor">
              <a:srgbClr val="000000"/>
            </a:fontRef>
          </p:style>
        </p:cxnSp>
        <p:sp>
          <p:nvSpPr>
            <p:cNvPr id="19" name="矩形 18"/>
            <p:cNvSpPr/>
            <p:nvPr>
              <p:custDataLst>
                <p:tags r:id="rId11"/>
              </p:custDataLst>
            </p:nvPr>
          </p:nvSpPr>
          <p:spPr>
            <a:xfrm>
              <a:off x="1758" y="4898"/>
              <a:ext cx="3135" cy="425"/>
            </a:xfrm>
            <a:prstGeom prst="rect">
              <a:avLst/>
            </a:prstGeom>
          </p:spPr>
          <p:txBody>
            <a:bodyPr wrap="square"/>
            <a:lstStyle/>
            <a:p>
              <a:pPr algn="ctr" defTabSz="932779">
                <a:tabLst>
                  <a:tab pos="68663" algn="l"/>
                </a:tabLst>
                <a:defRPr/>
              </a:pPr>
              <a:r>
                <a:rPr lang="en-US" altLang="zh-CN" sz="3264" b="1" spc="153" dirty="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rPr>
                <a:t>141</a:t>
              </a:r>
              <a:r>
                <a:rPr lang="zh-CN" altLang="en-US" sz="3264" b="1" spc="153" dirty="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rPr>
                <a:t>亿</a:t>
              </a:r>
            </a:p>
          </p:txBody>
        </p:sp>
        <p:sp>
          <p:nvSpPr>
            <p:cNvPr id="20" name="矩形 19"/>
            <p:cNvSpPr/>
            <p:nvPr>
              <p:custDataLst>
                <p:tags r:id="rId12"/>
              </p:custDataLst>
            </p:nvPr>
          </p:nvSpPr>
          <p:spPr>
            <a:xfrm>
              <a:off x="4898" y="4898"/>
              <a:ext cx="3134" cy="425"/>
            </a:xfrm>
            <a:prstGeom prst="rect">
              <a:avLst/>
            </a:prstGeom>
          </p:spPr>
          <p:txBody>
            <a:bodyPr wrap="square"/>
            <a:lstStyle/>
            <a:p>
              <a:pPr algn="ctr" defTabSz="932779">
                <a:tabLst>
                  <a:tab pos="68663" algn="l"/>
                </a:tabLst>
                <a:defRPr/>
              </a:pPr>
              <a:r>
                <a:rPr lang="en-US" altLang="zh-CN" sz="3672" b="1" spc="153" dirty="0">
                  <a:solidFill>
                    <a:schemeClr val="bg2">
                      <a:lumMod val="25000"/>
                    </a:schemeClr>
                  </a:solidFill>
                  <a:effectLst>
                    <a:outerShdw blurRad="38100" dist="38100" dir="2700000" algn="tl">
                      <a:srgbClr val="000000">
                        <a:alpha val="43137"/>
                      </a:srgbClr>
                    </a:outerShdw>
                  </a:effectLst>
                  <a:latin typeface="+mn-ea"/>
                </a:rPr>
                <a:t>32.7</a:t>
              </a:r>
              <a:r>
                <a:rPr lang="zh-CN" altLang="en-US" sz="3672" b="1" spc="153" dirty="0">
                  <a:solidFill>
                    <a:schemeClr val="bg2">
                      <a:lumMod val="25000"/>
                    </a:schemeClr>
                  </a:solidFill>
                  <a:effectLst>
                    <a:outerShdw blurRad="38100" dist="38100" dir="2700000" algn="tl">
                      <a:srgbClr val="000000">
                        <a:alpha val="43137"/>
                      </a:srgbClr>
                    </a:outerShdw>
                  </a:effectLst>
                  <a:latin typeface="+mn-ea"/>
                </a:rPr>
                <a:t>亿</a:t>
              </a:r>
            </a:p>
          </p:txBody>
        </p:sp>
        <p:sp>
          <p:nvSpPr>
            <p:cNvPr id="21" name="矩形 20"/>
            <p:cNvSpPr/>
            <p:nvPr>
              <p:custDataLst>
                <p:tags r:id="rId13"/>
              </p:custDataLst>
            </p:nvPr>
          </p:nvSpPr>
          <p:spPr>
            <a:xfrm>
              <a:off x="8036" y="4898"/>
              <a:ext cx="3134" cy="425"/>
            </a:xfrm>
            <a:prstGeom prst="rect">
              <a:avLst/>
            </a:prstGeom>
          </p:spPr>
          <p:txBody>
            <a:bodyPr wrap="square"/>
            <a:lstStyle/>
            <a:p>
              <a:pPr algn="ctr" defTabSz="932779">
                <a:tabLst>
                  <a:tab pos="68663" algn="l"/>
                </a:tabLst>
                <a:defRPr/>
              </a:pPr>
              <a:r>
                <a:rPr lang="en-US" altLang="zh-CN" sz="3672" b="1" spc="153" dirty="0">
                  <a:solidFill>
                    <a:schemeClr val="bg2">
                      <a:lumMod val="25000"/>
                    </a:schemeClr>
                  </a:solidFill>
                  <a:effectLst>
                    <a:outerShdw blurRad="38100" dist="38100" dir="2700000" algn="tl">
                      <a:srgbClr val="000000">
                        <a:alpha val="43137"/>
                      </a:srgbClr>
                    </a:outerShdw>
                  </a:effectLst>
                  <a:latin typeface="+mn-ea"/>
                </a:rPr>
                <a:t>TOP100</a:t>
              </a:r>
            </a:p>
          </p:txBody>
        </p:sp>
        <p:sp>
          <p:nvSpPr>
            <p:cNvPr id="22" name="矩形 21"/>
            <p:cNvSpPr/>
            <p:nvPr>
              <p:custDataLst>
                <p:tags r:id="rId14"/>
              </p:custDataLst>
            </p:nvPr>
          </p:nvSpPr>
          <p:spPr>
            <a:xfrm>
              <a:off x="11175" y="4898"/>
              <a:ext cx="3134" cy="425"/>
            </a:xfrm>
            <a:prstGeom prst="rect">
              <a:avLst/>
            </a:prstGeom>
          </p:spPr>
          <p:txBody>
            <a:bodyPr wrap="square"/>
            <a:lstStyle/>
            <a:p>
              <a:pPr algn="ctr" defTabSz="932779">
                <a:tabLst>
                  <a:tab pos="68663" algn="l"/>
                </a:tabLst>
                <a:defRPr/>
              </a:pPr>
              <a:r>
                <a:rPr lang="en-US" altLang="zh-CN" sz="3672" b="1" spc="153" dirty="0">
                  <a:solidFill>
                    <a:schemeClr val="bg2">
                      <a:lumMod val="25000"/>
                    </a:schemeClr>
                  </a:solidFill>
                  <a:effectLst>
                    <a:outerShdw blurRad="38100" dist="38100" dir="2700000" algn="tl">
                      <a:srgbClr val="000000">
                        <a:alpha val="43137"/>
                      </a:srgbClr>
                    </a:outerShdw>
                  </a:effectLst>
                  <a:latin typeface="+mn-ea"/>
                </a:rPr>
                <a:t>TOP3</a:t>
              </a:r>
            </a:p>
          </p:txBody>
        </p:sp>
        <p:sp>
          <p:nvSpPr>
            <p:cNvPr id="23" name="矩形 22"/>
            <p:cNvSpPr/>
            <p:nvPr>
              <p:custDataLst>
                <p:tags r:id="rId15"/>
              </p:custDataLst>
            </p:nvPr>
          </p:nvSpPr>
          <p:spPr>
            <a:xfrm>
              <a:off x="14314" y="4898"/>
              <a:ext cx="3134" cy="425"/>
            </a:xfrm>
            <a:prstGeom prst="rect">
              <a:avLst/>
            </a:prstGeom>
          </p:spPr>
          <p:txBody>
            <a:bodyPr wrap="square"/>
            <a:lstStyle/>
            <a:p>
              <a:pPr algn="ctr" defTabSz="932779">
                <a:tabLst>
                  <a:tab pos="68663" algn="l"/>
                </a:tabLst>
                <a:defRPr/>
              </a:pPr>
              <a:r>
                <a:rPr lang="en-US" altLang="zh-CN" sz="3672" b="1" spc="153" dirty="0">
                  <a:solidFill>
                    <a:schemeClr val="bg2">
                      <a:lumMod val="25000"/>
                    </a:schemeClr>
                  </a:solidFill>
                  <a:effectLst>
                    <a:outerShdw blurRad="38100" dist="38100" dir="2700000" algn="tl">
                      <a:srgbClr val="000000">
                        <a:alpha val="43137"/>
                      </a:srgbClr>
                    </a:outerShdw>
                  </a:effectLst>
                  <a:latin typeface="+mn-ea"/>
                </a:rPr>
                <a:t>7</a:t>
              </a:r>
              <a:r>
                <a:rPr lang="zh-CN" altLang="en-US" sz="3672" b="1" spc="153" dirty="0">
                  <a:solidFill>
                    <a:schemeClr val="bg2">
                      <a:lumMod val="25000"/>
                    </a:schemeClr>
                  </a:solidFill>
                  <a:effectLst>
                    <a:outerShdw blurRad="38100" dist="38100" dir="2700000" algn="tl">
                      <a:srgbClr val="000000">
                        <a:alpha val="43137"/>
                      </a:srgbClr>
                    </a:outerShdw>
                  </a:effectLst>
                  <a:latin typeface="+mn-ea"/>
                </a:rPr>
                <a:t>万人</a:t>
              </a:r>
            </a:p>
          </p:txBody>
        </p:sp>
      </p:grpSp>
      <p:sp>
        <p:nvSpPr>
          <p:cNvPr id="24" name="文本框 23"/>
          <p:cNvSpPr txBox="1"/>
          <p:nvPr/>
        </p:nvSpPr>
        <p:spPr>
          <a:xfrm>
            <a:off x="6741631" y="1740991"/>
            <a:ext cx="5040000" cy="461665"/>
          </a:xfrm>
          <a:prstGeom prst="rect">
            <a:avLst/>
          </a:prstGeom>
          <a:noFill/>
        </p:spPr>
        <p:txBody>
          <a:bodyPr wrap="square" rtlCol="0">
            <a:spAutoFit/>
          </a:bodyPr>
          <a:lstStyle/>
          <a:p>
            <a:pPr marL="291494" indent="-291494" defTabSz="466390">
              <a:lnSpc>
                <a:spcPct val="150000"/>
              </a:lnSpc>
              <a:buFont typeface="Wingdings" panose="05000000000000000000" pitchFamily="2" charset="2"/>
              <a:buChar char="n"/>
            </a:pPr>
            <a:r>
              <a:rPr lang="zh-CN" altLang="en-US" sz="1600" dirty="0" smtClean="0">
                <a:solidFill>
                  <a:schemeClr val="bg2">
                    <a:lumMod val="25000"/>
                  </a:schemeClr>
                </a:solidFill>
                <a:latin typeface="+mn-ea"/>
                <a:cs typeface="Microsoft YaHei UI Light" panose="020B0502040204020203" pitchFamily="34" charset="-122"/>
              </a:rPr>
              <a:t>持续</a:t>
            </a:r>
            <a:r>
              <a:rPr lang="zh-CN" altLang="en-US" sz="1600" dirty="0">
                <a:solidFill>
                  <a:schemeClr val="bg2">
                    <a:lumMod val="25000"/>
                  </a:schemeClr>
                </a:solidFill>
                <a:latin typeface="+mn-ea"/>
                <a:cs typeface="Microsoft YaHei UI Light" panose="020B0502040204020203" pitchFamily="34" charset="-122"/>
              </a:rPr>
              <a:t>高速增长</a:t>
            </a:r>
            <a:r>
              <a:rPr lang="en-US" altLang="zh-CN" sz="1600" dirty="0">
                <a:solidFill>
                  <a:schemeClr val="bg2">
                    <a:lumMod val="25000"/>
                  </a:schemeClr>
                </a:solidFill>
                <a:latin typeface="+mn-ea"/>
                <a:cs typeface="Microsoft YaHei UI Light" panose="020B0502040204020203" pitchFamily="34" charset="-122"/>
              </a:rPr>
              <a:t>(</a:t>
            </a:r>
            <a:r>
              <a:rPr lang="fr-FR" altLang="zh-CN" sz="1600" dirty="0">
                <a:solidFill>
                  <a:schemeClr val="bg2">
                    <a:lumMod val="25000"/>
                  </a:schemeClr>
                </a:solidFill>
                <a:latin typeface="+mn-ea"/>
                <a:cs typeface="Microsoft YaHei UI Light" panose="020B0502040204020203" pitchFamily="34" charset="-122"/>
              </a:rPr>
              <a:t>CAGR 29.86%)</a:t>
            </a:r>
            <a:r>
              <a:rPr lang="zh-CN" altLang="fr-FR" sz="1600" dirty="0">
                <a:solidFill>
                  <a:schemeClr val="bg2">
                    <a:lumMod val="25000"/>
                  </a:schemeClr>
                </a:solidFill>
                <a:latin typeface="+mn-ea"/>
                <a:cs typeface="Microsoft YaHei UI Light" panose="020B0502040204020203" pitchFamily="34" charset="-122"/>
              </a:rPr>
              <a:t>，</a:t>
            </a:r>
            <a:r>
              <a:rPr lang="zh-CN" altLang="en-US" sz="1600" dirty="0">
                <a:solidFill>
                  <a:schemeClr val="bg2">
                    <a:lumMod val="25000"/>
                  </a:schemeClr>
                </a:solidFill>
                <a:latin typeface="+mn-ea"/>
                <a:cs typeface="Microsoft YaHei UI Light" panose="020B0502040204020203" pitchFamily="34" charset="-122"/>
              </a:rPr>
              <a:t>显著高于行业</a:t>
            </a:r>
            <a:r>
              <a:rPr lang="zh-CN" altLang="en-US" sz="1600" dirty="0" smtClean="0">
                <a:solidFill>
                  <a:schemeClr val="bg2">
                    <a:lumMod val="25000"/>
                  </a:schemeClr>
                </a:solidFill>
                <a:latin typeface="+mn-ea"/>
                <a:cs typeface="Microsoft YaHei UI Light" panose="020B0502040204020203" pitchFamily="34" charset="-122"/>
              </a:rPr>
              <a:t>增速</a:t>
            </a:r>
            <a:endParaRPr lang="fr-FR" altLang="zh-CN" sz="1600" dirty="0">
              <a:solidFill>
                <a:schemeClr val="bg2">
                  <a:lumMod val="25000"/>
                </a:schemeClr>
              </a:solidFill>
              <a:latin typeface="+mn-ea"/>
              <a:cs typeface="Microsoft YaHei UI Light" panose="020B0502040204020203" pitchFamily="34" charset="-122"/>
            </a:endParaRPr>
          </a:p>
        </p:txBody>
      </p:sp>
      <p:grpSp>
        <p:nvGrpSpPr>
          <p:cNvPr id="51" name="组合 50"/>
          <p:cNvGrpSpPr/>
          <p:nvPr/>
        </p:nvGrpSpPr>
        <p:grpSpPr>
          <a:xfrm>
            <a:off x="7198668" y="2355056"/>
            <a:ext cx="4125763" cy="2459804"/>
            <a:chOff x="7068930" y="2389691"/>
            <a:chExt cx="4125763" cy="2459804"/>
          </a:xfrm>
        </p:grpSpPr>
        <p:grpSp>
          <p:nvGrpSpPr>
            <p:cNvPr id="25" name="组合 24"/>
            <p:cNvGrpSpPr/>
            <p:nvPr/>
          </p:nvGrpSpPr>
          <p:grpSpPr>
            <a:xfrm>
              <a:off x="7068930" y="2389691"/>
              <a:ext cx="4125763" cy="2446696"/>
              <a:chOff x="1229" y="2777"/>
              <a:chExt cx="6295" cy="3715"/>
            </a:xfrm>
          </p:grpSpPr>
          <p:graphicFrame>
            <p:nvGraphicFramePr>
              <p:cNvPr id="26" name="图表 25"/>
              <p:cNvGraphicFramePr/>
              <p:nvPr/>
            </p:nvGraphicFramePr>
            <p:xfrm>
              <a:off x="1229" y="2777"/>
              <a:ext cx="6295" cy="3715"/>
            </p:xfrm>
            <a:graphic>
              <a:graphicData uri="http://schemas.openxmlformats.org/drawingml/2006/chart">
                <c:chart xmlns:c="http://schemas.openxmlformats.org/drawingml/2006/chart" xmlns:r="http://schemas.openxmlformats.org/officeDocument/2006/relationships" r:id="rId17"/>
              </a:graphicData>
            </a:graphic>
          </p:graphicFrame>
          <p:grpSp>
            <p:nvGrpSpPr>
              <p:cNvPr id="27" name="组合 26"/>
              <p:cNvGrpSpPr/>
              <p:nvPr/>
            </p:nvGrpSpPr>
            <p:grpSpPr>
              <a:xfrm rot="21412716">
                <a:off x="3832" y="3856"/>
                <a:ext cx="2993" cy="1326"/>
                <a:chOff x="1661481" y="2567826"/>
                <a:chExt cx="2622456" cy="1445861"/>
              </a:xfrm>
            </p:grpSpPr>
            <p:pic>
              <p:nvPicPr>
                <p:cNvPr id="30" name="图片 29"/>
                <p:cNvPicPr>
                  <a:picLocks noChangeAspect="1"/>
                </p:cNvPicPr>
                <p:nvPr/>
              </p:nvPicPr>
              <p:blipFill rotWithShape="1">
                <a:blip r:embed="rId18"/>
                <a:srcRect l="47886" t="48791" r="4052"/>
                <a:stretch>
                  <a:fillRect/>
                </a:stretch>
              </p:blipFill>
              <p:spPr>
                <a:xfrm rot="20309422">
                  <a:off x="1661481" y="3354961"/>
                  <a:ext cx="2622456" cy="658726"/>
                </a:xfrm>
                <a:prstGeom prst="rect">
                  <a:avLst/>
                </a:prstGeom>
              </p:spPr>
            </p:pic>
            <p:grpSp>
              <p:nvGrpSpPr>
                <p:cNvPr id="31" name="组合 30"/>
                <p:cNvGrpSpPr/>
                <p:nvPr/>
              </p:nvGrpSpPr>
              <p:grpSpPr>
                <a:xfrm rot="20682750">
                  <a:off x="3599113" y="2567826"/>
                  <a:ext cx="620656" cy="793389"/>
                  <a:chOff x="7277100" y="447675"/>
                  <a:chExt cx="433388" cy="468313"/>
                </a:xfrm>
              </p:grpSpPr>
              <p:sp>
                <p:nvSpPr>
                  <p:cNvPr id="32" name="Freeform 52"/>
                  <p:cNvSpPr/>
                  <p:nvPr/>
                </p:nvSpPr>
                <p:spPr bwMode="auto">
                  <a:xfrm>
                    <a:off x="7277100" y="628650"/>
                    <a:ext cx="223838" cy="142875"/>
                  </a:xfrm>
                  <a:custGeom>
                    <a:avLst/>
                    <a:gdLst>
                      <a:gd name="T0" fmla="*/ 4 w 31"/>
                      <a:gd name="T1" fmla="*/ 9 h 20"/>
                      <a:gd name="T2" fmla="*/ 0 w 31"/>
                      <a:gd name="T3" fmla="*/ 17 h 20"/>
                      <a:gd name="T4" fmla="*/ 2 w 31"/>
                      <a:gd name="T5" fmla="*/ 19 h 20"/>
                      <a:gd name="T6" fmla="*/ 20 w 31"/>
                      <a:gd name="T7" fmla="*/ 20 h 20"/>
                      <a:gd name="T8" fmla="*/ 31 w 31"/>
                      <a:gd name="T9" fmla="*/ 7 h 20"/>
                      <a:gd name="T10" fmla="*/ 4 w 31"/>
                      <a:gd name="T11" fmla="*/ 9 h 20"/>
                    </a:gdLst>
                    <a:ahLst/>
                    <a:cxnLst>
                      <a:cxn ang="0">
                        <a:pos x="T0" y="T1"/>
                      </a:cxn>
                      <a:cxn ang="0">
                        <a:pos x="T2" y="T3"/>
                      </a:cxn>
                      <a:cxn ang="0">
                        <a:pos x="T4" y="T5"/>
                      </a:cxn>
                      <a:cxn ang="0">
                        <a:pos x="T6" y="T7"/>
                      </a:cxn>
                      <a:cxn ang="0">
                        <a:pos x="T8" y="T9"/>
                      </a:cxn>
                      <a:cxn ang="0">
                        <a:pos x="T10" y="T11"/>
                      </a:cxn>
                    </a:cxnLst>
                    <a:rect l="0" t="0" r="r" b="b"/>
                    <a:pathLst>
                      <a:path w="31" h="20">
                        <a:moveTo>
                          <a:pt x="4" y="9"/>
                        </a:moveTo>
                        <a:cubicBezTo>
                          <a:pt x="2" y="11"/>
                          <a:pt x="1" y="14"/>
                          <a:pt x="0" y="17"/>
                        </a:cubicBezTo>
                        <a:cubicBezTo>
                          <a:pt x="2" y="19"/>
                          <a:pt x="2" y="19"/>
                          <a:pt x="2" y="19"/>
                        </a:cubicBezTo>
                        <a:cubicBezTo>
                          <a:pt x="7" y="15"/>
                          <a:pt x="15" y="15"/>
                          <a:pt x="20" y="20"/>
                        </a:cubicBezTo>
                        <a:cubicBezTo>
                          <a:pt x="31" y="7"/>
                          <a:pt x="31" y="7"/>
                          <a:pt x="31" y="7"/>
                        </a:cubicBezTo>
                        <a:cubicBezTo>
                          <a:pt x="23" y="0"/>
                          <a:pt x="11" y="1"/>
                          <a:pt x="4" y="9"/>
                        </a:cubicBezTo>
                        <a:close/>
                      </a:path>
                    </a:pathLst>
                  </a:custGeom>
                  <a:solidFill>
                    <a:srgbClr val="E95644"/>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a:solidFill>
                        <a:schemeClr val="bg2">
                          <a:lumMod val="25000"/>
                        </a:schemeClr>
                      </a:solidFill>
                      <a:latin typeface="+mn-ea"/>
                    </a:endParaRPr>
                  </a:p>
                </p:txBody>
              </p:sp>
              <p:sp>
                <p:nvSpPr>
                  <p:cNvPr id="33" name="Freeform 53"/>
                  <p:cNvSpPr/>
                  <p:nvPr/>
                </p:nvSpPr>
                <p:spPr bwMode="auto">
                  <a:xfrm>
                    <a:off x="7421563" y="677863"/>
                    <a:ext cx="144463" cy="238125"/>
                  </a:xfrm>
                  <a:custGeom>
                    <a:avLst/>
                    <a:gdLst>
                      <a:gd name="T0" fmla="*/ 11 w 20"/>
                      <a:gd name="T1" fmla="*/ 0 h 33"/>
                      <a:gd name="T2" fmla="*/ 0 w 20"/>
                      <a:gd name="T3" fmla="*/ 13 h 33"/>
                      <a:gd name="T4" fmla="*/ 3 w 20"/>
                      <a:gd name="T5" fmla="*/ 31 h 33"/>
                      <a:gd name="T6" fmla="*/ 5 w 20"/>
                      <a:gd name="T7" fmla="*/ 33 h 33"/>
                      <a:gd name="T8" fmla="*/ 13 w 20"/>
                      <a:gd name="T9" fmla="*/ 28 h 33"/>
                      <a:gd name="T10" fmla="*/ 11 w 20"/>
                      <a:gd name="T11" fmla="*/ 0 h 33"/>
                    </a:gdLst>
                    <a:ahLst/>
                    <a:cxnLst>
                      <a:cxn ang="0">
                        <a:pos x="T0" y="T1"/>
                      </a:cxn>
                      <a:cxn ang="0">
                        <a:pos x="T2" y="T3"/>
                      </a:cxn>
                      <a:cxn ang="0">
                        <a:pos x="T4" y="T5"/>
                      </a:cxn>
                      <a:cxn ang="0">
                        <a:pos x="T6" y="T7"/>
                      </a:cxn>
                      <a:cxn ang="0">
                        <a:pos x="T8" y="T9"/>
                      </a:cxn>
                      <a:cxn ang="0">
                        <a:pos x="T10" y="T11"/>
                      </a:cxn>
                    </a:cxnLst>
                    <a:rect l="0" t="0" r="r" b="b"/>
                    <a:pathLst>
                      <a:path w="20" h="33">
                        <a:moveTo>
                          <a:pt x="11" y="0"/>
                        </a:moveTo>
                        <a:cubicBezTo>
                          <a:pt x="0" y="13"/>
                          <a:pt x="0" y="13"/>
                          <a:pt x="0" y="13"/>
                        </a:cubicBezTo>
                        <a:cubicBezTo>
                          <a:pt x="6" y="17"/>
                          <a:pt x="7" y="25"/>
                          <a:pt x="3" y="31"/>
                        </a:cubicBezTo>
                        <a:cubicBezTo>
                          <a:pt x="5" y="33"/>
                          <a:pt x="5" y="33"/>
                          <a:pt x="5" y="33"/>
                        </a:cubicBezTo>
                        <a:cubicBezTo>
                          <a:pt x="8" y="32"/>
                          <a:pt x="11" y="30"/>
                          <a:pt x="13" y="28"/>
                        </a:cubicBezTo>
                        <a:cubicBezTo>
                          <a:pt x="20" y="20"/>
                          <a:pt x="19" y="8"/>
                          <a:pt x="11" y="0"/>
                        </a:cubicBezTo>
                        <a:close/>
                      </a:path>
                    </a:pathLst>
                  </a:custGeom>
                  <a:solidFill>
                    <a:srgbClr val="C54838"/>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a:solidFill>
                        <a:schemeClr val="bg2">
                          <a:lumMod val="25000"/>
                        </a:schemeClr>
                      </a:solidFill>
                      <a:latin typeface="+mn-ea"/>
                    </a:endParaRPr>
                  </a:p>
                </p:txBody>
              </p:sp>
              <p:sp>
                <p:nvSpPr>
                  <p:cNvPr id="34" name="Freeform 54"/>
                  <p:cNvSpPr/>
                  <p:nvPr/>
                </p:nvSpPr>
                <p:spPr bwMode="auto">
                  <a:xfrm>
                    <a:off x="7386638" y="504825"/>
                    <a:ext cx="236538" cy="280988"/>
                  </a:xfrm>
                  <a:custGeom>
                    <a:avLst/>
                    <a:gdLst>
                      <a:gd name="T0" fmla="*/ 28 w 33"/>
                      <a:gd name="T1" fmla="*/ 0 h 39"/>
                      <a:gd name="T2" fmla="*/ 13 w 33"/>
                      <a:gd name="T3" fmla="*/ 13 h 39"/>
                      <a:gd name="T4" fmla="*/ 0 w 33"/>
                      <a:gd name="T5" fmla="*/ 36 h 39"/>
                      <a:gd name="T6" fmla="*/ 4 w 33"/>
                      <a:gd name="T7" fmla="*/ 39 h 39"/>
                      <a:gd name="T8" fmla="*/ 33 w 33"/>
                      <a:gd name="T9" fmla="*/ 6 h 39"/>
                      <a:gd name="T10" fmla="*/ 28 w 33"/>
                      <a:gd name="T11" fmla="*/ 0 h 39"/>
                    </a:gdLst>
                    <a:ahLst/>
                    <a:cxnLst>
                      <a:cxn ang="0">
                        <a:pos x="T0" y="T1"/>
                      </a:cxn>
                      <a:cxn ang="0">
                        <a:pos x="T2" y="T3"/>
                      </a:cxn>
                      <a:cxn ang="0">
                        <a:pos x="T4" y="T5"/>
                      </a:cxn>
                      <a:cxn ang="0">
                        <a:pos x="T6" y="T7"/>
                      </a:cxn>
                      <a:cxn ang="0">
                        <a:pos x="T8" y="T9"/>
                      </a:cxn>
                      <a:cxn ang="0">
                        <a:pos x="T10" y="T11"/>
                      </a:cxn>
                    </a:cxnLst>
                    <a:rect l="0" t="0" r="r" b="b"/>
                    <a:pathLst>
                      <a:path w="33" h="39">
                        <a:moveTo>
                          <a:pt x="28" y="0"/>
                        </a:moveTo>
                        <a:cubicBezTo>
                          <a:pt x="23" y="3"/>
                          <a:pt x="18" y="8"/>
                          <a:pt x="13" y="13"/>
                        </a:cubicBezTo>
                        <a:cubicBezTo>
                          <a:pt x="7" y="20"/>
                          <a:pt x="3" y="28"/>
                          <a:pt x="0" y="36"/>
                        </a:cubicBezTo>
                        <a:cubicBezTo>
                          <a:pt x="1" y="37"/>
                          <a:pt x="2" y="37"/>
                          <a:pt x="4" y="39"/>
                        </a:cubicBezTo>
                        <a:cubicBezTo>
                          <a:pt x="33" y="6"/>
                          <a:pt x="33" y="6"/>
                          <a:pt x="33" y="6"/>
                        </a:cubicBezTo>
                        <a:cubicBezTo>
                          <a:pt x="31" y="4"/>
                          <a:pt x="29" y="2"/>
                          <a:pt x="28"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a:solidFill>
                        <a:schemeClr val="bg2">
                          <a:lumMod val="25000"/>
                        </a:schemeClr>
                      </a:solidFill>
                      <a:latin typeface="+mn-ea"/>
                    </a:endParaRPr>
                  </a:p>
                </p:txBody>
              </p:sp>
              <p:sp>
                <p:nvSpPr>
                  <p:cNvPr id="35" name="Freeform 55"/>
                  <p:cNvSpPr/>
                  <p:nvPr/>
                </p:nvSpPr>
                <p:spPr bwMode="auto">
                  <a:xfrm>
                    <a:off x="7415213" y="549275"/>
                    <a:ext cx="252413" cy="258763"/>
                  </a:xfrm>
                  <a:custGeom>
                    <a:avLst/>
                    <a:gdLst>
                      <a:gd name="T0" fmla="*/ 35 w 35"/>
                      <a:gd name="T1" fmla="*/ 4 h 36"/>
                      <a:gd name="T2" fmla="*/ 29 w 35"/>
                      <a:gd name="T3" fmla="*/ 0 h 36"/>
                      <a:gd name="T4" fmla="*/ 29 w 35"/>
                      <a:gd name="T5" fmla="*/ 0 h 36"/>
                      <a:gd name="T6" fmla="*/ 0 w 35"/>
                      <a:gd name="T7" fmla="*/ 33 h 36"/>
                      <a:gd name="T8" fmla="*/ 3 w 35"/>
                      <a:gd name="T9" fmla="*/ 36 h 36"/>
                      <a:gd name="T10" fmla="*/ 24 w 35"/>
                      <a:gd name="T11" fmla="*/ 20 h 36"/>
                      <a:gd name="T12" fmla="*/ 35 w 35"/>
                      <a:gd name="T13" fmla="*/ 4 h 36"/>
                    </a:gdLst>
                    <a:ahLst/>
                    <a:cxnLst>
                      <a:cxn ang="0">
                        <a:pos x="T0" y="T1"/>
                      </a:cxn>
                      <a:cxn ang="0">
                        <a:pos x="T2" y="T3"/>
                      </a:cxn>
                      <a:cxn ang="0">
                        <a:pos x="T4" y="T5"/>
                      </a:cxn>
                      <a:cxn ang="0">
                        <a:pos x="T6" y="T7"/>
                      </a:cxn>
                      <a:cxn ang="0">
                        <a:pos x="T8" y="T9"/>
                      </a:cxn>
                      <a:cxn ang="0">
                        <a:pos x="T10" y="T11"/>
                      </a:cxn>
                      <a:cxn ang="0">
                        <a:pos x="T12" y="T13"/>
                      </a:cxn>
                    </a:cxnLst>
                    <a:rect l="0" t="0" r="r" b="b"/>
                    <a:pathLst>
                      <a:path w="35" h="36">
                        <a:moveTo>
                          <a:pt x="35" y="4"/>
                        </a:moveTo>
                        <a:cubicBezTo>
                          <a:pt x="33" y="3"/>
                          <a:pt x="31" y="2"/>
                          <a:pt x="29" y="0"/>
                        </a:cubicBezTo>
                        <a:cubicBezTo>
                          <a:pt x="29" y="0"/>
                          <a:pt x="29" y="0"/>
                          <a:pt x="29" y="0"/>
                        </a:cubicBezTo>
                        <a:cubicBezTo>
                          <a:pt x="0" y="33"/>
                          <a:pt x="0" y="33"/>
                          <a:pt x="0" y="33"/>
                        </a:cubicBezTo>
                        <a:cubicBezTo>
                          <a:pt x="1" y="34"/>
                          <a:pt x="2" y="35"/>
                          <a:pt x="3" y="36"/>
                        </a:cubicBezTo>
                        <a:cubicBezTo>
                          <a:pt x="11" y="32"/>
                          <a:pt x="18" y="27"/>
                          <a:pt x="24" y="20"/>
                        </a:cubicBezTo>
                        <a:cubicBezTo>
                          <a:pt x="29" y="15"/>
                          <a:pt x="33" y="10"/>
                          <a:pt x="35" y="4"/>
                        </a:cubicBezTo>
                        <a:close/>
                      </a:path>
                    </a:pathLst>
                  </a:custGeom>
                  <a:solidFill>
                    <a:srgbClr val="C3DDED"/>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dirty="0">
                      <a:solidFill>
                        <a:schemeClr val="bg2">
                          <a:lumMod val="25000"/>
                        </a:schemeClr>
                      </a:solidFill>
                      <a:latin typeface="+mn-ea"/>
                    </a:endParaRPr>
                  </a:p>
                </p:txBody>
              </p:sp>
              <p:sp>
                <p:nvSpPr>
                  <p:cNvPr id="36" name="Freeform 56"/>
                  <p:cNvSpPr/>
                  <p:nvPr/>
                </p:nvSpPr>
                <p:spPr bwMode="auto">
                  <a:xfrm>
                    <a:off x="7588250" y="447675"/>
                    <a:ext cx="122238" cy="101600"/>
                  </a:xfrm>
                  <a:custGeom>
                    <a:avLst/>
                    <a:gdLst>
                      <a:gd name="T0" fmla="*/ 0 w 17"/>
                      <a:gd name="T1" fmla="*/ 8 h 14"/>
                      <a:gd name="T2" fmla="*/ 5 w 17"/>
                      <a:gd name="T3" fmla="*/ 14 h 14"/>
                      <a:gd name="T4" fmla="*/ 17 w 17"/>
                      <a:gd name="T5" fmla="*/ 0 h 14"/>
                      <a:gd name="T6" fmla="*/ 0 w 17"/>
                      <a:gd name="T7" fmla="*/ 8 h 14"/>
                    </a:gdLst>
                    <a:ahLst/>
                    <a:cxnLst>
                      <a:cxn ang="0">
                        <a:pos x="T0" y="T1"/>
                      </a:cxn>
                      <a:cxn ang="0">
                        <a:pos x="T2" y="T3"/>
                      </a:cxn>
                      <a:cxn ang="0">
                        <a:pos x="T4" y="T5"/>
                      </a:cxn>
                      <a:cxn ang="0">
                        <a:pos x="T6" y="T7"/>
                      </a:cxn>
                    </a:cxnLst>
                    <a:rect l="0" t="0" r="r" b="b"/>
                    <a:pathLst>
                      <a:path w="17" h="14">
                        <a:moveTo>
                          <a:pt x="0" y="8"/>
                        </a:moveTo>
                        <a:cubicBezTo>
                          <a:pt x="1" y="10"/>
                          <a:pt x="3" y="12"/>
                          <a:pt x="5" y="14"/>
                        </a:cubicBezTo>
                        <a:cubicBezTo>
                          <a:pt x="17" y="0"/>
                          <a:pt x="17" y="0"/>
                          <a:pt x="17" y="0"/>
                        </a:cubicBezTo>
                        <a:cubicBezTo>
                          <a:pt x="11" y="2"/>
                          <a:pt x="6" y="5"/>
                          <a:pt x="0" y="8"/>
                        </a:cubicBezTo>
                        <a:close/>
                      </a:path>
                    </a:pathLst>
                  </a:custGeom>
                  <a:solidFill>
                    <a:srgbClr val="E95644"/>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a:solidFill>
                        <a:schemeClr val="bg2">
                          <a:lumMod val="25000"/>
                        </a:schemeClr>
                      </a:solidFill>
                      <a:latin typeface="+mn-ea"/>
                    </a:endParaRPr>
                  </a:p>
                </p:txBody>
              </p:sp>
              <p:sp>
                <p:nvSpPr>
                  <p:cNvPr id="37" name="Freeform 57"/>
                  <p:cNvSpPr/>
                  <p:nvPr/>
                </p:nvSpPr>
                <p:spPr bwMode="auto">
                  <a:xfrm>
                    <a:off x="7623175" y="447675"/>
                    <a:ext cx="87313" cy="130175"/>
                  </a:xfrm>
                  <a:custGeom>
                    <a:avLst/>
                    <a:gdLst>
                      <a:gd name="T0" fmla="*/ 6 w 12"/>
                      <a:gd name="T1" fmla="*/ 18 h 18"/>
                      <a:gd name="T2" fmla="*/ 12 w 12"/>
                      <a:gd name="T3" fmla="*/ 0 h 18"/>
                      <a:gd name="T4" fmla="*/ 12 w 12"/>
                      <a:gd name="T5" fmla="*/ 0 h 18"/>
                      <a:gd name="T6" fmla="*/ 0 w 12"/>
                      <a:gd name="T7" fmla="*/ 14 h 18"/>
                      <a:gd name="T8" fmla="*/ 0 w 12"/>
                      <a:gd name="T9" fmla="*/ 14 h 18"/>
                      <a:gd name="T10" fmla="*/ 6 w 12"/>
                      <a:gd name="T11" fmla="*/ 18 h 18"/>
                    </a:gdLst>
                    <a:ahLst/>
                    <a:cxnLst>
                      <a:cxn ang="0">
                        <a:pos x="T0" y="T1"/>
                      </a:cxn>
                      <a:cxn ang="0">
                        <a:pos x="T2" y="T3"/>
                      </a:cxn>
                      <a:cxn ang="0">
                        <a:pos x="T4" y="T5"/>
                      </a:cxn>
                      <a:cxn ang="0">
                        <a:pos x="T6" y="T7"/>
                      </a:cxn>
                      <a:cxn ang="0">
                        <a:pos x="T8" y="T9"/>
                      </a:cxn>
                      <a:cxn ang="0">
                        <a:pos x="T10" y="T11"/>
                      </a:cxn>
                    </a:cxnLst>
                    <a:rect l="0" t="0" r="r" b="b"/>
                    <a:pathLst>
                      <a:path w="12" h="18">
                        <a:moveTo>
                          <a:pt x="6" y="18"/>
                        </a:moveTo>
                        <a:cubicBezTo>
                          <a:pt x="9" y="12"/>
                          <a:pt x="11" y="6"/>
                          <a:pt x="12" y="0"/>
                        </a:cubicBezTo>
                        <a:cubicBezTo>
                          <a:pt x="12" y="0"/>
                          <a:pt x="12" y="0"/>
                          <a:pt x="12" y="0"/>
                        </a:cubicBezTo>
                        <a:cubicBezTo>
                          <a:pt x="0" y="14"/>
                          <a:pt x="0" y="14"/>
                          <a:pt x="0" y="14"/>
                        </a:cubicBezTo>
                        <a:cubicBezTo>
                          <a:pt x="0" y="14"/>
                          <a:pt x="0" y="14"/>
                          <a:pt x="0" y="14"/>
                        </a:cubicBezTo>
                        <a:cubicBezTo>
                          <a:pt x="2" y="16"/>
                          <a:pt x="4" y="17"/>
                          <a:pt x="6" y="18"/>
                        </a:cubicBezTo>
                        <a:close/>
                      </a:path>
                    </a:pathLst>
                  </a:custGeom>
                  <a:solidFill>
                    <a:srgbClr val="C54838"/>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a:solidFill>
                        <a:schemeClr val="bg2">
                          <a:lumMod val="25000"/>
                        </a:schemeClr>
                      </a:solidFill>
                      <a:latin typeface="+mn-ea"/>
                    </a:endParaRPr>
                  </a:p>
                </p:txBody>
              </p:sp>
              <p:sp>
                <p:nvSpPr>
                  <p:cNvPr id="38" name="Freeform 58"/>
                  <p:cNvSpPr/>
                  <p:nvPr/>
                </p:nvSpPr>
                <p:spPr bwMode="auto">
                  <a:xfrm>
                    <a:off x="7523163" y="549275"/>
                    <a:ext cx="107950" cy="100013"/>
                  </a:xfrm>
                  <a:custGeom>
                    <a:avLst/>
                    <a:gdLst>
                      <a:gd name="T0" fmla="*/ 12 w 15"/>
                      <a:gd name="T1" fmla="*/ 11 h 14"/>
                      <a:gd name="T2" fmla="*/ 3 w 15"/>
                      <a:gd name="T3" fmla="*/ 12 h 14"/>
                      <a:gd name="T4" fmla="*/ 3 w 15"/>
                      <a:gd name="T5" fmla="*/ 3 h 14"/>
                      <a:gd name="T6" fmla="*/ 12 w 15"/>
                      <a:gd name="T7" fmla="*/ 2 h 14"/>
                      <a:gd name="T8" fmla="*/ 12 w 15"/>
                      <a:gd name="T9" fmla="*/ 11 h 14"/>
                    </a:gdLst>
                    <a:ahLst/>
                    <a:cxnLst>
                      <a:cxn ang="0">
                        <a:pos x="T0" y="T1"/>
                      </a:cxn>
                      <a:cxn ang="0">
                        <a:pos x="T2" y="T3"/>
                      </a:cxn>
                      <a:cxn ang="0">
                        <a:pos x="T4" y="T5"/>
                      </a:cxn>
                      <a:cxn ang="0">
                        <a:pos x="T6" y="T7"/>
                      </a:cxn>
                      <a:cxn ang="0">
                        <a:pos x="T8" y="T9"/>
                      </a:cxn>
                    </a:cxnLst>
                    <a:rect l="0" t="0" r="r" b="b"/>
                    <a:pathLst>
                      <a:path w="15" h="14">
                        <a:moveTo>
                          <a:pt x="12" y="11"/>
                        </a:moveTo>
                        <a:cubicBezTo>
                          <a:pt x="10" y="14"/>
                          <a:pt x="6" y="14"/>
                          <a:pt x="3" y="12"/>
                        </a:cubicBezTo>
                        <a:cubicBezTo>
                          <a:pt x="0" y="10"/>
                          <a:pt x="0" y="5"/>
                          <a:pt x="3" y="3"/>
                        </a:cubicBezTo>
                        <a:cubicBezTo>
                          <a:pt x="5" y="0"/>
                          <a:pt x="9" y="0"/>
                          <a:pt x="12" y="2"/>
                        </a:cubicBezTo>
                        <a:cubicBezTo>
                          <a:pt x="15" y="5"/>
                          <a:pt x="15" y="9"/>
                          <a:pt x="12" y="11"/>
                        </a:cubicBezTo>
                        <a:close/>
                      </a:path>
                    </a:pathLst>
                  </a:custGeom>
                  <a:solidFill>
                    <a:srgbClr val="E95644"/>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a:solidFill>
                        <a:schemeClr val="bg2">
                          <a:lumMod val="25000"/>
                        </a:schemeClr>
                      </a:solidFill>
                      <a:latin typeface="+mn-ea"/>
                    </a:endParaRPr>
                  </a:p>
                </p:txBody>
              </p:sp>
              <p:sp>
                <p:nvSpPr>
                  <p:cNvPr id="39" name="Freeform 59"/>
                  <p:cNvSpPr/>
                  <p:nvPr/>
                </p:nvSpPr>
                <p:spPr bwMode="auto">
                  <a:xfrm>
                    <a:off x="7543800" y="563563"/>
                    <a:ext cx="65088" cy="71438"/>
                  </a:xfrm>
                  <a:custGeom>
                    <a:avLst/>
                    <a:gdLst>
                      <a:gd name="T0" fmla="*/ 8 w 9"/>
                      <a:gd name="T1" fmla="*/ 8 h 10"/>
                      <a:gd name="T2" fmla="*/ 2 w 9"/>
                      <a:gd name="T3" fmla="*/ 8 h 10"/>
                      <a:gd name="T4" fmla="*/ 1 w 9"/>
                      <a:gd name="T5" fmla="*/ 2 h 10"/>
                      <a:gd name="T6" fmla="*/ 7 w 9"/>
                      <a:gd name="T7" fmla="*/ 2 h 10"/>
                      <a:gd name="T8" fmla="*/ 8 w 9"/>
                      <a:gd name="T9" fmla="*/ 8 h 10"/>
                    </a:gdLst>
                    <a:ahLst/>
                    <a:cxnLst>
                      <a:cxn ang="0">
                        <a:pos x="T0" y="T1"/>
                      </a:cxn>
                      <a:cxn ang="0">
                        <a:pos x="T2" y="T3"/>
                      </a:cxn>
                      <a:cxn ang="0">
                        <a:pos x="T4" y="T5"/>
                      </a:cxn>
                      <a:cxn ang="0">
                        <a:pos x="T6" y="T7"/>
                      </a:cxn>
                      <a:cxn ang="0">
                        <a:pos x="T8" y="T9"/>
                      </a:cxn>
                    </a:cxnLst>
                    <a:rect l="0" t="0" r="r" b="b"/>
                    <a:pathLst>
                      <a:path w="9" h="10">
                        <a:moveTo>
                          <a:pt x="8" y="8"/>
                        </a:moveTo>
                        <a:cubicBezTo>
                          <a:pt x="6" y="10"/>
                          <a:pt x="3" y="10"/>
                          <a:pt x="2" y="8"/>
                        </a:cubicBezTo>
                        <a:cubicBezTo>
                          <a:pt x="0" y="7"/>
                          <a:pt x="0" y="4"/>
                          <a:pt x="1" y="2"/>
                        </a:cubicBezTo>
                        <a:cubicBezTo>
                          <a:pt x="3" y="1"/>
                          <a:pt x="6" y="0"/>
                          <a:pt x="7" y="2"/>
                        </a:cubicBezTo>
                        <a:cubicBezTo>
                          <a:pt x="9" y="4"/>
                          <a:pt x="9" y="6"/>
                          <a:pt x="8" y="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a:solidFill>
                        <a:schemeClr val="bg2">
                          <a:lumMod val="25000"/>
                        </a:schemeClr>
                      </a:solidFill>
                      <a:latin typeface="+mn-ea"/>
                    </a:endParaRPr>
                  </a:p>
                </p:txBody>
              </p:sp>
              <p:sp>
                <p:nvSpPr>
                  <p:cNvPr id="40" name="Freeform 60"/>
                  <p:cNvSpPr/>
                  <p:nvPr/>
                </p:nvSpPr>
                <p:spPr bwMode="auto">
                  <a:xfrm>
                    <a:off x="7364413" y="677863"/>
                    <a:ext cx="144463" cy="158750"/>
                  </a:xfrm>
                  <a:custGeom>
                    <a:avLst/>
                    <a:gdLst>
                      <a:gd name="T0" fmla="*/ 4 w 91"/>
                      <a:gd name="T1" fmla="*/ 100 h 100"/>
                      <a:gd name="T2" fmla="*/ 0 w 91"/>
                      <a:gd name="T3" fmla="*/ 96 h 100"/>
                      <a:gd name="T4" fmla="*/ 86 w 91"/>
                      <a:gd name="T5" fmla="*/ 0 h 100"/>
                      <a:gd name="T6" fmla="*/ 91 w 91"/>
                      <a:gd name="T7" fmla="*/ 5 h 100"/>
                      <a:gd name="T8" fmla="*/ 4 w 91"/>
                      <a:gd name="T9" fmla="*/ 100 h 100"/>
                    </a:gdLst>
                    <a:ahLst/>
                    <a:cxnLst>
                      <a:cxn ang="0">
                        <a:pos x="T0" y="T1"/>
                      </a:cxn>
                      <a:cxn ang="0">
                        <a:pos x="T2" y="T3"/>
                      </a:cxn>
                      <a:cxn ang="0">
                        <a:pos x="T4" y="T5"/>
                      </a:cxn>
                      <a:cxn ang="0">
                        <a:pos x="T6" y="T7"/>
                      </a:cxn>
                      <a:cxn ang="0">
                        <a:pos x="T8" y="T9"/>
                      </a:cxn>
                    </a:cxnLst>
                    <a:rect l="0" t="0" r="r" b="b"/>
                    <a:pathLst>
                      <a:path w="91" h="100">
                        <a:moveTo>
                          <a:pt x="4" y="100"/>
                        </a:moveTo>
                        <a:lnTo>
                          <a:pt x="0" y="96"/>
                        </a:lnTo>
                        <a:lnTo>
                          <a:pt x="86" y="0"/>
                        </a:lnTo>
                        <a:lnTo>
                          <a:pt x="91" y="5"/>
                        </a:lnTo>
                        <a:lnTo>
                          <a:pt x="4" y="100"/>
                        </a:lnTo>
                        <a:close/>
                      </a:path>
                    </a:pathLst>
                  </a:custGeom>
                  <a:solidFill>
                    <a:srgbClr val="C54838"/>
                  </a:solid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466390"/>
                    <a:endParaRPr lang="zh-CN" altLang="en-US" sz="1836">
                      <a:solidFill>
                        <a:schemeClr val="bg2">
                          <a:lumMod val="25000"/>
                        </a:schemeClr>
                      </a:solidFill>
                      <a:latin typeface="+mn-ea"/>
                    </a:endParaRPr>
                  </a:p>
                </p:txBody>
              </p:sp>
            </p:grpSp>
          </p:grpSp>
          <p:sp>
            <p:nvSpPr>
              <p:cNvPr id="28" name="矩形 27"/>
              <p:cNvSpPr/>
              <p:nvPr/>
            </p:nvSpPr>
            <p:spPr>
              <a:xfrm>
                <a:off x="3429" y="4272"/>
                <a:ext cx="2360" cy="903"/>
              </a:xfrm>
              <a:prstGeom prst="rect">
                <a:avLst/>
              </a:prstGeom>
            </p:spPr>
            <p:txBody>
              <a:bodyPr wrap="square">
                <a:spAutoFit/>
                <a:scene3d>
                  <a:camera prst="orthographicFront"/>
                  <a:lightRig rig="threePt" dir="t"/>
                </a:scene3d>
              </a:bodyPr>
              <a:lstStyle/>
              <a:p>
                <a:pPr defTabSz="466390"/>
                <a:r>
                  <a:rPr lang="en-US" altLang="zh-CN" sz="1632" b="1" dirty="0">
                    <a:solidFill>
                      <a:schemeClr val="bg2">
                        <a:lumMod val="25000"/>
                      </a:schemeClr>
                    </a:solidFill>
                    <a:effectLst>
                      <a:outerShdw blurRad="38100" dist="25400" dir="5400000" algn="ctr" rotWithShape="0">
                        <a:srgbClr val="6E747A">
                          <a:alpha val="43000"/>
                        </a:srgbClr>
                      </a:outerShdw>
                    </a:effectLst>
                    <a:latin typeface="+mn-ea"/>
                  </a:rPr>
                  <a:t>CAGR 29.86%</a:t>
                </a:r>
              </a:p>
            </p:txBody>
          </p:sp>
          <p:sp>
            <p:nvSpPr>
              <p:cNvPr id="29" name="矩形 28"/>
              <p:cNvSpPr/>
              <p:nvPr/>
            </p:nvSpPr>
            <p:spPr>
              <a:xfrm>
                <a:off x="5050" y="2942"/>
                <a:ext cx="2474" cy="398"/>
              </a:xfrm>
              <a:prstGeom prst="rect">
                <a:avLst/>
              </a:prstGeom>
            </p:spPr>
            <p:txBody>
              <a:bodyPr wrap="square">
                <a:spAutoFit/>
              </a:bodyPr>
              <a:lstStyle/>
              <a:p>
                <a:pPr defTabSz="466390"/>
                <a:r>
                  <a:rPr lang="zh-CN" altLang="en-US" sz="1071" dirty="0">
                    <a:solidFill>
                      <a:schemeClr val="bg2">
                        <a:lumMod val="25000"/>
                      </a:schemeClr>
                    </a:solidFill>
                    <a:latin typeface="+mn-ea"/>
                  </a:rPr>
                  <a:t>单位：百万人民币</a:t>
                </a:r>
              </a:p>
            </p:txBody>
          </p:sp>
        </p:grpSp>
        <p:sp>
          <p:nvSpPr>
            <p:cNvPr id="42" name="矩形 41"/>
            <p:cNvSpPr/>
            <p:nvPr/>
          </p:nvSpPr>
          <p:spPr>
            <a:xfrm>
              <a:off x="11019466" y="2934481"/>
              <a:ext cx="84698" cy="14875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836">
                <a:solidFill>
                  <a:schemeClr val="bg2">
                    <a:lumMod val="25000"/>
                  </a:schemeClr>
                </a:solidFill>
                <a:latin typeface="+mn-ea"/>
              </a:endParaRPr>
            </a:p>
          </p:txBody>
        </p:sp>
        <p:sp>
          <p:nvSpPr>
            <p:cNvPr id="43" name="文本框 42"/>
            <p:cNvSpPr txBox="1"/>
            <p:nvPr/>
          </p:nvSpPr>
          <p:spPr>
            <a:xfrm rot="18699827">
              <a:off x="10759801" y="4519887"/>
              <a:ext cx="436948" cy="222268"/>
            </a:xfrm>
            <a:prstGeom prst="rect">
              <a:avLst/>
            </a:prstGeom>
            <a:noFill/>
          </p:spPr>
          <p:txBody>
            <a:bodyPr wrap="none" rtlCol="0">
              <a:spAutoFit/>
            </a:bodyPr>
            <a:lstStyle/>
            <a:p>
              <a:pPr defTabSz="466390"/>
              <a:r>
                <a:rPr lang="en-US" altLang="zh-CN" sz="816" dirty="0">
                  <a:solidFill>
                    <a:schemeClr val="bg2">
                      <a:lumMod val="25000"/>
                    </a:schemeClr>
                  </a:solidFill>
                  <a:latin typeface="+mn-ea"/>
                </a:rPr>
                <a:t>2020</a:t>
              </a:r>
              <a:endParaRPr lang="zh-CN" altLang="en-US" sz="816" dirty="0">
                <a:solidFill>
                  <a:schemeClr val="bg2">
                    <a:lumMod val="25000"/>
                  </a:schemeClr>
                </a:solidFill>
                <a:latin typeface="+mn-ea"/>
              </a:endParaRPr>
            </a:p>
          </p:txBody>
        </p:sp>
      </p:grpSp>
      <p:sp>
        <p:nvSpPr>
          <p:cNvPr id="52" name="矩形 51"/>
          <p:cNvSpPr/>
          <p:nvPr>
            <p:custDataLst>
              <p:tags r:id="rId6"/>
            </p:custDataLst>
          </p:nvPr>
        </p:nvSpPr>
        <p:spPr>
          <a:xfrm>
            <a:off x="46831" y="6190200"/>
            <a:ext cx="1260000" cy="379604"/>
          </a:xfrm>
          <a:prstGeom prst="rect">
            <a:avLst/>
          </a:prstGeom>
        </p:spPr>
        <p:txBody>
          <a:bodyPr wrap="square" lIns="91813" tIns="47743" rIns="91813" bIns="47743" anchor="t" anchorCtr="0">
            <a:noAutofit/>
            <a:scene3d>
              <a:camera prst="orthographicFront"/>
              <a:lightRig rig="threePt" dir="t"/>
            </a:scene3d>
          </a:bodyPr>
          <a:lstStyle/>
          <a:p>
            <a:pPr algn="ctr" defTabSz="932779">
              <a:lnSpc>
                <a:spcPct val="120000"/>
              </a:lnSpc>
              <a:defRPr/>
            </a:pPr>
            <a:r>
              <a:rPr lang="en-US" altLang="zh-CN" sz="1632" b="1" spc="153" dirty="0" smtClean="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rPr>
              <a:t>2020</a:t>
            </a:r>
            <a:r>
              <a:rPr lang="zh-CN" altLang="en-US" sz="1632" b="1" spc="153" dirty="0" smtClean="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rPr>
              <a:t>年度</a:t>
            </a:r>
            <a:endParaRPr lang="zh-CN" altLang="en-US" sz="1632" b="1" spc="153" dirty="0">
              <a:solidFill>
                <a:schemeClr val="bg2">
                  <a:lumMod val="25000"/>
                </a:schemeClr>
              </a:solidFill>
              <a:effectLst>
                <a:outerShdw blurRad="38100" dist="38100" dir="2700000" algn="tl">
                  <a:srgbClr val="000000">
                    <a:alpha val="43137"/>
                  </a:srgbClr>
                </a:outerShdw>
              </a:effectLst>
              <a:latin typeface="+mn-ea"/>
              <a:cs typeface="微软雅黑" panose="020B0503020204020204" pitchFamily="34" charset="-122"/>
            </a:endParaRPr>
          </a:p>
        </p:txBody>
      </p:sp>
    </p:spTree>
    <p:extLst>
      <p:ext uri="{BB962C8B-B14F-4D97-AF65-F5344CB8AC3E}">
        <p14:creationId xmlns:p14="http://schemas.microsoft.com/office/powerpoint/2010/main" val="3084499734"/>
      </p:ext>
    </p:extLst>
  </p:cSld>
  <p:clrMapOvr>
    <a:masterClrMapping/>
  </p:clrMapOvr>
  <p:transition spd="slow">
    <p:push dir="u"/>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全球客户分布</a:t>
            </a:r>
            <a:endParaRPr lang="zh-CN" altLang="en-US" dirty="0"/>
          </a:p>
        </p:txBody>
      </p:sp>
      <p:grpSp>
        <p:nvGrpSpPr>
          <p:cNvPr id="44" name="组合 43"/>
          <p:cNvGrpSpPr/>
          <p:nvPr/>
        </p:nvGrpSpPr>
        <p:grpSpPr>
          <a:xfrm>
            <a:off x="118161" y="983342"/>
            <a:ext cx="12193966" cy="5890986"/>
            <a:chOff x="341" y="1520"/>
            <a:chExt cx="18824" cy="9094"/>
          </a:xfrm>
        </p:grpSpPr>
        <p:grpSp>
          <p:nvGrpSpPr>
            <p:cNvPr id="45" name="组合 44"/>
            <p:cNvGrpSpPr/>
            <p:nvPr/>
          </p:nvGrpSpPr>
          <p:grpSpPr>
            <a:xfrm>
              <a:off x="1435" y="2441"/>
              <a:ext cx="15876" cy="7895"/>
              <a:chOff x="910630" y="1340768"/>
              <a:chExt cx="9447619" cy="4698413"/>
            </a:xfrm>
          </p:grpSpPr>
          <p:grpSp>
            <p:nvGrpSpPr>
              <p:cNvPr id="149" name="组合 148"/>
              <p:cNvGrpSpPr/>
              <p:nvPr/>
            </p:nvGrpSpPr>
            <p:grpSpPr>
              <a:xfrm>
                <a:off x="910630" y="1340768"/>
                <a:ext cx="9447619" cy="4698413"/>
                <a:chOff x="622598" y="1268760"/>
                <a:chExt cx="9447619" cy="4698413"/>
              </a:xfrm>
            </p:grpSpPr>
            <p:grpSp>
              <p:nvGrpSpPr>
                <p:cNvPr id="170" name="组合 169"/>
                <p:cNvGrpSpPr/>
                <p:nvPr/>
              </p:nvGrpSpPr>
              <p:grpSpPr>
                <a:xfrm>
                  <a:off x="622598" y="1268760"/>
                  <a:ext cx="9447619" cy="4698413"/>
                  <a:chOff x="1616139" y="1772816"/>
                  <a:chExt cx="9447619" cy="4698413"/>
                </a:xfrm>
              </p:grpSpPr>
              <p:grpSp>
                <p:nvGrpSpPr>
                  <p:cNvPr id="172" name="组合 171"/>
                  <p:cNvGrpSpPr/>
                  <p:nvPr/>
                </p:nvGrpSpPr>
                <p:grpSpPr>
                  <a:xfrm>
                    <a:off x="1616139" y="1772816"/>
                    <a:ext cx="9447619" cy="4698413"/>
                    <a:chOff x="1342678" y="1844824"/>
                    <a:chExt cx="9447619" cy="4698413"/>
                  </a:xfrm>
                </p:grpSpPr>
                <p:pic>
                  <p:nvPicPr>
                    <p:cNvPr id="176" name="图片 175"/>
                    <p:cNvPicPr>
                      <a:picLocks noChangeAspect="1"/>
                    </p:cNvPicPr>
                    <p:nvPr/>
                  </p:nvPicPr>
                  <p:blipFill>
                    <a:blip r:embed="rId2" cstate="print"/>
                    <a:stretch>
                      <a:fillRect/>
                    </a:stretch>
                  </p:blipFill>
                  <p:spPr>
                    <a:xfrm>
                      <a:off x="1342678" y="1844824"/>
                      <a:ext cx="9447619" cy="4698413"/>
                    </a:xfrm>
                    <a:prstGeom prst="rect">
                      <a:avLst/>
                    </a:prstGeom>
                    <a:noFill/>
                  </p:spPr>
                </p:pic>
                <p:pic>
                  <p:nvPicPr>
                    <p:cNvPr id="177" name="图片 176"/>
                    <p:cNvPicPr>
                      <a:picLocks noChangeAspect="1"/>
                    </p:cNvPicPr>
                    <p:nvPr/>
                  </p:nvPicPr>
                  <p:blipFill>
                    <a:blip r:embed="rId3" cstate="screen"/>
                    <a:stretch>
                      <a:fillRect/>
                    </a:stretch>
                  </p:blipFill>
                  <p:spPr>
                    <a:xfrm flipH="1">
                      <a:off x="8687494" y="2863568"/>
                      <a:ext cx="175989" cy="167190"/>
                    </a:xfrm>
                    <a:prstGeom prst="rect">
                      <a:avLst/>
                    </a:prstGeom>
                    <a:noFill/>
                  </p:spPr>
                </p:pic>
                <p:sp>
                  <p:nvSpPr>
                    <p:cNvPr id="178" name="文本框 177"/>
                    <p:cNvSpPr txBox="1"/>
                    <p:nvPr/>
                  </p:nvSpPr>
                  <p:spPr>
                    <a:xfrm>
                      <a:off x="8210471" y="2806425"/>
                      <a:ext cx="804989" cy="263085"/>
                    </a:xfrm>
                    <a:prstGeom prst="rect">
                      <a:avLst/>
                    </a:prstGeom>
                    <a:noFill/>
                  </p:spPr>
                  <p:txBody>
                    <a:bodyPr wrap="square" rtlCol="0">
                      <a:spAutoFit/>
                    </a:bodyPr>
                    <a:lstStyle/>
                    <a:p>
                      <a:pPr defTabSz="466390"/>
                      <a:r>
                        <a:rPr lang="zh-CN" altLang="en-US" sz="1200" b="1" dirty="0">
                          <a:solidFill>
                            <a:schemeClr val="bg2">
                              <a:lumMod val="25000"/>
                            </a:schemeClr>
                          </a:solidFill>
                          <a:latin typeface="+mn-ea"/>
                        </a:rPr>
                        <a:t>中国</a:t>
                      </a:r>
                    </a:p>
                  </p:txBody>
                </p:sp>
                <p:sp>
                  <p:nvSpPr>
                    <p:cNvPr id="179" name="TextBox 32"/>
                    <p:cNvSpPr txBox="1"/>
                    <p:nvPr/>
                  </p:nvSpPr>
                  <p:spPr>
                    <a:xfrm>
                      <a:off x="9768656" y="2976306"/>
                      <a:ext cx="1000132" cy="333694"/>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日本</a:t>
                      </a:r>
                    </a:p>
                  </p:txBody>
                </p:sp>
              </p:grpSp>
              <p:sp>
                <p:nvSpPr>
                  <p:cNvPr id="173" name="TextBox 32"/>
                  <p:cNvSpPr txBox="1"/>
                  <p:nvPr/>
                </p:nvSpPr>
                <p:spPr>
                  <a:xfrm>
                    <a:off x="6052573" y="2566724"/>
                    <a:ext cx="1000132" cy="333694"/>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罗马尼亚</a:t>
                    </a:r>
                  </a:p>
                </p:txBody>
              </p:sp>
              <p:sp>
                <p:nvSpPr>
                  <p:cNvPr id="174" name="TextBox 40"/>
                  <p:cNvSpPr txBox="1"/>
                  <p:nvPr/>
                </p:nvSpPr>
                <p:spPr>
                  <a:xfrm>
                    <a:off x="8547273" y="3920794"/>
                    <a:ext cx="1149661" cy="333694"/>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马来西亚</a:t>
                    </a:r>
                  </a:p>
                </p:txBody>
              </p:sp>
              <p:sp>
                <p:nvSpPr>
                  <p:cNvPr id="175" name="TextBox 41"/>
                  <p:cNvSpPr txBox="1"/>
                  <p:nvPr/>
                </p:nvSpPr>
                <p:spPr>
                  <a:xfrm>
                    <a:off x="9071895" y="4117090"/>
                    <a:ext cx="1189770" cy="333694"/>
                  </a:xfrm>
                  <a:prstGeom prst="rect">
                    <a:avLst/>
                  </a:prstGeom>
                  <a:noFill/>
                </p:spPr>
                <p:txBody>
                  <a:bodyPr wrap="square" rtlCol="0">
                    <a:spAutoFit/>
                  </a:bodyPr>
                  <a:lstStyle>
                    <a:defPPr>
                      <a:defRPr lang="en-US"/>
                    </a:defPPr>
                    <a:lvl1pPr>
                      <a:lnSpc>
                        <a:spcPct val="140000"/>
                      </a:lnSpc>
                      <a:defRPr sz="1200">
                        <a:solidFill>
                          <a:schemeClr val="tx1">
                            <a:lumMod val="75000"/>
                            <a:lumOff val="25000"/>
                          </a:schemeClr>
                        </a:solidFill>
                        <a:ea typeface="微软雅黑" panose="020B0503020204020204" pitchFamily="34" charset="-122"/>
                      </a:defRPr>
                    </a:lvl1pPr>
                  </a:lstStyle>
                  <a:p>
                    <a:pPr defTabSz="466390"/>
                    <a:r>
                      <a:rPr lang="zh-CN" altLang="en-US" b="1" dirty="0">
                        <a:solidFill>
                          <a:schemeClr val="bg2">
                            <a:lumMod val="25000"/>
                          </a:schemeClr>
                        </a:solidFill>
                        <a:latin typeface="+mn-ea"/>
                        <a:ea typeface="+mn-ea"/>
                      </a:rPr>
                      <a:t>新加坡</a:t>
                    </a:r>
                  </a:p>
                </p:txBody>
              </p:sp>
            </p:grpSp>
            <p:pic>
              <p:nvPicPr>
                <p:cNvPr id="171" name="图片 170"/>
                <p:cNvPicPr>
                  <a:picLocks noChangeAspect="1"/>
                </p:cNvPicPr>
                <p:nvPr/>
              </p:nvPicPr>
              <p:blipFill>
                <a:blip r:embed="rId4" cstate="print"/>
                <a:stretch>
                  <a:fillRect/>
                </a:stretch>
              </p:blipFill>
              <p:spPr>
                <a:xfrm>
                  <a:off x="7963255" y="1891494"/>
                  <a:ext cx="202871" cy="463705"/>
                </a:xfrm>
                <a:prstGeom prst="rect">
                  <a:avLst/>
                </a:prstGeom>
                <a:noFill/>
              </p:spPr>
            </p:pic>
          </p:grpSp>
          <p:sp>
            <p:nvSpPr>
              <p:cNvPr id="150" name="椭圆 149"/>
              <p:cNvSpPr/>
              <p:nvPr/>
            </p:nvSpPr>
            <p:spPr>
              <a:xfrm>
                <a:off x="5866268" y="2426995"/>
                <a:ext cx="105586" cy="105586"/>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51" name="椭圆 150"/>
              <p:cNvSpPr/>
              <p:nvPr/>
            </p:nvSpPr>
            <p:spPr>
              <a:xfrm>
                <a:off x="1990750" y="2348880"/>
                <a:ext cx="67475" cy="67475"/>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52" name="椭圆 151"/>
              <p:cNvSpPr/>
              <p:nvPr/>
            </p:nvSpPr>
            <p:spPr>
              <a:xfrm>
                <a:off x="9229980" y="2675342"/>
                <a:ext cx="105586" cy="105586"/>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53" name="椭圆 152"/>
              <p:cNvSpPr/>
              <p:nvPr/>
            </p:nvSpPr>
            <p:spPr>
              <a:xfrm>
                <a:off x="8343821" y="3910421"/>
                <a:ext cx="105586" cy="105586"/>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54" name="椭圆 153"/>
              <p:cNvSpPr/>
              <p:nvPr/>
            </p:nvSpPr>
            <p:spPr>
              <a:xfrm>
                <a:off x="8215256" y="3780753"/>
                <a:ext cx="105586" cy="105586"/>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55" name="椭圆 154"/>
              <p:cNvSpPr/>
              <p:nvPr/>
            </p:nvSpPr>
            <p:spPr>
              <a:xfrm>
                <a:off x="2985847" y="2629452"/>
                <a:ext cx="67475" cy="67475"/>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56" name="Tekstboks 566"/>
              <p:cNvSpPr txBox="1"/>
              <p:nvPr/>
            </p:nvSpPr>
            <p:spPr bwMode="auto">
              <a:xfrm>
                <a:off x="2981609" y="2436157"/>
                <a:ext cx="614720" cy="263085"/>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华盛顿</a:t>
                </a:r>
              </a:p>
            </p:txBody>
          </p:sp>
          <p:sp>
            <p:nvSpPr>
              <p:cNvPr id="157" name="Tekstboks 542"/>
              <p:cNvSpPr txBox="1"/>
              <p:nvPr/>
            </p:nvSpPr>
            <p:spPr bwMode="auto">
              <a:xfrm>
                <a:off x="1873802" y="2132856"/>
                <a:ext cx="467500" cy="263085"/>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丹佛</a:t>
                </a:r>
              </a:p>
            </p:txBody>
          </p:sp>
          <p:sp>
            <p:nvSpPr>
              <p:cNvPr id="158" name="Tekstboks 566"/>
              <p:cNvSpPr txBox="1"/>
              <p:nvPr/>
            </p:nvSpPr>
            <p:spPr bwMode="auto">
              <a:xfrm>
                <a:off x="2520811" y="2980612"/>
                <a:ext cx="467500" cy="263085"/>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坦帕</a:t>
                </a:r>
              </a:p>
            </p:txBody>
          </p:sp>
          <p:sp>
            <p:nvSpPr>
              <p:cNvPr id="159" name="椭圆 158"/>
              <p:cNvSpPr/>
              <p:nvPr/>
            </p:nvSpPr>
            <p:spPr>
              <a:xfrm>
                <a:off x="2461228" y="2924944"/>
                <a:ext cx="67475" cy="67475"/>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60" name="椭圆 159"/>
              <p:cNvSpPr/>
              <p:nvPr/>
            </p:nvSpPr>
            <p:spPr>
              <a:xfrm>
                <a:off x="2206774" y="2636912"/>
                <a:ext cx="67475" cy="67475"/>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61" name="Tekstboks 542"/>
              <p:cNvSpPr txBox="1"/>
              <p:nvPr/>
            </p:nvSpPr>
            <p:spPr bwMode="auto">
              <a:xfrm>
                <a:off x="2278782" y="2492896"/>
                <a:ext cx="614720" cy="263085"/>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达拉斯</a:t>
                </a:r>
              </a:p>
            </p:txBody>
          </p:sp>
          <p:sp>
            <p:nvSpPr>
              <p:cNvPr id="162" name="椭圆 161"/>
              <p:cNvSpPr/>
              <p:nvPr/>
            </p:nvSpPr>
            <p:spPr>
              <a:xfrm>
                <a:off x="2062758" y="2789312"/>
                <a:ext cx="67475" cy="67475"/>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63" name="椭圆 162"/>
              <p:cNvSpPr/>
              <p:nvPr/>
            </p:nvSpPr>
            <p:spPr>
              <a:xfrm>
                <a:off x="2359174" y="2789312"/>
                <a:ext cx="67475" cy="67475"/>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64" name="Tekstboks 542"/>
              <p:cNvSpPr txBox="1"/>
              <p:nvPr/>
            </p:nvSpPr>
            <p:spPr bwMode="auto">
              <a:xfrm>
                <a:off x="2422798" y="2636912"/>
                <a:ext cx="614720" cy="263085"/>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休斯顿</a:t>
                </a:r>
              </a:p>
            </p:txBody>
          </p:sp>
          <p:sp>
            <p:nvSpPr>
              <p:cNvPr id="165" name="Tekstboks 542"/>
              <p:cNvSpPr txBox="1"/>
              <p:nvPr/>
            </p:nvSpPr>
            <p:spPr bwMode="auto">
              <a:xfrm>
                <a:off x="1401389" y="2691343"/>
                <a:ext cx="614720" cy="263085"/>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奥斯汀</a:t>
                </a:r>
              </a:p>
            </p:txBody>
          </p:sp>
          <p:sp>
            <p:nvSpPr>
              <p:cNvPr id="166" name="椭圆 165"/>
              <p:cNvSpPr/>
              <p:nvPr/>
            </p:nvSpPr>
            <p:spPr>
              <a:xfrm>
                <a:off x="1918742" y="2564904"/>
                <a:ext cx="67475" cy="67475"/>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67" name="Tekstboks 542"/>
              <p:cNvSpPr txBox="1"/>
              <p:nvPr/>
            </p:nvSpPr>
            <p:spPr bwMode="auto">
              <a:xfrm>
                <a:off x="1528860" y="2504818"/>
                <a:ext cx="467500" cy="263085"/>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凤凰</a:t>
                </a:r>
              </a:p>
            </p:txBody>
          </p:sp>
          <p:sp>
            <p:nvSpPr>
              <p:cNvPr id="168" name="Tekstboks 554"/>
              <p:cNvSpPr txBox="1"/>
              <p:nvPr/>
            </p:nvSpPr>
            <p:spPr bwMode="auto">
              <a:xfrm>
                <a:off x="1163690" y="2897201"/>
                <a:ext cx="909161" cy="263085"/>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圣安东尼奥</a:t>
                </a:r>
              </a:p>
            </p:txBody>
          </p:sp>
          <p:sp>
            <p:nvSpPr>
              <p:cNvPr id="169" name="椭圆 168"/>
              <p:cNvSpPr/>
              <p:nvPr/>
            </p:nvSpPr>
            <p:spPr>
              <a:xfrm>
                <a:off x="2062758" y="2996952"/>
                <a:ext cx="67475" cy="67475"/>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grpSp>
        <p:sp>
          <p:nvSpPr>
            <p:cNvPr id="46" name="TextBox 32"/>
            <p:cNvSpPr txBox="1"/>
            <p:nvPr/>
          </p:nvSpPr>
          <p:spPr>
            <a:xfrm>
              <a:off x="13667" y="4344"/>
              <a:ext cx="4752" cy="561"/>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cs typeface="Microsoft YaHei UI Light" panose="020B0502040204020203" pitchFamily="34" charset="-122"/>
                </a:rPr>
                <a:t>北京 战略总部</a:t>
              </a:r>
            </a:p>
          </p:txBody>
        </p:sp>
        <p:sp>
          <p:nvSpPr>
            <p:cNvPr id="47" name="椭圆 46"/>
            <p:cNvSpPr/>
            <p:nvPr/>
          </p:nvSpPr>
          <p:spPr>
            <a:xfrm>
              <a:off x="11025" y="5333"/>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48" name="TextBox 32"/>
            <p:cNvSpPr txBox="1"/>
            <p:nvPr/>
          </p:nvSpPr>
          <p:spPr>
            <a:xfrm>
              <a:off x="10327" y="5099"/>
              <a:ext cx="1335" cy="561"/>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巴林</a:t>
              </a:r>
            </a:p>
          </p:txBody>
        </p:sp>
        <p:sp>
          <p:nvSpPr>
            <p:cNvPr id="49" name="TextBox 32"/>
            <p:cNvSpPr txBox="1"/>
            <p:nvPr/>
          </p:nvSpPr>
          <p:spPr>
            <a:xfrm>
              <a:off x="10371" y="5779"/>
              <a:ext cx="1663" cy="561"/>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沙特阿拉伯</a:t>
              </a:r>
            </a:p>
          </p:txBody>
        </p:sp>
        <p:sp>
          <p:nvSpPr>
            <p:cNvPr id="50" name="TextBox 32"/>
            <p:cNvSpPr txBox="1"/>
            <p:nvPr/>
          </p:nvSpPr>
          <p:spPr>
            <a:xfrm>
              <a:off x="11198" y="5163"/>
              <a:ext cx="1324" cy="561"/>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阿联酋</a:t>
              </a:r>
            </a:p>
          </p:txBody>
        </p:sp>
        <p:sp>
          <p:nvSpPr>
            <p:cNvPr id="53" name="椭圆 52"/>
            <p:cNvSpPr/>
            <p:nvPr/>
          </p:nvSpPr>
          <p:spPr>
            <a:xfrm>
              <a:off x="9260" y="6583"/>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54" name="TextBox 32"/>
            <p:cNvSpPr txBox="1"/>
            <p:nvPr/>
          </p:nvSpPr>
          <p:spPr>
            <a:xfrm>
              <a:off x="9168" y="6098"/>
              <a:ext cx="1589" cy="561"/>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尼日利亚</a:t>
              </a:r>
            </a:p>
          </p:txBody>
        </p:sp>
        <p:sp>
          <p:nvSpPr>
            <p:cNvPr id="55" name="矩形 54"/>
            <p:cNvSpPr/>
            <p:nvPr/>
          </p:nvSpPr>
          <p:spPr>
            <a:xfrm>
              <a:off x="10283" y="7600"/>
              <a:ext cx="1280" cy="561"/>
            </a:xfrm>
            <a:prstGeom prst="rect">
              <a:avLst/>
            </a:prstGeom>
          </p:spPr>
          <p:txBody>
            <a:bodyPr wrap="none">
              <a:spAutoFit/>
            </a:bodyPr>
            <a:lstStyle/>
            <a:p>
              <a:pPr defTabSz="466390">
                <a:lnSpc>
                  <a:spcPct val="140000"/>
                </a:lnSpc>
              </a:pPr>
              <a:r>
                <a:rPr lang="zh-CN" altLang="en-US" sz="1200" b="1" dirty="0">
                  <a:solidFill>
                    <a:schemeClr val="bg2">
                      <a:lumMod val="25000"/>
                    </a:schemeClr>
                  </a:solidFill>
                  <a:latin typeface="+mn-ea"/>
                </a:rPr>
                <a:t>莫桑比克</a:t>
              </a:r>
            </a:p>
          </p:txBody>
        </p:sp>
        <p:sp>
          <p:nvSpPr>
            <p:cNvPr id="56" name="椭圆 55"/>
            <p:cNvSpPr/>
            <p:nvPr/>
          </p:nvSpPr>
          <p:spPr>
            <a:xfrm>
              <a:off x="10202" y="7840"/>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57" name="矩形 56"/>
            <p:cNvSpPr/>
            <p:nvPr/>
          </p:nvSpPr>
          <p:spPr>
            <a:xfrm>
              <a:off x="8299" y="5998"/>
              <a:ext cx="786" cy="561"/>
            </a:xfrm>
            <a:prstGeom prst="rect">
              <a:avLst/>
            </a:prstGeom>
          </p:spPr>
          <p:txBody>
            <a:bodyPr wrap="none">
              <a:spAutoFit/>
            </a:bodyPr>
            <a:lstStyle/>
            <a:p>
              <a:pPr defTabSz="466390">
                <a:lnSpc>
                  <a:spcPct val="140000"/>
                </a:lnSpc>
              </a:pPr>
              <a:r>
                <a:rPr lang="zh-CN" altLang="en-US" sz="1200" b="1" dirty="0">
                  <a:solidFill>
                    <a:schemeClr val="bg2">
                      <a:lumMod val="25000"/>
                    </a:schemeClr>
                  </a:solidFill>
                  <a:latin typeface="+mn-ea"/>
                </a:rPr>
                <a:t>多哥</a:t>
              </a:r>
            </a:p>
          </p:txBody>
        </p:sp>
        <p:sp>
          <p:nvSpPr>
            <p:cNvPr id="58" name="椭圆 57"/>
            <p:cNvSpPr/>
            <p:nvPr/>
          </p:nvSpPr>
          <p:spPr>
            <a:xfrm>
              <a:off x="8576" y="6500"/>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59" name="椭圆 58"/>
            <p:cNvSpPr/>
            <p:nvPr/>
          </p:nvSpPr>
          <p:spPr>
            <a:xfrm>
              <a:off x="4778" y="6749"/>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60" name="矩形 59"/>
            <p:cNvSpPr/>
            <p:nvPr/>
          </p:nvSpPr>
          <p:spPr>
            <a:xfrm>
              <a:off x="4640" y="6787"/>
              <a:ext cx="1280" cy="561"/>
            </a:xfrm>
            <a:prstGeom prst="rect">
              <a:avLst/>
            </a:prstGeom>
          </p:spPr>
          <p:txBody>
            <a:bodyPr wrap="none">
              <a:spAutoFit/>
            </a:bodyPr>
            <a:lstStyle/>
            <a:p>
              <a:pPr defTabSz="466390">
                <a:lnSpc>
                  <a:spcPct val="140000"/>
                </a:lnSpc>
              </a:pPr>
              <a:r>
                <a:rPr lang="zh-CN" altLang="en-US" sz="1200" b="1" dirty="0">
                  <a:solidFill>
                    <a:schemeClr val="bg2">
                      <a:lumMod val="25000"/>
                    </a:schemeClr>
                  </a:solidFill>
                  <a:latin typeface="+mn-ea"/>
                </a:rPr>
                <a:t>哥伦比亚</a:t>
              </a:r>
            </a:p>
          </p:txBody>
        </p:sp>
        <p:sp>
          <p:nvSpPr>
            <p:cNvPr id="61" name="椭圆 60"/>
            <p:cNvSpPr/>
            <p:nvPr/>
          </p:nvSpPr>
          <p:spPr>
            <a:xfrm>
              <a:off x="4509" y="7069"/>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62" name="矩形 61"/>
            <p:cNvSpPr/>
            <p:nvPr/>
          </p:nvSpPr>
          <p:spPr>
            <a:xfrm>
              <a:off x="3259" y="6943"/>
              <a:ext cx="1280" cy="561"/>
            </a:xfrm>
            <a:prstGeom prst="rect">
              <a:avLst/>
            </a:prstGeom>
          </p:spPr>
          <p:txBody>
            <a:bodyPr wrap="none">
              <a:spAutoFit/>
            </a:bodyPr>
            <a:lstStyle/>
            <a:p>
              <a:pPr defTabSz="466390">
                <a:lnSpc>
                  <a:spcPct val="140000"/>
                </a:lnSpc>
              </a:pPr>
              <a:r>
                <a:rPr lang="zh-CN" altLang="en-US" sz="1200" b="1" dirty="0">
                  <a:solidFill>
                    <a:schemeClr val="bg2">
                      <a:lumMod val="25000"/>
                    </a:schemeClr>
                  </a:solidFill>
                  <a:latin typeface="+mn-ea"/>
                </a:rPr>
                <a:t>厄瓜多尔</a:t>
              </a:r>
            </a:p>
          </p:txBody>
        </p:sp>
        <p:sp>
          <p:nvSpPr>
            <p:cNvPr id="63" name="椭圆 62"/>
            <p:cNvSpPr/>
            <p:nvPr/>
          </p:nvSpPr>
          <p:spPr>
            <a:xfrm>
              <a:off x="4129" y="6307"/>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64" name="椭圆 63"/>
            <p:cNvSpPr/>
            <p:nvPr/>
          </p:nvSpPr>
          <p:spPr>
            <a:xfrm>
              <a:off x="3817" y="6093"/>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65" name="矩形 64"/>
            <p:cNvSpPr/>
            <p:nvPr/>
          </p:nvSpPr>
          <p:spPr>
            <a:xfrm>
              <a:off x="3010" y="6438"/>
              <a:ext cx="1280" cy="442"/>
            </a:xfrm>
            <a:prstGeom prst="rect">
              <a:avLst/>
            </a:prstGeom>
          </p:spPr>
          <p:txBody>
            <a:bodyPr wrap="none">
              <a:spAutoFit/>
            </a:bodyPr>
            <a:lstStyle/>
            <a:p>
              <a:pPr defTabSz="466390"/>
              <a:r>
                <a:rPr lang="zh-CN" altLang="en-US" sz="1200" b="1" dirty="0">
                  <a:solidFill>
                    <a:schemeClr val="bg2">
                      <a:lumMod val="25000"/>
                    </a:schemeClr>
                  </a:solidFill>
                  <a:latin typeface="+mn-ea"/>
                </a:rPr>
                <a:t>萨尔瓦多</a:t>
              </a:r>
            </a:p>
          </p:txBody>
        </p:sp>
        <p:sp>
          <p:nvSpPr>
            <p:cNvPr id="66" name="矩形 65"/>
            <p:cNvSpPr/>
            <p:nvPr/>
          </p:nvSpPr>
          <p:spPr>
            <a:xfrm>
              <a:off x="2680" y="6075"/>
              <a:ext cx="1280" cy="442"/>
            </a:xfrm>
            <a:prstGeom prst="rect">
              <a:avLst/>
            </a:prstGeom>
          </p:spPr>
          <p:txBody>
            <a:bodyPr wrap="none">
              <a:spAutoFit/>
            </a:bodyPr>
            <a:lstStyle/>
            <a:p>
              <a:pPr defTabSz="466390"/>
              <a:r>
                <a:rPr lang="zh-CN" altLang="en-US" sz="1200" b="1" dirty="0">
                  <a:solidFill>
                    <a:schemeClr val="bg2">
                      <a:lumMod val="25000"/>
                    </a:schemeClr>
                  </a:solidFill>
                  <a:latin typeface="+mn-ea"/>
                </a:rPr>
                <a:t>危地马拉</a:t>
              </a:r>
            </a:p>
          </p:txBody>
        </p:sp>
        <p:sp>
          <p:nvSpPr>
            <p:cNvPr id="67" name="椭圆 66"/>
            <p:cNvSpPr/>
            <p:nvPr/>
          </p:nvSpPr>
          <p:spPr>
            <a:xfrm>
              <a:off x="4029" y="6017"/>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68" name="矩形 67"/>
            <p:cNvSpPr/>
            <p:nvPr/>
          </p:nvSpPr>
          <p:spPr>
            <a:xfrm>
              <a:off x="4176" y="5790"/>
              <a:ext cx="1280" cy="442"/>
            </a:xfrm>
            <a:prstGeom prst="rect">
              <a:avLst/>
            </a:prstGeom>
          </p:spPr>
          <p:txBody>
            <a:bodyPr wrap="none">
              <a:spAutoFit/>
            </a:bodyPr>
            <a:lstStyle/>
            <a:p>
              <a:pPr defTabSz="466390"/>
              <a:r>
                <a:rPr lang="zh-CN" altLang="en-US" sz="1200" b="1" dirty="0">
                  <a:solidFill>
                    <a:schemeClr val="bg2">
                      <a:lumMod val="25000"/>
                    </a:schemeClr>
                  </a:solidFill>
                  <a:latin typeface="+mn-ea"/>
                </a:rPr>
                <a:t>洪都拉斯</a:t>
              </a:r>
            </a:p>
          </p:txBody>
        </p:sp>
        <p:sp>
          <p:nvSpPr>
            <p:cNvPr id="69" name="矩形 68"/>
            <p:cNvSpPr/>
            <p:nvPr/>
          </p:nvSpPr>
          <p:spPr>
            <a:xfrm>
              <a:off x="5706" y="8236"/>
              <a:ext cx="1033" cy="442"/>
            </a:xfrm>
            <a:prstGeom prst="rect">
              <a:avLst/>
            </a:prstGeom>
          </p:spPr>
          <p:txBody>
            <a:bodyPr wrap="none">
              <a:spAutoFit/>
            </a:bodyPr>
            <a:lstStyle/>
            <a:p>
              <a:pPr defTabSz="466390"/>
              <a:r>
                <a:rPr lang="zh-CN" altLang="en-US" sz="1200" b="1" dirty="0">
                  <a:solidFill>
                    <a:schemeClr val="bg2">
                      <a:lumMod val="25000"/>
                    </a:schemeClr>
                  </a:solidFill>
                  <a:latin typeface="+mn-ea"/>
                </a:rPr>
                <a:t>巴拉圭</a:t>
              </a:r>
            </a:p>
          </p:txBody>
        </p:sp>
        <p:sp>
          <p:nvSpPr>
            <p:cNvPr id="70" name="椭圆 69"/>
            <p:cNvSpPr/>
            <p:nvPr/>
          </p:nvSpPr>
          <p:spPr>
            <a:xfrm>
              <a:off x="5647" y="8494"/>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71" name="矩形 70"/>
            <p:cNvSpPr/>
            <p:nvPr/>
          </p:nvSpPr>
          <p:spPr>
            <a:xfrm>
              <a:off x="4188" y="7972"/>
              <a:ext cx="1305" cy="428"/>
            </a:xfrm>
            <a:prstGeom prst="rect">
              <a:avLst/>
            </a:prstGeom>
          </p:spPr>
          <p:txBody>
            <a:bodyPr wrap="none">
              <a:spAutoFit/>
            </a:bodyPr>
            <a:lstStyle/>
            <a:p>
              <a:pPr defTabSz="466390"/>
              <a:r>
                <a:rPr lang="zh-CN" altLang="en-US" sz="1200" b="1" dirty="0">
                  <a:solidFill>
                    <a:schemeClr val="bg2">
                      <a:lumMod val="25000"/>
                    </a:schemeClr>
                  </a:solidFill>
                  <a:latin typeface="+mn-ea"/>
                  <a:cs typeface="Microsoft YaHei UI Light" panose="020B0502040204020203" pitchFamily="34" charset="-122"/>
                </a:rPr>
                <a:t> 玻利维亚</a:t>
              </a:r>
            </a:p>
          </p:txBody>
        </p:sp>
        <p:sp>
          <p:nvSpPr>
            <p:cNvPr id="72" name="椭圆 71"/>
            <p:cNvSpPr/>
            <p:nvPr/>
          </p:nvSpPr>
          <p:spPr>
            <a:xfrm>
              <a:off x="5363" y="8112"/>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73" name="椭圆 72"/>
            <p:cNvSpPr/>
            <p:nvPr/>
          </p:nvSpPr>
          <p:spPr>
            <a:xfrm>
              <a:off x="5743" y="7554"/>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74" name="矩形 73"/>
            <p:cNvSpPr/>
            <p:nvPr/>
          </p:nvSpPr>
          <p:spPr>
            <a:xfrm>
              <a:off x="5946" y="7486"/>
              <a:ext cx="786" cy="442"/>
            </a:xfrm>
            <a:prstGeom prst="rect">
              <a:avLst/>
            </a:prstGeom>
          </p:spPr>
          <p:txBody>
            <a:bodyPr wrap="none">
              <a:spAutoFit/>
            </a:bodyPr>
            <a:lstStyle/>
            <a:p>
              <a:pPr defTabSz="466390"/>
              <a:r>
                <a:rPr lang="zh-CN" altLang="en-US" sz="1200" b="1" dirty="0">
                  <a:solidFill>
                    <a:schemeClr val="bg2">
                      <a:lumMod val="25000"/>
                    </a:schemeClr>
                  </a:solidFill>
                  <a:latin typeface="+mn-ea"/>
                </a:rPr>
                <a:t>巴西</a:t>
              </a:r>
            </a:p>
          </p:txBody>
        </p:sp>
        <p:sp>
          <p:nvSpPr>
            <p:cNvPr id="75" name="椭圆 74"/>
            <p:cNvSpPr/>
            <p:nvPr/>
          </p:nvSpPr>
          <p:spPr>
            <a:xfrm>
              <a:off x="5528" y="8827"/>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76" name="矩形 75"/>
            <p:cNvSpPr/>
            <p:nvPr/>
          </p:nvSpPr>
          <p:spPr>
            <a:xfrm>
              <a:off x="5647" y="8698"/>
              <a:ext cx="1033" cy="442"/>
            </a:xfrm>
            <a:prstGeom prst="rect">
              <a:avLst/>
            </a:prstGeom>
          </p:spPr>
          <p:txBody>
            <a:bodyPr wrap="none">
              <a:spAutoFit/>
            </a:bodyPr>
            <a:lstStyle/>
            <a:p>
              <a:pPr defTabSz="466390"/>
              <a:r>
                <a:rPr lang="zh-CN" altLang="en-US" sz="1200" b="1" dirty="0">
                  <a:solidFill>
                    <a:schemeClr val="bg2">
                      <a:lumMod val="25000"/>
                    </a:schemeClr>
                  </a:solidFill>
                  <a:latin typeface="+mn-ea"/>
                </a:rPr>
                <a:t>阿根廷</a:t>
              </a:r>
            </a:p>
          </p:txBody>
        </p:sp>
        <p:sp>
          <p:nvSpPr>
            <p:cNvPr id="77" name="椭圆 76"/>
            <p:cNvSpPr/>
            <p:nvPr/>
          </p:nvSpPr>
          <p:spPr>
            <a:xfrm>
              <a:off x="10897" y="5790"/>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78" name="椭圆 77"/>
            <p:cNvSpPr/>
            <p:nvPr/>
          </p:nvSpPr>
          <p:spPr>
            <a:xfrm>
              <a:off x="11227" y="5588"/>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79" name="椭圆 78"/>
            <p:cNvSpPr/>
            <p:nvPr/>
          </p:nvSpPr>
          <p:spPr>
            <a:xfrm>
              <a:off x="12484" y="6016"/>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80" name="TextBox 32"/>
            <p:cNvSpPr txBox="1"/>
            <p:nvPr/>
          </p:nvSpPr>
          <p:spPr>
            <a:xfrm>
              <a:off x="12159" y="5492"/>
              <a:ext cx="1681" cy="561"/>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印度</a:t>
              </a:r>
            </a:p>
          </p:txBody>
        </p:sp>
        <p:sp>
          <p:nvSpPr>
            <p:cNvPr id="81" name="椭圆 80"/>
            <p:cNvSpPr/>
            <p:nvPr/>
          </p:nvSpPr>
          <p:spPr>
            <a:xfrm>
              <a:off x="14306" y="5675"/>
              <a:ext cx="113" cy="113"/>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82" name="TextBox 32"/>
            <p:cNvSpPr txBox="1"/>
            <p:nvPr/>
          </p:nvSpPr>
          <p:spPr>
            <a:xfrm>
              <a:off x="14241" y="5241"/>
              <a:ext cx="1681" cy="561"/>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香港</a:t>
              </a:r>
            </a:p>
          </p:txBody>
        </p:sp>
        <p:sp>
          <p:nvSpPr>
            <p:cNvPr id="83" name="椭圆 82"/>
            <p:cNvSpPr/>
            <p:nvPr/>
          </p:nvSpPr>
          <p:spPr>
            <a:xfrm>
              <a:off x="13767" y="5824"/>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84" name="TextBox 41"/>
            <p:cNvSpPr txBox="1"/>
            <p:nvPr/>
          </p:nvSpPr>
          <p:spPr>
            <a:xfrm>
              <a:off x="13240" y="5346"/>
              <a:ext cx="801" cy="561"/>
            </a:xfrm>
            <a:prstGeom prst="rect">
              <a:avLst/>
            </a:prstGeom>
            <a:noFill/>
          </p:spPr>
          <p:txBody>
            <a:bodyPr wrap="square" rtlCol="0">
              <a:spAutoFit/>
            </a:bodyPr>
            <a:lstStyle>
              <a:defPPr>
                <a:defRPr lang="en-US"/>
              </a:defPPr>
              <a:lvl1pPr>
                <a:lnSpc>
                  <a:spcPct val="140000"/>
                </a:lnSpc>
                <a:defRPr sz="1200">
                  <a:solidFill>
                    <a:schemeClr val="tx1">
                      <a:lumMod val="75000"/>
                      <a:lumOff val="25000"/>
                    </a:schemeClr>
                  </a:solidFill>
                  <a:ea typeface="微软雅黑" panose="020B0503020204020204" pitchFamily="34" charset="-122"/>
                </a:defRPr>
              </a:lvl1pPr>
            </a:lstStyle>
            <a:p>
              <a:pPr defTabSz="466390"/>
              <a:r>
                <a:rPr lang="zh-CN" altLang="en-US" b="1" dirty="0">
                  <a:solidFill>
                    <a:schemeClr val="bg2">
                      <a:lumMod val="25000"/>
                    </a:schemeClr>
                  </a:solidFill>
                  <a:latin typeface="+mn-ea"/>
                  <a:ea typeface="+mn-ea"/>
                </a:rPr>
                <a:t>老挝</a:t>
              </a:r>
            </a:p>
          </p:txBody>
        </p:sp>
        <p:sp>
          <p:nvSpPr>
            <p:cNvPr id="85" name="椭圆 84"/>
            <p:cNvSpPr/>
            <p:nvPr/>
          </p:nvSpPr>
          <p:spPr>
            <a:xfrm>
              <a:off x="14488" y="6998"/>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86" name="TextBox 41"/>
            <p:cNvSpPr txBox="1"/>
            <p:nvPr/>
          </p:nvSpPr>
          <p:spPr>
            <a:xfrm>
              <a:off x="14542" y="6704"/>
              <a:ext cx="1999" cy="561"/>
            </a:xfrm>
            <a:prstGeom prst="rect">
              <a:avLst/>
            </a:prstGeom>
            <a:noFill/>
          </p:spPr>
          <p:txBody>
            <a:bodyPr wrap="square" rtlCol="0">
              <a:spAutoFit/>
            </a:bodyPr>
            <a:lstStyle>
              <a:defPPr>
                <a:defRPr lang="en-US"/>
              </a:defPPr>
              <a:lvl1pPr>
                <a:lnSpc>
                  <a:spcPct val="140000"/>
                </a:lnSpc>
                <a:defRPr sz="1200">
                  <a:solidFill>
                    <a:schemeClr val="tx1">
                      <a:lumMod val="75000"/>
                      <a:lumOff val="25000"/>
                    </a:schemeClr>
                  </a:solidFill>
                  <a:ea typeface="微软雅黑" panose="020B0503020204020204" pitchFamily="34" charset="-122"/>
                </a:defRPr>
              </a:lvl1pPr>
            </a:lstStyle>
            <a:p>
              <a:pPr defTabSz="466390"/>
              <a:r>
                <a:rPr lang="zh-CN" altLang="en-US" b="1" dirty="0">
                  <a:solidFill>
                    <a:schemeClr val="bg2">
                      <a:lumMod val="25000"/>
                    </a:schemeClr>
                  </a:solidFill>
                  <a:latin typeface="+mn-ea"/>
                  <a:ea typeface="+mn-ea"/>
                </a:rPr>
                <a:t>印度尼西亚</a:t>
              </a:r>
            </a:p>
          </p:txBody>
        </p:sp>
        <p:sp>
          <p:nvSpPr>
            <p:cNvPr id="87" name="矩形 86"/>
            <p:cNvSpPr/>
            <p:nvPr/>
          </p:nvSpPr>
          <p:spPr>
            <a:xfrm>
              <a:off x="10069" y="3604"/>
              <a:ext cx="1033" cy="561"/>
            </a:xfrm>
            <a:prstGeom prst="rect">
              <a:avLst/>
            </a:prstGeom>
          </p:spPr>
          <p:txBody>
            <a:bodyPr wrap="none">
              <a:spAutoFit/>
            </a:bodyPr>
            <a:lstStyle/>
            <a:p>
              <a:pPr defTabSz="466390">
                <a:lnSpc>
                  <a:spcPct val="140000"/>
                </a:lnSpc>
              </a:pPr>
              <a:r>
                <a:rPr lang="zh-CN" altLang="en-US" sz="1200" b="1" dirty="0">
                  <a:solidFill>
                    <a:schemeClr val="bg2">
                      <a:lumMod val="25000"/>
                    </a:schemeClr>
                  </a:solidFill>
                  <a:latin typeface="+mn-ea"/>
                </a:rPr>
                <a:t>乌克兰</a:t>
              </a:r>
            </a:p>
          </p:txBody>
        </p:sp>
        <p:sp>
          <p:nvSpPr>
            <p:cNvPr id="88" name="椭圆 87"/>
            <p:cNvSpPr/>
            <p:nvPr/>
          </p:nvSpPr>
          <p:spPr>
            <a:xfrm>
              <a:off x="10169" y="4039"/>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89" name="椭圆 88"/>
            <p:cNvSpPr/>
            <p:nvPr/>
          </p:nvSpPr>
          <p:spPr>
            <a:xfrm>
              <a:off x="9625" y="8763"/>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90" name="TextBox 32"/>
            <p:cNvSpPr txBox="1"/>
            <p:nvPr/>
          </p:nvSpPr>
          <p:spPr>
            <a:xfrm>
              <a:off x="9611" y="8305"/>
              <a:ext cx="1681" cy="561"/>
            </a:xfrm>
            <a:prstGeom prst="rect">
              <a:avLst/>
            </a:prstGeom>
            <a:noFill/>
          </p:spPr>
          <p:txBody>
            <a:bodyPr wrap="square" rtlCol="0">
              <a:spAutoFit/>
            </a:bodyPr>
            <a:lstStyle/>
            <a:p>
              <a:pPr defTabSz="466390">
                <a:lnSpc>
                  <a:spcPct val="140000"/>
                </a:lnSpc>
              </a:pPr>
              <a:r>
                <a:rPr lang="zh-CN" altLang="en-US" sz="1200" b="1" dirty="0">
                  <a:solidFill>
                    <a:schemeClr val="bg2">
                      <a:lumMod val="25000"/>
                    </a:schemeClr>
                  </a:solidFill>
                  <a:latin typeface="+mn-ea"/>
                </a:rPr>
                <a:t>南非</a:t>
              </a:r>
            </a:p>
          </p:txBody>
        </p:sp>
        <p:sp>
          <p:nvSpPr>
            <p:cNvPr id="91" name="椭圆 90"/>
            <p:cNvSpPr/>
            <p:nvPr/>
          </p:nvSpPr>
          <p:spPr>
            <a:xfrm>
              <a:off x="3224" y="5567"/>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92" name="Tekstboks 566"/>
            <p:cNvSpPr txBox="1"/>
            <p:nvPr/>
          </p:nvSpPr>
          <p:spPr bwMode="auto">
            <a:xfrm>
              <a:off x="2192" y="5551"/>
              <a:ext cx="1033" cy="442"/>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墨西哥</a:t>
              </a:r>
            </a:p>
          </p:txBody>
        </p:sp>
        <p:sp>
          <p:nvSpPr>
            <p:cNvPr id="93" name="椭圆 92"/>
            <p:cNvSpPr/>
            <p:nvPr/>
          </p:nvSpPr>
          <p:spPr>
            <a:xfrm>
              <a:off x="9373" y="7600"/>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94" name="矩形 93"/>
            <p:cNvSpPr/>
            <p:nvPr/>
          </p:nvSpPr>
          <p:spPr>
            <a:xfrm>
              <a:off x="9036" y="7136"/>
              <a:ext cx="1033" cy="561"/>
            </a:xfrm>
            <a:prstGeom prst="rect">
              <a:avLst/>
            </a:prstGeom>
          </p:spPr>
          <p:txBody>
            <a:bodyPr wrap="none">
              <a:spAutoFit/>
            </a:bodyPr>
            <a:lstStyle/>
            <a:p>
              <a:pPr defTabSz="466390">
                <a:lnSpc>
                  <a:spcPct val="140000"/>
                </a:lnSpc>
              </a:pPr>
              <a:r>
                <a:rPr lang="zh-CN" altLang="en-US" sz="1200" b="1" dirty="0">
                  <a:solidFill>
                    <a:schemeClr val="bg2">
                      <a:lumMod val="25000"/>
                    </a:schemeClr>
                  </a:solidFill>
                  <a:latin typeface="+mn-ea"/>
                </a:rPr>
                <a:t>安哥拉</a:t>
              </a:r>
            </a:p>
          </p:txBody>
        </p:sp>
        <p:sp>
          <p:nvSpPr>
            <p:cNvPr id="95" name="椭圆 94"/>
            <p:cNvSpPr/>
            <p:nvPr/>
          </p:nvSpPr>
          <p:spPr>
            <a:xfrm>
              <a:off x="9374" y="8152"/>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96" name="矩形 95"/>
            <p:cNvSpPr/>
            <p:nvPr/>
          </p:nvSpPr>
          <p:spPr>
            <a:xfrm>
              <a:off x="8669" y="7793"/>
              <a:ext cx="1280" cy="442"/>
            </a:xfrm>
            <a:prstGeom prst="rect">
              <a:avLst/>
            </a:prstGeom>
          </p:spPr>
          <p:txBody>
            <a:bodyPr wrap="none">
              <a:spAutoFit/>
            </a:bodyPr>
            <a:lstStyle/>
            <a:p>
              <a:pPr defTabSz="466390"/>
              <a:r>
                <a:rPr lang="zh-CN" altLang="en-US" sz="1200" b="1" dirty="0">
                  <a:solidFill>
                    <a:schemeClr val="bg2">
                      <a:lumMod val="25000"/>
                    </a:schemeClr>
                  </a:solidFill>
                  <a:latin typeface="+mn-ea"/>
                </a:rPr>
                <a:t>纳米比亚</a:t>
              </a:r>
            </a:p>
          </p:txBody>
        </p:sp>
        <p:sp>
          <p:nvSpPr>
            <p:cNvPr id="97" name="椭圆 96"/>
            <p:cNvSpPr/>
            <p:nvPr/>
          </p:nvSpPr>
          <p:spPr>
            <a:xfrm>
              <a:off x="2943" y="4141"/>
              <a:ext cx="113" cy="113"/>
            </a:xfrm>
            <a:prstGeom prst="ellipse">
              <a:avLst/>
            </a:prstGeom>
            <a:solidFill>
              <a:schemeClr val="accent6">
                <a:lumMod val="5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98" name="Tekstboks 542"/>
            <p:cNvSpPr txBox="1"/>
            <p:nvPr/>
          </p:nvSpPr>
          <p:spPr bwMode="auto">
            <a:xfrm>
              <a:off x="2217" y="3809"/>
              <a:ext cx="1033" cy="442"/>
            </a:xfrm>
            <a:prstGeom prst="rect">
              <a:avLst/>
            </a:prstGeom>
            <a:noFill/>
          </p:spPr>
          <p:txBody>
            <a:bodyPr wrap="none">
              <a:spAutoFit/>
            </a:bodyPr>
            <a:lstStyle/>
            <a:p>
              <a:pPr defTabSz="466390">
                <a:defRPr/>
              </a:pPr>
              <a:r>
                <a:rPr lang="zh-CN" altLang="en-US" sz="1200" b="1" dirty="0">
                  <a:solidFill>
                    <a:schemeClr val="bg2">
                      <a:lumMod val="25000"/>
                    </a:schemeClr>
                  </a:solidFill>
                  <a:latin typeface="+mn-ea"/>
                </a:rPr>
                <a:t>西雅图</a:t>
              </a:r>
            </a:p>
          </p:txBody>
        </p:sp>
        <p:sp>
          <p:nvSpPr>
            <p:cNvPr id="99" name="椭圆 98"/>
            <p:cNvSpPr/>
            <p:nvPr/>
          </p:nvSpPr>
          <p:spPr>
            <a:xfrm>
              <a:off x="3415" y="4467"/>
              <a:ext cx="177" cy="177"/>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b="1">
                <a:solidFill>
                  <a:schemeClr val="bg2">
                    <a:lumMod val="25000"/>
                  </a:schemeClr>
                </a:solidFill>
                <a:latin typeface="+mn-ea"/>
              </a:endParaRPr>
            </a:p>
          </p:txBody>
        </p:sp>
        <p:sp>
          <p:nvSpPr>
            <p:cNvPr id="100" name="矩形 99"/>
            <p:cNvSpPr/>
            <p:nvPr/>
          </p:nvSpPr>
          <p:spPr>
            <a:xfrm>
              <a:off x="3395" y="4099"/>
              <a:ext cx="786" cy="442"/>
            </a:xfrm>
            <a:prstGeom prst="rect">
              <a:avLst/>
            </a:prstGeom>
          </p:spPr>
          <p:txBody>
            <a:bodyPr wrap="none">
              <a:spAutoFit/>
            </a:bodyPr>
            <a:lstStyle/>
            <a:p>
              <a:pPr defTabSz="466390"/>
              <a:r>
                <a:rPr lang="zh-CN" altLang="en-US" sz="1200" b="1" dirty="0">
                  <a:solidFill>
                    <a:schemeClr val="bg2">
                      <a:lumMod val="25000"/>
                    </a:schemeClr>
                  </a:solidFill>
                  <a:latin typeface="+mn-ea"/>
                </a:rPr>
                <a:t>美国</a:t>
              </a:r>
            </a:p>
          </p:txBody>
        </p:sp>
        <p:grpSp>
          <p:nvGrpSpPr>
            <p:cNvPr id="101" name="组合 100"/>
            <p:cNvGrpSpPr/>
            <p:nvPr/>
          </p:nvGrpSpPr>
          <p:grpSpPr>
            <a:xfrm>
              <a:off x="341" y="1621"/>
              <a:ext cx="16711" cy="1271"/>
              <a:chOff x="-268822" y="965662"/>
              <a:chExt cx="10612627" cy="807369"/>
            </a:xfrm>
          </p:grpSpPr>
          <p:pic>
            <p:nvPicPr>
              <p:cNvPr id="137" name="Picture 4" descr="D:\Kaoru Miyazato\0001 企業紹介\0002 中軟グループ\クライアント　ロゴ\logo_China Mobile.jpg"/>
              <p:cNvPicPr>
                <a:picLocks noChangeAspect="1" noChangeArrowheads="1"/>
              </p:cNvPicPr>
              <p:nvPr/>
            </p:nvPicPr>
            <p:blipFill>
              <a:blip r:embed="rId5" cstate="email"/>
              <a:srcRect/>
              <a:stretch>
                <a:fillRect/>
              </a:stretch>
            </p:blipFill>
            <p:spPr bwMode="auto">
              <a:xfrm>
                <a:off x="9040893" y="999522"/>
                <a:ext cx="1023721" cy="266914"/>
              </a:xfrm>
              <a:prstGeom prst="rect">
                <a:avLst/>
              </a:prstGeom>
              <a:noFill/>
            </p:spPr>
          </p:pic>
          <p:pic>
            <p:nvPicPr>
              <p:cNvPr id="138" name="Picture 1" descr="D:\Kaoru Miyazato\0001 企業紹介\0002 中軟グループ\クライアント　ロゴ\logo_huawei.png"/>
              <p:cNvPicPr>
                <a:picLocks noChangeAspect="1" noChangeArrowheads="1"/>
              </p:cNvPicPr>
              <p:nvPr/>
            </p:nvPicPr>
            <p:blipFill>
              <a:blip r:embed="rId6" cstate="email"/>
              <a:srcRect/>
              <a:stretch>
                <a:fillRect/>
              </a:stretch>
            </p:blipFill>
            <p:spPr bwMode="auto">
              <a:xfrm>
                <a:off x="3854400" y="965662"/>
                <a:ext cx="1405283" cy="273481"/>
              </a:xfrm>
              <a:prstGeom prst="rect">
                <a:avLst/>
              </a:prstGeom>
              <a:noFill/>
            </p:spPr>
          </p:pic>
          <p:sp>
            <p:nvSpPr>
              <p:cNvPr id="139" name="Text Box 47"/>
              <p:cNvSpPr txBox="1">
                <a:spLocks noChangeArrowheads="1"/>
              </p:cNvSpPr>
              <p:nvPr/>
            </p:nvSpPr>
            <p:spPr bwMode="auto">
              <a:xfrm>
                <a:off x="3769765" y="1269041"/>
                <a:ext cx="1868828" cy="503990"/>
              </a:xfrm>
              <a:prstGeom prst="rect">
                <a:avLst/>
              </a:prstGeom>
              <a:noFill/>
              <a:ln w="9525" algn="ctr">
                <a:noFill/>
                <a:miter lim="800000"/>
              </a:ln>
            </p:spPr>
            <p:txBody>
              <a:bodyPr wrap="square" lIns="69923" tIns="34962" rIns="69923" bIns="34962">
                <a:noAutofit/>
              </a:bodyPr>
              <a:lstStyle/>
              <a:p>
                <a:pPr defTabSz="1236581"/>
                <a:r>
                  <a:rPr lang="en-US" altLang="zh-CN" sz="1200" b="1" dirty="0" smtClean="0">
                    <a:solidFill>
                      <a:schemeClr val="bg2">
                        <a:lumMod val="25000"/>
                      </a:schemeClr>
                    </a:solidFill>
                    <a:latin typeface="+mn-ea"/>
                    <a:cs typeface="Arial" panose="020B0604020202020204" pitchFamily="34" charset="0"/>
                  </a:rPr>
                  <a:t>ITMS/BIS/CT/AO/APP</a:t>
                </a:r>
                <a:endParaRPr lang="en-US" altLang="zh-CN" sz="1200" b="1" dirty="0">
                  <a:solidFill>
                    <a:schemeClr val="bg2">
                      <a:lumMod val="25000"/>
                    </a:schemeClr>
                  </a:solidFill>
                  <a:latin typeface="+mn-ea"/>
                  <a:cs typeface="Arial" panose="020B0604020202020204" pitchFamily="34" charset="0"/>
                </a:endParaRPr>
              </a:p>
            </p:txBody>
          </p:sp>
          <p:pic>
            <p:nvPicPr>
              <p:cNvPr id="140" name="Picture 45" descr="D:\Kaoru Miyazato\0001 企業紹介\0002 中軟グループ\クライアント　ロゴ\logo_Tencent01.gif"/>
              <p:cNvPicPr>
                <a:picLocks noChangeAspect="1" noChangeArrowheads="1"/>
              </p:cNvPicPr>
              <p:nvPr/>
            </p:nvPicPr>
            <p:blipFill>
              <a:blip r:embed="rId7" cstate="email"/>
              <a:srcRect/>
              <a:stretch>
                <a:fillRect/>
              </a:stretch>
            </p:blipFill>
            <p:spPr bwMode="auto">
              <a:xfrm>
                <a:off x="5701830" y="1035632"/>
                <a:ext cx="1516848" cy="201803"/>
              </a:xfrm>
              <a:prstGeom prst="rect">
                <a:avLst/>
              </a:prstGeom>
              <a:noFill/>
            </p:spPr>
          </p:pic>
          <p:sp>
            <p:nvSpPr>
              <p:cNvPr id="141" name="Text Box 47"/>
              <p:cNvSpPr txBox="1">
                <a:spLocks noChangeArrowheads="1"/>
              </p:cNvSpPr>
              <p:nvPr/>
            </p:nvSpPr>
            <p:spPr bwMode="auto">
              <a:xfrm>
                <a:off x="5654494" y="1269043"/>
                <a:ext cx="1626183" cy="442593"/>
              </a:xfrm>
              <a:prstGeom prst="rect">
                <a:avLst/>
              </a:prstGeom>
              <a:noFill/>
              <a:ln w="9525" algn="ctr">
                <a:noFill/>
                <a:miter lim="800000"/>
              </a:ln>
            </p:spPr>
            <p:txBody>
              <a:bodyPr wrap="square" lIns="69923" tIns="34962" rIns="69923" bIns="34962">
                <a:noAutofit/>
              </a:bodyPr>
              <a:lstStyle/>
              <a:p>
                <a:pPr defTabSz="1236581"/>
                <a:r>
                  <a:rPr lang="en-US" altLang="zh-CN" sz="1200" b="1" dirty="0" smtClean="0">
                    <a:solidFill>
                      <a:schemeClr val="bg2">
                        <a:lumMod val="25000"/>
                      </a:schemeClr>
                    </a:solidFill>
                    <a:latin typeface="+mn-ea"/>
                    <a:cs typeface="Arial" panose="020B0604020202020204" pitchFamily="34" charset="0"/>
                  </a:rPr>
                  <a:t>ADM/AO/SaaS/APP</a:t>
                </a:r>
                <a:endParaRPr lang="en-US" altLang="zh-CN" sz="1200" b="1" dirty="0">
                  <a:solidFill>
                    <a:schemeClr val="bg2">
                      <a:lumMod val="25000"/>
                    </a:schemeClr>
                  </a:solidFill>
                  <a:latin typeface="+mn-ea"/>
                  <a:cs typeface="Arial" panose="020B0604020202020204" pitchFamily="34" charset="0"/>
                </a:endParaRPr>
              </a:p>
            </p:txBody>
          </p:sp>
          <p:pic>
            <p:nvPicPr>
              <p:cNvPr id="142" name="Picture 5" descr="D:\Kaoru Miyazato\0001 企業紹介\0002 中軟グループ\クライアント　ロゴ\logo_china telecom.png"/>
              <p:cNvPicPr>
                <a:picLocks noChangeAspect="1" noChangeArrowheads="1"/>
              </p:cNvPicPr>
              <p:nvPr/>
            </p:nvPicPr>
            <p:blipFill>
              <a:blip r:embed="rId8" cstate="email"/>
              <a:srcRect/>
              <a:stretch>
                <a:fillRect/>
              </a:stretch>
            </p:blipFill>
            <p:spPr bwMode="auto">
              <a:xfrm>
                <a:off x="7674473" y="989136"/>
                <a:ext cx="1056822" cy="279906"/>
              </a:xfrm>
              <a:prstGeom prst="rect">
                <a:avLst/>
              </a:prstGeom>
              <a:noFill/>
            </p:spPr>
          </p:pic>
          <p:sp>
            <p:nvSpPr>
              <p:cNvPr id="143" name="Text Box 47"/>
              <p:cNvSpPr txBox="1">
                <a:spLocks noChangeArrowheads="1"/>
              </p:cNvSpPr>
              <p:nvPr/>
            </p:nvSpPr>
            <p:spPr bwMode="auto">
              <a:xfrm>
                <a:off x="7728878" y="1269043"/>
                <a:ext cx="1300239"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Arial" panose="020B0604020202020204" pitchFamily="34" charset="0"/>
                  </a:rPr>
                  <a:t>AO/IO/ADM</a:t>
                </a:r>
              </a:p>
            </p:txBody>
          </p:sp>
          <p:sp>
            <p:nvSpPr>
              <p:cNvPr id="144" name="Text Box 47"/>
              <p:cNvSpPr txBox="1">
                <a:spLocks noChangeArrowheads="1"/>
              </p:cNvSpPr>
              <p:nvPr/>
            </p:nvSpPr>
            <p:spPr bwMode="auto">
              <a:xfrm>
                <a:off x="9043566" y="1269043"/>
                <a:ext cx="1300239"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Arial" panose="020B0604020202020204" pitchFamily="34" charset="0"/>
                  </a:rPr>
                  <a:t>AO/IO/ADM</a:t>
                </a:r>
              </a:p>
            </p:txBody>
          </p:sp>
          <p:pic>
            <p:nvPicPr>
              <p:cNvPr id="145" name="Picture 34" descr="D:\Kaoru Miyazato\0001 企業紹介\0002 中軟グループ\クライアント　ロゴ\logo_HSBC.gif"/>
              <p:cNvPicPr>
                <a:picLocks noChangeAspect="1" noChangeArrowheads="1"/>
              </p:cNvPicPr>
              <p:nvPr/>
            </p:nvPicPr>
            <p:blipFill>
              <a:blip r:embed="rId9" cstate="email"/>
              <a:srcRect/>
              <a:stretch>
                <a:fillRect/>
              </a:stretch>
            </p:blipFill>
            <p:spPr bwMode="auto">
              <a:xfrm>
                <a:off x="2014717" y="966774"/>
                <a:ext cx="1370245" cy="299662"/>
              </a:xfrm>
              <a:prstGeom prst="rect">
                <a:avLst/>
              </a:prstGeom>
              <a:noFill/>
            </p:spPr>
          </p:pic>
          <p:sp>
            <p:nvSpPr>
              <p:cNvPr id="146" name="Text Box 47"/>
              <p:cNvSpPr txBox="1">
                <a:spLocks noChangeArrowheads="1"/>
              </p:cNvSpPr>
              <p:nvPr/>
            </p:nvSpPr>
            <p:spPr bwMode="auto">
              <a:xfrm>
                <a:off x="1748243" y="1269043"/>
                <a:ext cx="2021522"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uFill>
                      <a:solidFill>
                        <a:srgbClr val="F5F5F5"/>
                      </a:solidFill>
                    </a:uFill>
                    <a:latin typeface="+mn-ea"/>
                    <a:cs typeface="Arial" panose="020B0604020202020204" pitchFamily="34" charset="0"/>
                  </a:rPr>
                  <a:t>IT </a:t>
                </a:r>
                <a:r>
                  <a:rPr lang="en-US" altLang="zh-CN" sz="1200" b="1" dirty="0" smtClean="0">
                    <a:solidFill>
                      <a:schemeClr val="bg2">
                        <a:lumMod val="25000"/>
                      </a:schemeClr>
                    </a:solidFill>
                    <a:uFill>
                      <a:solidFill>
                        <a:srgbClr val="F5F5F5"/>
                      </a:solidFill>
                    </a:uFill>
                    <a:latin typeface="+mn-ea"/>
                    <a:cs typeface="Arial" panose="020B0604020202020204" pitchFamily="34" charset="0"/>
                  </a:rPr>
                  <a:t>ID/AO/IO/SaaS/APP</a:t>
                </a:r>
                <a:endParaRPr lang="en-US" altLang="zh-CN" sz="1200" b="1" dirty="0">
                  <a:solidFill>
                    <a:schemeClr val="bg2">
                      <a:lumMod val="25000"/>
                    </a:schemeClr>
                  </a:solidFill>
                  <a:uFill>
                    <a:solidFill>
                      <a:srgbClr val="F5F5F5"/>
                    </a:solidFill>
                  </a:uFill>
                  <a:latin typeface="+mn-ea"/>
                  <a:cs typeface="Arial" panose="020B0604020202020204" pitchFamily="34" charset="0"/>
                </a:endParaRPr>
              </a:p>
            </p:txBody>
          </p:sp>
          <p:pic>
            <p:nvPicPr>
              <p:cNvPr id="147" name="Picture 38" descr="D:\Kaoru Miyazato\0001 企業紹介\0002 中軟グループ\クライアント　ロゴ\logo_citibank.png"/>
              <p:cNvPicPr>
                <a:picLocks noChangeAspect="1" noChangeArrowheads="1"/>
              </p:cNvPicPr>
              <p:nvPr/>
            </p:nvPicPr>
            <p:blipFill>
              <a:blip r:embed="rId10" cstate="email"/>
              <a:srcRect/>
              <a:stretch>
                <a:fillRect/>
              </a:stretch>
            </p:blipFill>
            <p:spPr bwMode="auto">
              <a:xfrm>
                <a:off x="-189170" y="980993"/>
                <a:ext cx="1313047" cy="288049"/>
              </a:xfrm>
              <a:prstGeom prst="rect">
                <a:avLst/>
              </a:prstGeom>
              <a:noFill/>
            </p:spPr>
          </p:pic>
          <p:sp>
            <p:nvSpPr>
              <p:cNvPr id="148" name="Text Box 47"/>
              <p:cNvSpPr txBox="1">
                <a:spLocks noChangeArrowheads="1"/>
              </p:cNvSpPr>
              <p:nvPr/>
            </p:nvSpPr>
            <p:spPr bwMode="auto">
              <a:xfrm>
                <a:off x="-268822" y="1275166"/>
                <a:ext cx="2021522"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ADM/SaaS/ </a:t>
                </a:r>
                <a:r>
                  <a:rPr lang="zh-CN" altLang="en-US" sz="1200" b="1" dirty="0" smtClean="0">
                    <a:solidFill>
                      <a:schemeClr val="bg2">
                        <a:lumMod val="25000"/>
                      </a:schemeClr>
                    </a:solidFill>
                    <a:latin typeface="+mn-ea"/>
                    <a:cs typeface="Microsoft YaHei UI Light" panose="020B0502040204020203" pitchFamily="34" charset="-122"/>
                  </a:rPr>
                  <a:t>产品</a:t>
                </a:r>
                <a:r>
                  <a:rPr lang="zh-CN" altLang="en-US" sz="1200" b="1" dirty="0">
                    <a:solidFill>
                      <a:schemeClr val="bg2">
                        <a:lumMod val="25000"/>
                      </a:schemeClr>
                    </a:solidFill>
                    <a:latin typeface="+mn-ea"/>
                    <a:cs typeface="Microsoft YaHei UI Light" panose="020B0502040204020203" pitchFamily="34" charset="-122"/>
                  </a:rPr>
                  <a:t>工程</a:t>
                </a:r>
              </a:p>
            </p:txBody>
          </p:sp>
        </p:grpSp>
        <p:grpSp>
          <p:nvGrpSpPr>
            <p:cNvPr id="102" name="组合 101"/>
            <p:cNvGrpSpPr/>
            <p:nvPr/>
          </p:nvGrpSpPr>
          <p:grpSpPr>
            <a:xfrm>
              <a:off x="406" y="2930"/>
              <a:ext cx="3183" cy="4750"/>
              <a:chOff x="236496" y="1938590"/>
              <a:chExt cx="2021522" cy="3016397"/>
            </a:xfrm>
          </p:grpSpPr>
          <p:pic>
            <p:nvPicPr>
              <p:cNvPr id="130" name="Picture 19" descr="D:\Kaoru Miyazato\0001 企業紹介\0002 中軟グループ\クライアント　ロゴ\logo_fizer.jpg"/>
              <p:cNvPicPr>
                <a:picLocks noChangeAspect="1" noChangeArrowheads="1"/>
              </p:cNvPicPr>
              <p:nvPr/>
            </p:nvPicPr>
            <p:blipFill>
              <a:blip r:embed="rId11" cstate="email"/>
              <a:srcRect/>
              <a:stretch>
                <a:fillRect/>
              </a:stretch>
            </p:blipFill>
            <p:spPr bwMode="auto">
              <a:xfrm>
                <a:off x="374547" y="3060191"/>
                <a:ext cx="608758" cy="287926"/>
              </a:xfrm>
              <a:prstGeom prst="rect">
                <a:avLst/>
              </a:prstGeom>
              <a:noFill/>
            </p:spPr>
          </p:pic>
          <p:pic>
            <p:nvPicPr>
              <p:cNvPr id="131" name="Picture 50" descr="D:\Kaoru Miyazato\0001 企業紹介\0002 中軟グループ\クライアント　ロゴ\logo_GE.png"/>
              <p:cNvPicPr>
                <a:picLocks noChangeAspect="1" noChangeArrowheads="1"/>
              </p:cNvPicPr>
              <p:nvPr/>
            </p:nvPicPr>
            <p:blipFill>
              <a:blip r:embed="rId12" cstate="email"/>
              <a:srcRect/>
              <a:stretch>
                <a:fillRect/>
              </a:stretch>
            </p:blipFill>
            <p:spPr bwMode="auto">
              <a:xfrm>
                <a:off x="414052" y="3939535"/>
                <a:ext cx="619934" cy="558192"/>
              </a:xfrm>
              <a:prstGeom prst="rect">
                <a:avLst/>
              </a:prstGeom>
              <a:noFill/>
            </p:spPr>
          </p:pic>
          <p:sp>
            <p:nvSpPr>
              <p:cNvPr id="132" name="Text Box 47"/>
              <p:cNvSpPr txBox="1">
                <a:spLocks noChangeArrowheads="1"/>
              </p:cNvSpPr>
              <p:nvPr/>
            </p:nvSpPr>
            <p:spPr bwMode="auto">
              <a:xfrm>
                <a:off x="326511" y="4512394"/>
                <a:ext cx="1499459"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AO/ADM/</a:t>
                </a:r>
                <a:r>
                  <a:rPr lang="zh-CN" altLang="en-US" sz="1200" b="1" dirty="0">
                    <a:solidFill>
                      <a:schemeClr val="bg2">
                        <a:lumMod val="25000"/>
                      </a:schemeClr>
                    </a:solidFill>
                    <a:latin typeface="+mn-ea"/>
                    <a:cs typeface="Microsoft YaHei UI Light" panose="020B0502040204020203" pitchFamily="34" charset="-122"/>
                  </a:rPr>
                  <a:t>产品工程</a:t>
                </a:r>
                <a:r>
                  <a:rPr lang="en-US" altLang="zh-CN" sz="1200" b="1" dirty="0">
                    <a:solidFill>
                      <a:schemeClr val="bg2">
                        <a:lumMod val="25000"/>
                      </a:schemeClr>
                    </a:solidFill>
                    <a:latin typeface="+mn-ea"/>
                    <a:cs typeface="Microsoft YaHei UI Light" panose="020B0502040204020203" pitchFamily="34" charset="-122"/>
                  </a:rPr>
                  <a:t>/</a:t>
                </a:r>
                <a:r>
                  <a:rPr lang="zh-CN" altLang="en-US" sz="1200" b="1" dirty="0">
                    <a:solidFill>
                      <a:schemeClr val="bg2">
                        <a:lumMod val="25000"/>
                      </a:schemeClr>
                    </a:solidFill>
                    <a:latin typeface="+mn-ea"/>
                    <a:cs typeface="Microsoft YaHei UI Light" panose="020B0502040204020203" pitchFamily="34" charset="-122"/>
                  </a:rPr>
                  <a:t>云计算</a:t>
                </a:r>
              </a:p>
            </p:txBody>
          </p:sp>
          <p:sp>
            <p:nvSpPr>
              <p:cNvPr id="133" name="Text Box 47"/>
              <p:cNvSpPr txBox="1">
                <a:spLocks noChangeArrowheads="1"/>
              </p:cNvSpPr>
              <p:nvPr/>
            </p:nvSpPr>
            <p:spPr bwMode="auto">
              <a:xfrm>
                <a:off x="263318" y="3348185"/>
                <a:ext cx="1164822"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Arial" panose="020B0604020202020204" pitchFamily="34" charset="0"/>
                  </a:rPr>
                  <a:t>ADM/AO/IO</a:t>
                </a:r>
              </a:p>
              <a:p>
                <a:pPr marL="65424" indent="-65424" defTabSz="1236581"/>
                <a:endParaRPr lang="en-US" altLang="zh-CN" sz="1200" b="1" dirty="0">
                  <a:solidFill>
                    <a:schemeClr val="bg2">
                      <a:lumMod val="25000"/>
                    </a:schemeClr>
                  </a:solidFill>
                  <a:latin typeface="+mn-ea"/>
                  <a:cs typeface="Arial" panose="020B0604020202020204" pitchFamily="34" charset="0"/>
                </a:endParaRPr>
              </a:p>
            </p:txBody>
          </p:sp>
          <p:grpSp>
            <p:nvGrpSpPr>
              <p:cNvPr id="134" name="组合 133"/>
              <p:cNvGrpSpPr/>
              <p:nvPr/>
            </p:nvGrpSpPr>
            <p:grpSpPr>
              <a:xfrm>
                <a:off x="236496" y="1938590"/>
                <a:ext cx="2021522" cy="748105"/>
                <a:chOff x="1292758" y="725320"/>
                <a:chExt cx="2021785" cy="748203"/>
              </a:xfrm>
            </p:grpSpPr>
            <p:pic>
              <p:nvPicPr>
                <p:cNvPr id="135" name="Picture 46" descr="D:\Kaoru Miyazato\0001 企業紹介\0002 中軟グループ\クライアント　ロゴ\logo_microsoft.png"/>
                <p:cNvPicPr>
                  <a:picLocks noChangeAspect="1" noChangeArrowheads="1"/>
                </p:cNvPicPr>
                <p:nvPr/>
              </p:nvPicPr>
              <p:blipFill>
                <a:blip r:embed="rId13" cstate="email"/>
                <a:srcRect/>
                <a:stretch>
                  <a:fillRect/>
                </a:stretch>
              </p:blipFill>
              <p:spPr bwMode="auto">
                <a:xfrm>
                  <a:off x="1378523" y="725320"/>
                  <a:ext cx="1495925" cy="258844"/>
                </a:xfrm>
                <a:prstGeom prst="rect">
                  <a:avLst/>
                </a:prstGeom>
                <a:noFill/>
              </p:spPr>
            </p:pic>
            <p:sp>
              <p:nvSpPr>
                <p:cNvPr id="136" name="Text Box 47"/>
                <p:cNvSpPr txBox="1">
                  <a:spLocks noChangeArrowheads="1"/>
                </p:cNvSpPr>
                <p:nvPr/>
              </p:nvSpPr>
              <p:spPr bwMode="auto">
                <a:xfrm>
                  <a:off x="1292758" y="1030872"/>
                  <a:ext cx="2021785" cy="442651"/>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SI/AO/IO/</a:t>
                  </a:r>
                </a:p>
                <a:p>
                  <a:pPr defTabSz="1236581"/>
                  <a:r>
                    <a:rPr lang="en-US" altLang="zh-CN" sz="1200" b="1" dirty="0">
                      <a:solidFill>
                        <a:schemeClr val="bg2">
                          <a:lumMod val="25000"/>
                        </a:schemeClr>
                      </a:solidFill>
                      <a:latin typeface="+mn-ea"/>
                      <a:cs typeface="Microsoft YaHei UI Light" panose="020B0502040204020203" pitchFamily="34" charset="-122"/>
                    </a:rPr>
                    <a:t>ADM/</a:t>
                  </a:r>
                  <a:r>
                    <a:rPr lang="zh-CN" altLang="en-US" sz="1200" b="1" dirty="0">
                      <a:solidFill>
                        <a:schemeClr val="bg2">
                          <a:lumMod val="25000"/>
                        </a:schemeClr>
                      </a:solidFill>
                      <a:latin typeface="+mn-ea"/>
                      <a:cs typeface="Microsoft YaHei UI Light" panose="020B0502040204020203" pitchFamily="34" charset="-122"/>
                    </a:rPr>
                    <a:t>云计算</a:t>
                  </a:r>
                  <a:endParaRPr lang="en-US" altLang="zh-CN" sz="1200" b="1" dirty="0">
                    <a:solidFill>
                      <a:schemeClr val="bg2">
                        <a:lumMod val="25000"/>
                      </a:schemeClr>
                    </a:solidFill>
                    <a:latin typeface="+mn-ea"/>
                    <a:cs typeface="Microsoft YaHei UI Light" panose="020B0502040204020203" pitchFamily="34" charset="-122"/>
                  </a:endParaRPr>
                </a:p>
                <a:p>
                  <a:pPr marL="65424" indent="-65424" defTabSz="1236581"/>
                  <a:endParaRPr lang="en-US" altLang="zh-CN" sz="1200" b="1" dirty="0">
                    <a:solidFill>
                      <a:schemeClr val="bg2">
                        <a:lumMod val="25000"/>
                      </a:schemeClr>
                    </a:solidFill>
                    <a:latin typeface="+mn-ea"/>
                    <a:cs typeface="Microsoft YaHei UI Light" panose="020B0502040204020203" pitchFamily="34" charset="-122"/>
                  </a:endParaRPr>
                </a:p>
              </p:txBody>
            </p:sp>
          </p:grpSp>
        </p:grpSp>
        <p:grpSp>
          <p:nvGrpSpPr>
            <p:cNvPr id="103" name="组合 102"/>
            <p:cNvGrpSpPr/>
            <p:nvPr/>
          </p:nvGrpSpPr>
          <p:grpSpPr>
            <a:xfrm>
              <a:off x="16727" y="1520"/>
              <a:ext cx="2438" cy="8415"/>
              <a:chOff x="11903693" y="812085"/>
              <a:chExt cx="1548678" cy="5344327"/>
            </a:xfrm>
          </p:grpSpPr>
          <p:pic>
            <p:nvPicPr>
              <p:cNvPr id="117" name="图片 116"/>
              <p:cNvPicPr>
                <a:picLocks noChangeAspect="1"/>
              </p:cNvPicPr>
              <p:nvPr/>
            </p:nvPicPr>
            <p:blipFill>
              <a:blip r:embed="rId14" cstate="email"/>
              <a:stretch>
                <a:fillRect/>
              </a:stretch>
            </p:blipFill>
            <p:spPr>
              <a:xfrm>
                <a:off x="11903693" y="4428220"/>
                <a:ext cx="1320997" cy="394689"/>
              </a:xfrm>
              <a:prstGeom prst="rect">
                <a:avLst/>
              </a:prstGeom>
            </p:spPr>
          </p:pic>
          <p:grpSp>
            <p:nvGrpSpPr>
              <p:cNvPr id="118" name="组合 117"/>
              <p:cNvGrpSpPr/>
              <p:nvPr/>
            </p:nvGrpSpPr>
            <p:grpSpPr>
              <a:xfrm>
                <a:off x="11906622" y="812085"/>
                <a:ext cx="1545749" cy="5344327"/>
                <a:chOff x="10533579" y="588156"/>
                <a:chExt cx="1545749" cy="5344327"/>
              </a:xfrm>
            </p:grpSpPr>
            <p:pic>
              <p:nvPicPr>
                <p:cNvPr id="119" name="Picture 9" descr="D:\Kaoru Miyazato\0001 企業紹介\0002 中軟グループ\クライアント　ロゴ\logo_CHINA TOBACCO01.gif"/>
                <p:cNvPicPr>
                  <a:picLocks noChangeAspect="1" noChangeArrowheads="1"/>
                </p:cNvPicPr>
                <p:nvPr/>
              </p:nvPicPr>
              <p:blipFill>
                <a:blip r:embed="rId15" cstate="screen"/>
                <a:srcRect/>
                <a:stretch>
                  <a:fillRect/>
                </a:stretch>
              </p:blipFill>
              <p:spPr bwMode="auto">
                <a:xfrm>
                  <a:off x="10823456" y="1559458"/>
                  <a:ext cx="1183998" cy="307305"/>
                </a:xfrm>
                <a:prstGeom prst="rect">
                  <a:avLst/>
                </a:prstGeom>
                <a:noFill/>
              </p:spPr>
            </p:pic>
            <p:pic>
              <p:nvPicPr>
                <p:cNvPr id="120" name="Picture 49" descr="D:\Kaoru Miyazato\0001 企業紹介\0002 中軟グループ\クライアント　ロゴ\logo_baidu.gif"/>
                <p:cNvPicPr>
                  <a:picLocks noChangeAspect="1" noChangeArrowheads="1"/>
                </p:cNvPicPr>
                <p:nvPr/>
              </p:nvPicPr>
              <p:blipFill>
                <a:blip r:embed="rId16" cstate="email"/>
                <a:srcRect/>
                <a:stretch>
                  <a:fillRect/>
                </a:stretch>
              </p:blipFill>
              <p:spPr bwMode="auto">
                <a:xfrm>
                  <a:off x="10812064" y="588156"/>
                  <a:ext cx="1116494" cy="304589"/>
                </a:xfrm>
                <a:prstGeom prst="rect">
                  <a:avLst/>
                </a:prstGeom>
                <a:noFill/>
              </p:spPr>
            </p:pic>
            <p:sp>
              <p:nvSpPr>
                <p:cNvPr id="121" name="Text Box 47"/>
                <p:cNvSpPr txBox="1">
                  <a:spLocks noChangeArrowheads="1"/>
                </p:cNvSpPr>
                <p:nvPr/>
              </p:nvSpPr>
              <p:spPr bwMode="auto">
                <a:xfrm>
                  <a:off x="10702742" y="945475"/>
                  <a:ext cx="1376586" cy="251186"/>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Arial" panose="020B0604020202020204" pitchFamily="34" charset="0"/>
                    </a:rPr>
                    <a:t>ADM/SaaS/APP</a:t>
                  </a:r>
                </a:p>
                <a:p>
                  <a:pPr marL="65424" indent="-65424" defTabSz="1236581"/>
                  <a:endParaRPr lang="en-US" altLang="zh-CN" sz="1200" b="1" dirty="0">
                    <a:solidFill>
                      <a:schemeClr val="bg2">
                        <a:lumMod val="25000"/>
                      </a:schemeClr>
                    </a:solidFill>
                    <a:latin typeface="+mn-ea"/>
                    <a:cs typeface="Arial" panose="020B0604020202020204" pitchFamily="34" charset="0"/>
                  </a:endParaRPr>
                </a:p>
              </p:txBody>
            </p:sp>
            <p:sp>
              <p:nvSpPr>
                <p:cNvPr id="122" name="Text Box 47"/>
                <p:cNvSpPr txBox="1">
                  <a:spLocks noChangeArrowheads="1"/>
                </p:cNvSpPr>
                <p:nvPr/>
              </p:nvSpPr>
              <p:spPr bwMode="auto">
                <a:xfrm>
                  <a:off x="10842852" y="1858606"/>
                  <a:ext cx="1156241" cy="318562"/>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AO/IO/</a:t>
                  </a:r>
                  <a:r>
                    <a:rPr lang="zh-CN" altLang="en-US" sz="1200" b="1" dirty="0">
                      <a:solidFill>
                        <a:schemeClr val="bg2">
                          <a:lumMod val="25000"/>
                        </a:schemeClr>
                      </a:solidFill>
                      <a:latin typeface="+mn-ea"/>
                      <a:cs typeface="Microsoft YaHei UI Light" panose="020B0502040204020203" pitchFamily="34" charset="-122"/>
                    </a:rPr>
                    <a:t>云计算</a:t>
                  </a:r>
                  <a:endParaRPr lang="en-US" altLang="zh-CN" sz="1200" b="1" dirty="0">
                    <a:solidFill>
                      <a:schemeClr val="bg2">
                        <a:lumMod val="25000"/>
                      </a:schemeClr>
                    </a:solidFill>
                    <a:latin typeface="+mn-ea"/>
                    <a:cs typeface="Microsoft YaHei UI Light" panose="020B0502040204020203" pitchFamily="34" charset="-122"/>
                  </a:endParaRPr>
                </a:p>
                <a:p>
                  <a:pPr marL="65424" indent="-65424" defTabSz="1236581"/>
                  <a:endParaRPr lang="en-US" altLang="zh-CN" sz="1200" b="1" dirty="0">
                    <a:solidFill>
                      <a:schemeClr val="bg2">
                        <a:lumMod val="25000"/>
                      </a:schemeClr>
                    </a:solidFill>
                    <a:latin typeface="+mn-ea"/>
                    <a:cs typeface="Microsoft YaHei UI Light" panose="020B0502040204020203" pitchFamily="34" charset="-122"/>
                  </a:endParaRPr>
                </a:p>
              </p:txBody>
            </p:sp>
            <p:pic>
              <p:nvPicPr>
                <p:cNvPr id="123" name="图片 124"/>
                <p:cNvPicPr>
                  <a:picLocks noChangeAspect="1"/>
                </p:cNvPicPr>
                <p:nvPr/>
              </p:nvPicPr>
              <p:blipFill>
                <a:blip r:embed="rId17" cstate="screen"/>
                <a:stretch>
                  <a:fillRect/>
                </a:stretch>
              </p:blipFill>
              <p:spPr>
                <a:xfrm>
                  <a:off x="10675691" y="3395146"/>
                  <a:ext cx="1119239" cy="276238"/>
                </a:xfrm>
                <a:prstGeom prst="rect">
                  <a:avLst/>
                </a:prstGeom>
              </p:spPr>
            </p:pic>
            <p:pic>
              <p:nvPicPr>
                <p:cNvPr id="124" name="Picture 48" descr="D:\Kaoru Miyazato\0001 企業紹介\0002 中軟グループ\クライアント　ロゴ\logo_NEC.png"/>
                <p:cNvPicPr>
                  <a:picLocks noChangeAspect="1" noChangeArrowheads="1"/>
                </p:cNvPicPr>
                <p:nvPr/>
              </p:nvPicPr>
              <p:blipFill>
                <a:blip r:embed="rId18" cstate="email"/>
                <a:srcRect/>
                <a:stretch>
                  <a:fillRect/>
                </a:stretch>
              </p:blipFill>
              <p:spPr bwMode="auto">
                <a:xfrm>
                  <a:off x="10995715" y="2620115"/>
                  <a:ext cx="804797" cy="181308"/>
                </a:xfrm>
                <a:prstGeom prst="rect">
                  <a:avLst/>
                </a:prstGeom>
                <a:noFill/>
              </p:spPr>
            </p:pic>
            <p:pic>
              <p:nvPicPr>
                <p:cNvPr id="125" name="图片 124"/>
                <p:cNvPicPr>
                  <a:picLocks noChangeAspect="1"/>
                </p:cNvPicPr>
                <p:nvPr/>
              </p:nvPicPr>
              <p:blipFill>
                <a:blip r:embed="rId19" cstate="print"/>
                <a:stretch>
                  <a:fillRect/>
                </a:stretch>
              </p:blipFill>
              <p:spPr>
                <a:xfrm>
                  <a:off x="10533579" y="5188699"/>
                  <a:ext cx="1108354" cy="376230"/>
                </a:xfrm>
                <a:prstGeom prst="rect">
                  <a:avLst/>
                </a:prstGeom>
              </p:spPr>
            </p:pic>
            <p:sp>
              <p:nvSpPr>
                <p:cNvPr id="126" name="Text Box 47"/>
                <p:cNvSpPr txBox="1">
                  <a:spLocks noChangeArrowheads="1"/>
                </p:cNvSpPr>
                <p:nvPr/>
              </p:nvSpPr>
              <p:spPr bwMode="auto">
                <a:xfrm>
                  <a:off x="10714924" y="5544928"/>
                  <a:ext cx="1143006" cy="387555"/>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Arial" panose="020B0604020202020204" pitchFamily="34" charset="0"/>
                    </a:rPr>
                    <a:t>AO/IO/ADM</a:t>
                  </a:r>
                </a:p>
              </p:txBody>
            </p:sp>
            <p:sp>
              <p:nvSpPr>
                <p:cNvPr id="127" name="Text Box 47"/>
                <p:cNvSpPr txBox="1">
                  <a:spLocks noChangeArrowheads="1"/>
                </p:cNvSpPr>
                <p:nvPr/>
              </p:nvSpPr>
              <p:spPr bwMode="auto">
                <a:xfrm>
                  <a:off x="10746742" y="2846900"/>
                  <a:ext cx="1180352" cy="29188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Arial" panose="020B0604020202020204" pitchFamily="34" charset="0"/>
                    </a:rPr>
                    <a:t>AO/ADM/SaaS</a:t>
                  </a:r>
                </a:p>
              </p:txBody>
            </p:sp>
            <p:sp>
              <p:nvSpPr>
                <p:cNvPr id="128" name="Text Box 47"/>
                <p:cNvSpPr txBox="1">
                  <a:spLocks noChangeArrowheads="1"/>
                </p:cNvSpPr>
                <p:nvPr/>
              </p:nvSpPr>
              <p:spPr bwMode="auto">
                <a:xfrm>
                  <a:off x="10944607" y="3726981"/>
                  <a:ext cx="1023425" cy="333294"/>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Arial" panose="020B0604020202020204" pitchFamily="34" charset="0"/>
                    </a:rPr>
                    <a:t>AO/IO/ADM</a:t>
                  </a:r>
                </a:p>
              </p:txBody>
            </p:sp>
            <p:sp>
              <p:nvSpPr>
                <p:cNvPr id="129" name="Text Box 47"/>
                <p:cNvSpPr txBox="1">
                  <a:spLocks noChangeArrowheads="1"/>
                </p:cNvSpPr>
                <p:nvPr/>
              </p:nvSpPr>
              <p:spPr bwMode="auto">
                <a:xfrm>
                  <a:off x="11085846" y="4562925"/>
                  <a:ext cx="913247" cy="486032"/>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ADM/AO/</a:t>
                  </a:r>
                </a:p>
                <a:p>
                  <a:pPr defTabSz="1236581"/>
                  <a:r>
                    <a:rPr lang="zh-CN" altLang="en-US" sz="1200" b="1" dirty="0">
                      <a:solidFill>
                        <a:schemeClr val="bg2">
                          <a:lumMod val="25000"/>
                        </a:schemeClr>
                      </a:solidFill>
                      <a:latin typeface="+mn-ea"/>
                      <a:cs typeface="Microsoft YaHei UI Light" panose="020B0502040204020203" pitchFamily="34" charset="-122"/>
                    </a:rPr>
                    <a:t>产品工程</a:t>
                  </a:r>
                  <a:r>
                    <a:rPr lang="en-US" altLang="zh-CN" sz="1200" b="1" dirty="0">
                      <a:solidFill>
                        <a:schemeClr val="bg2">
                          <a:lumMod val="25000"/>
                        </a:schemeClr>
                      </a:solidFill>
                      <a:latin typeface="+mn-ea"/>
                      <a:cs typeface="Microsoft YaHei UI Light" panose="020B0502040204020203" pitchFamily="34" charset="-122"/>
                    </a:rPr>
                    <a:t> </a:t>
                  </a:r>
                </a:p>
              </p:txBody>
            </p:sp>
          </p:grpSp>
        </p:grpSp>
        <p:grpSp>
          <p:nvGrpSpPr>
            <p:cNvPr id="104" name="组合 103"/>
            <p:cNvGrpSpPr/>
            <p:nvPr/>
          </p:nvGrpSpPr>
          <p:grpSpPr>
            <a:xfrm>
              <a:off x="576" y="8348"/>
              <a:ext cx="16181" cy="2266"/>
              <a:chOff x="327498" y="5217377"/>
              <a:chExt cx="10274935" cy="1439446"/>
            </a:xfrm>
          </p:grpSpPr>
          <p:pic>
            <p:nvPicPr>
              <p:cNvPr id="105" name="Picture 47" descr="D:\Kaoru Miyazato\0001 企業紹介\0002 中軟グループ\クライアント　ロゴ\logo_IBM.png"/>
              <p:cNvPicPr>
                <a:picLocks noChangeAspect="1" noChangeArrowheads="1"/>
              </p:cNvPicPr>
              <p:nvPr/>
            </p:nvPicPr>
            <p:blipFill>
              <a:blip r:embed="rId20" cstate="email"/>
              <a:srcRect/>
              <a:stretch>
                <a:fillRect/>
              </a:stretch>
            </p:blipFill>
            <p:spPr bwMode="auto">
              <a:xfrm>
                <a:off x="420534" y="5217377"/>
                <a:ext cx="748947" cy="243408"/>
              </a:xfrm>
              <a:prstGeom prst="rect">
                <a:avLst/>
              </a:prstGeom>
              <a:noFill/>
            </p:spPr>
          </p:pic>
          <p:sp>
            <p:nvSpPr>
              <p:cNvPr id="106" name="Text Box 47"/>
              <p:cNvSpPr txBox="1">
                <a:spLocks noChangeArrowheads="1"/>
              </p:cNvSpPr>
              <p:nvPr/>
            </p:nvSpPr>
            <p:spPr bwMode="auto">
              <a:xfrm>
                <a:off x="327498" y="5517598"/>
                <a:ext cx="2021522"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AO/IO/ADM/</a:t>
                </a:r>
              </a:p>
              <a:p>
                <a:pPr defTabSz="1236581"/>
                <a:r>
                  <a:rPr lang="zh-CN" altLang="en-US" sz="1200" b="1" dirty="0">
                    <a:solidFill>
                      <a:schemeClr val="bg2">
                        <a:lumMod val="25000"/>
                      </a:schemeClr>
                    </a:solidFill>
                    <a:latin typeface="+mn-ea"/>
                    <a:cs typeface="Microsoft YaHei UI Light" panose="020B0502040204020203" pitchFamily="34" charset="-122"/>
                  </a:rPr>
                  <a:t>产品工程</a:t>
                </a:r>
              </a:p>
            </p:txBody>
          </p:sp>
          <p:pic>
            <p:nvPicPr>
              <p:cNvPr id="107" name="Picture 27" descr="D:\Kaoru Miyazato\0001 企業紹介\0002 中軟グループ\クライアント　ロゴ\logo_bankofchina.gif"/>
              <p:cNvPicPr>
                <a:picLocks noChangeAspect="1" noChangeArrowheads="1"/>
              </p:cNvPicPr>
              <p:nvPr/>
            </p:nvPicPr>
            <p:blipFill>
              <a:blip r:embed="rId21" cstate="email"/>
              <a:srcRect/>
              <a:stretch>
                <a:fillRect/>
              </a:stretch>
            </p:blipFill>
            <p:spPr bwMode="auto">
              <a:xfrm>
                <a:off x="7792985" y="5864827"/>
                <a:ext cx="1122839" cy="256121"/>
              </a:xfrm>
              <a:prstGeom prst="rect">
                <a:avLst/>
              </a:prstGeom>
              <a:noFill/>
            </p:spPr>
          </p:pic>
          <p:pic>
            <p:nvPicPr>
              <p:cNvPr id="108" name="Picture 42" descr="D:\Kaoru Miyazato\0001 企業紹介\0002 中軟グループ\クライアント　ロゴ\logo_pingan02.jpg"/>
              <p:cNvPicPr>
                <a:picLocks noChangeAspect="1" noChangeArrowheads="1"/>
              </p:cNvPicPr>
              <p:nvPr/>
            </p:nvPicPr>
            <p:blipFill>
              <a:blip r:embed="rId22" cstate="email"/>
              <a:srcRect/>
              <a:stretch>
                <a:fillRect/>
              </a:stretch>
            </p:blipFill>
            <p:spPr bwMode="auto">
              <a:xfrm>
                <a:off x="9411142" y="5858979"/>
                <a:ext cx="871317" cy="297434"/>
              </a:xfrm>
              <a:prstGeom prst="rect">
                <a:avLst/>
              </a:prstGeom>
              <a:noFill/>
            </p:spPr>
          </p:pic>
          <p:sp>
            <p:nvSpPr>
              <p:cNvPr id="109" name="Text Box 47"/>
              <p:cNvSpPr txBox="1">
                <a:spLocks noChangeArrowheads="1"/>
              </p:cNvSpPr>
              <p:nvPr/>
            </p:nvSpPr>
            <p:spPr bwMode="auto">
              <a:xfrm>
                <a:off x="7785596" y="6142222"/>
                <a:ext cx="1519359" cy="442593"/>
              </a:xfrm>
              <a:prstGeom prst="rect">
                <a:avLst/>
              </a:prstGeom>
              <a:noFill/>
              <a:ln w="9525" algn="ctr">
                <a:noFill/>
                <a:miter lim="800000"/>
              </a:ln>
            </p:spPr>
            <p:txBody>
              <a:bodyPr wrap="square" lIns="69923" tIns="34962" rIns="69923" bIns="34962">
                <a:noAutofit/>
              </a:bodyPr>
              <a:lstStyle/>
              <a:p>
                <a:pPr marL="65424" indent="-65424" defTabSz="1236581"/>
                <a:r>
                  <a:rPr lang="zh-CN" altLang="en-US" sz="1200" b="1" dirty="0">
                    <a:solidFill>
                      <a:schemeClr val="bg2">
                        <a:lumMod val="25000"/>
                      </a:schemeClr>
                    </a:solidFill>
                    <a:latin typeface="+mn-ea"/>
                    <a:cs typeface="Arial" panose="020B0604020202020204" pitchFamily="34" charset="0"/>
                  </a:rPr>
                  <a:t>产品工程</a:t>
                </a:r>
                <a:endParaRPr lang="en-US" altLang="zh-CN" sz="1200" b="1" dirty="0">
                  <a:solidFill>
                    <a:schemeClr val="bg2">
                      <a:lumMod val="25000"/>
                    </a:schemeClr>
                  </a:solidFill>
                  <a:latin typeface="+mn-ea"/>
                  <a:cs typeface="Arial" panose="020B0604020202020204" pitchFamily="34" charset="0"/>
                </a:endParaRPr>
              </a:p>
              <a:p>
                <a:pPr defTabSz="1236581"/>
                <a:endParaRPr lang="en-US" altLang="zh-CN" sz="1200" b="1" dirty="0">
                  <a:solidFill>
                    <a:schemeClr val="bg2">
                      <a:lumMod val="25000"/>
                    </a:schemeClr>
                  </a:solidFill>
                  <a:latin typeface="+mn-ea"/>
                  <a:cs typeface="Arial" panose="020B0604020202020204" pitchFamily="34" charset="0"/>
                </a:endParaRPr>
              </a:p>
              <a:p>
                <a:pPr marL="65424" indent="-65424" defTabSz="1236581"/>
                <a:endParaRPr lang="en-US" altLang="zh-CN" sz="1200" b="1" dirty="0">
                  <a:solidFill>
                    <a:schemeClr val="bg2">
                      <a:lumMod val="25000"/>
                    </a:schemeClr>
                  </a:solidFill>
                  <a:latin typeface="+mn-ea"/>
                  <a:cs typeface="Arial" panose="020B0604020202020204" pitchFamily="34" charset="0"/>
                </a:endParaRPr>
              </a:p>
            </p:txBody>
          </p:sp>
          <p:sp>
            <p:nvSpPr>
              <p:cNvPr id="110" name="Text Box 47"/>
              <p:cNvSpPr txBox="1">
                <a:spLocks noChangeArrowheads="1"/>
              </p:cNvSpPr>
              <p:nvPr/>
            </p:nvSpPr>
            <p:spPr bwMode="auto">
              <a:xfrm>
                <a:off x="9369772" y="6214230"/>
                <a:ext cx="1232661"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Arial" panose="020B0604020202020204" pitchFamily="34" charset="0"/>
                  </a:rPr>
                  <a:t>ADM/AO</a:t>
                </a:r>
              </a:p>
              <a:p>
                <a:pPr marL="65424" indent="-65424" defTabSz="1236581"/>
                <a:endParaRPr lang="en-US" altLang="zh-CN" sz="1200" b="1" dirty="0">
                  <a:solidFill>
                    <a:schemeClr val="bg2">
                      <a:lumMod val="25000"/>
                    </a:schemeClr>
                  </a:solidFill>
                  <a:latin typeface="+mn-ea"/>
                  <a:cs typeface="Arial" panose="020B0604020202020204" pitchFamily="34" charset="0"/>
                </a:endParaRPr>
              </a:p>
            </p:txBody>
          </p:sp>
          <p:pic>
            <p:nvPicPr>
              <p:cNvPr id="111" name="图片 48"/>
              <p:cNvPicPr>
                <a:picLocks noChangeAspect="1"/>
              </p:cNvPicPr>
              <p:nvPr/>
            </p:nvPicPr>
            <p:blipFill>
              <a:blip r:embed="rId23" cstate="email"/>
              <a:srcRect/>
              <a:stretch>
                <a:fillRect/>
              </a:stretch>
            </p:blipFill>
            <p:spPr bwMode="auto">
              <a:xfrm>
                <a:off x="5697364" y="5792727"/>
                <a:ext cx="1519446" cy="365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 name="Text Box 47"/>
              <p:cNvSpPr txBox="1">
                <a:spLocks noChangeArrowheads="1"/>
              </p:cNvSpPr>
              <p:nvPr/>
            </p:nvSpPr>
            <p:spPr bwMode="auto">
              <a:xfrm>
                <a:off x="5703241" y="6142120"/>
                <a:ext cx="1547756"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ADM/AO/</a:t>
                </a:r>
                <a:r>
                  <a:rPr lang="zh-CN" altLang="en-US" sz="1200" b="1" dirty="0">
                    <a:solidFill>
                      <a:schemeClr val="bg2">
                        <a:lumMod val="25000"/>
                      </a:schemeClr>
                    </a:solidFill>
                    <a:latin typeface="+mn-ea"/>
                    <a:cs typeface="Microsoft YaHei UI Light" panose="020B0502040204020203" pitchFamily="34" charset="-122"/>
                  </a:rPr>
                  <a:t>大数据</a:t>
                </a:r>
                <a:endParaRPr lang="en-US" altLang="zh-CN" sz="1200" b="1" dirty="0">
                  <a:solidFill>
                    <a:schemeClr val="bg2">
                      <a:lumMod val="25000"/>
                    </a:schemeClr>
                  </a:solidFill>
                  <a:latin typeface="+mn-ea"/>
                  <a:cs typeface="Microsoft YaHei UI Light" panose="020B0502040204020203" pitchFamily="34" charset="-122"/>
                </a:endParaRPr>
              </a:p>
              <a:p>
                <a:pPr marL="65424" indent="-65424" defTabSz="1236581"/>
                <a:endParaRPr lang="en-US" altLang="zh-CN" sz="1200" b="1" dirty="0">
                  <a:solidFill>
                    <a:schemeClr val="bg2">
                      <a:lumMod val="25000"/>
                    </a:schemeClr>
                  </a:solidFill>
                  <a:latin typeface="+mn-ea"/>
                  <a:cs typeface="Microsoft YaHei UI Light" panose="020B0502040204020203" pitchFamily="34" charset="-122"/>
                </a:endParaRPr>
              </a:p>
            </p:txBody>
          </p:sp>
          <p:pic>
            <p:nvPicPr>
              <p:cNvPr id="113" name="Picture 24" descr="http://www.19319.cn/UploadFiles/%E5%85%B6%E5%AE%83%E6%A0%87%E5%BF%97/%E4%BF%9D%E9%99%A9%E5%85%AC%E5%8F%B8%E6%A0%87%E5%BF%97%E5%A4%A7%E5%85%A8/%E8%B4%A2%E4%BA%A7%E4%BF%9D%E9%99%A9/%E5%8D%8E%E6%B3%B0%E4%BF%9D%E9%99%A9/logo.jpg"/>
              <p:cNvPicPr>
                <a:picLocks noChangeAspect="1" noChangeArrowheads="1"/>
              </p:cNvPicPr>
              <p:nvPr/>
            </p:nvPicPr>
            <p:blipFill>
              <a:blip r:embed="rId24" cstate="email"/>
              <a:srcRect/>
              <a:stretch>
                <a:fillRect/>
              </a:stretch>
            </p:blipFill>
            <p:spPr bwMode="auto">
              <a:xfrm>
                <a:off x="3777480" y="5854235"/>
                <a:ext cx="1192541" cy="3657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14" name="Text Box 47"/>
              <p:cNvSpPr txBox="1">
                <a:spLocks noChangeArrowheads="1"/>
              </p:cNvSpPr>
              <p:nvPr/>
            </p:nvSpPr>
            <p:spPr bwMode="auto">
              <a:xfrm>
                <a:off x="3753148" y="6214230"/>
                <a:ext cx="1547756"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ADM/AO/</a:t>
                </a:r>
                <a:r>
                  <a:rPr lang="zh-CN" altLang="en-US" sz="1200" b="1" dirty="0">
                    <a:solidFill>
                      <a:schemeClr val="bg2">
                        <a:lumMod val="25000"/>
                      </a:schemeClr>
                    </a:solidFill>
                    <a:latin typeface="+mn-ea"/>
                    <a:cs typeface="Microsoft YaHei UI Light" panose="020B0502040204020203" pitchFamily="34" charset="-122"/>
                  </a:rPr>
                  <a:t>大数据</a:t>
                </a:r>
                <a:endParaRPr lang="en-US" altLang="zh-CN" sz="1200" b="1" dirty="0">
                  <a:solidFill>
                    <a:schemeClr val="bg2">
                      <a:lumMod val="25000"/>
                    </a:schemeClr>
                  </a:solidFill>
                  <a:latin typeface="+mn-ea"/>
                  <a:cs typeface="Microsoft YaHei UI Light" panose="020B0502040204020203" pitchFamily="34" charset="-122"/>
                </a:endParaRPr>
              </a:p>
              <a:p>
                <a:pPr marL="65424" indent="-65424" defTabSz="1236581"/>
                <a:endParaRPr lang="en-US" altLang="zh-CN" sz="1200" b="1" dirty="0">
                  <a:solidFill>
                    <a:schemeClr val="bg2">
                      <a:lumMod val="25000"/>
                    </a:schemeClr>
                  </a:solidFill>
                  <a:latin typeface="+mn-ea"/>
                  <a:cs typeface="Microsoft YaHei UI Light" panose="020B0502040204020203" pitchFamily="34" charset="-122"/>
                </a:endParaRPr>
              </a:p>
            </p:txBody>
          </p:sp>
          <p:pic>
            <p:nvPicPr>
              <p:cNvPr id="115" name="图片 114"/>
              <p:cNvPicPr>
                <a:picLocks noChangeAspect="1"/>
              </p:cNvPicPr>
              <p:nvPr/>
            </p:nvPicPr>
            <p:blipFill>
              <a:blip r:embed="rId25" cstate="print"/>
              <a:stretch>
                <a:fillRect/>
              </a:stretch>
            </p:blipFill>
            <p:spPr>
              <a:xfrm>
                <a:off x="1664916" y="5720719"/>
                <a:ext cx="1333543" cy="432817"/>
              </a:xfrm>
              <a:prstGeom prst="rect">
                <a:avLst/>
              </a:prstGeom>
            </p:spPr>
          </p:pic>
          <p:sp>
            <p:nvSpPr>
              <p:cNvPr id="116" name="Text Box 47"/>
              <p:cNvSpPr txBox="1">
                <a:spLocks noChangeArrowheads="1"/>
              </p:cNvSpPr>
              <p:nvPr/>
            </p:nvSpPr>
            <p:spPr bwMode="auto">
              <a:xfrm>
                <a:off x="1617335" y="6092932"/>
                <a:ext cx="1775944" cy="442593"/>
              </a:xfrm>
              <a:prstGeom prst="rect">
                <a:avLst/>
              </a:prstGeom>
              <a:noFill/>
              <a:ln w="9525" algn="ctr">
                <a:noFill/>
                <a:miter lim="800000"/>
              </a:ln>
            </p:spPr>
            <p:txBody>
              <a:bodyPr wrap="square" lIns="69923" tIns="34962" rIns="69923" bIns="34962">
                <a:noAutofit/>
              </a:bodyPr>
              <a:lstStyle/>
              <a:p>
                <a:pPr defTabSz="1236581"/>
                <a:r>
                  <a:rPr lang="en-US" altLang="zh-CN" sz="1200" b="1" dirty="0">
                    <a:solidFill>
                      <a:schemeClr val="bg2">
                        <a:lumMod val="25000"/>
                      </a:schemeClr>
                    </a:solidFill>
                    <a:latin typeface="+mn-ea"/>
                    <a:cs typeface="Microsoft YaHei UI Light" panose="020B0502040204020203" pitchFamily="34" charset="-122"/>
                  </a:rPr>
                  <a:t>US CAD/CAM/SMSP: Cloud /SaaS /</a:t>
                </a:r>
                <a:r>
                  <a:rPr lang="zh-CN" altLang="en-US" sz="1200" b="1" dirty="0">
                    <a:solidFill>
                      <a:schemeClr val="bg2">
                        <a:lumMod val="25000"/>
                      </a:schemeClr>
                    </a:solidFill>
                    <a:latin typeface="+mn-ea"/>
                    <a:cs typeface="Microsoft YaHei UI Light" panose="020B0502040204020203" pitchFamily="34" charset="-122"/>
                  </a:rPr>
                  <a:t>商业分析</a:t>
                </a:r>
              </a:p>
            </p:txBody>
          </p:sp>
        </p:grpSp>
      </p:grpSp>
    </p:spTree>
    <p:extLst>
      <p:ext uri="{BB962C8B-B14F-4D97-AF65-F5344CB8AC3E}">
        <p14:creationId xmlns:p14="http://schemas.microsoft.com/office/powerpoint/2010/main" val="3466837799"/>
      </p:ext>
    </p:extLst>
  </p:cSld>
  <p:clrMapOvr>
    <a:masterClrMapping/>
  </p:clrMapOvr>
  <p:transition spd="slow">
    <p:push dir="u"/>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a:t>重点</a:t>
            </a:r>
            <a:r>
              <a:rPr lang="zh-CN" altLang="en-US" dirty="0" smtClean="0"/>
              <a:t>行业客户</a:t>
            </a:r>
            <a:endParaRPr lang="zh-CN" altLang="en-US" dirty="0"/>
          </a:p>
        </p:txBody>
      </p:sp>
      <p:grpSp>
        <p:nvGrpSpPr>
          <p:cNvPr id="182" name="组合 181"/>
          <p:cNvGrpSpPr/>
          <p:nvPr/>
        </p:nvGrpSpPr>
        <p:grpSpPr>
          <a:xfrm>
            <a:off x="578248" y="1212010"/>
            <a:ext cx="11754625" cy="5697851"/>
            <a:chOff x="487" y="1802"/>
            <a:chExt cx="18146" cy="8796"/>
          </a:xfrm>
        </p:grpSpPr>
        <p:sp>
          <p:nvSpPr>
            <p:cNvPr id="183" name="灯片编号占位符 1"/>
            <p:cNvSpPr>
              <a:spLocks noGrp="1"/>
            </p:cNvSpPr>
            <p:nvPr/>
          </p:nvSpPr>
          <p:spPr>
            <a:xfrm>
              <a:off x="18363" y="10313"/>
              <a:ext cx="270" cy="285"/>
            </a:xfrm>
            <a:prstGeom prst="rect">
              <a:avLst/>
            </a:prstGeom>
          </p:spPr>
          <p:txBody>
            <a:bodyPr vert="horz" wrap="square" lIns="0" tIns="0" rIns="0" bIns="0" rtlCol="0" anchor="ctr">
              <a:spAutoFit/>
            </a:bodyPr>
            <a:lstStyle>
              <a:defPPr>
                <a:defRPr lang="en-US"/>
              </a:defPPr>
              <a:lvl1pPr marL="0" algn="ctr" defTabSz="914400" rtl="0" eaLnBrk="1" latinLnBrk="0" hangingPunct="1">
                <a:defRPr sz="700" b="1" kern="1200">
                  <a:solidFill>
                    <a:srgbClr val="081C50"/>
                  </a:solidFill>
                  <a:latin typeface="微软雅黑" panose="020B0503020204020204" pitchFamily="34" charset="-122"/>
                  <a:ea typeface="微软雅黑" panose="020B0503020204020204"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sz="1200" dirty="0">
                <a:solidFill>
                  <a:schemeClr val="bg2">
                    <a:lumMod val="25000"/>
                  </a:schemeClr>
                </a:solidFill>
                <a:latin typeface="+mn-ea"/>
                <a:ea typeface="+mn-ea"/>
              </a:endParaRPr>
            </a:p>
          </p:txBody>
        </p:sp>
        <p:sp>
          <p:nvSpPr>
            <p:cNvPr id="184" name="圆角矩形 183"/>
            <p:cNvSpPr/>
            <p:nvPr/>
          </p:nvSpPr>
          <p:spPr>
            <a:xfrm>
              <a:off x="604" y="1802"/>
              <a:ext cx="2055" cy="8647"/>
            </a:xfrm>
            <a:prstGeom prst="roundRect">
              <a:avLst>
                <a:gd name="adj" fmla="val 35426"/>
              </a:avLst>
            </a:prstGeom>
            <a:solidFill>
              <a:schemeClr val="bg2">
                <a:lumMod val="90000"/>
              </a:schemeClr>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66390"/>
              <a:endParaRPr lang="zh-CN" altLang="en-US" sz="1200">
                <a:solidFill>
                  <a:schemeClr val="bg2">
                    <a:lumMod val="25000"/>
                  </a:schemeClr>
                </a:solidFill>
                <a:latin typeface="+mn-ea"/>
              </a:endParaRPr>
            </a:p>
          </p:txBody>
        </p:sp>
        <p:sp>
          <p:nvSpPr>
            <p:cNvPr id="185" name="文本框 184"/>
            <p:cNvSpPr txBox="1"/>
            <p:nvPr/>
          </p:nvSpPr>
          <p:spPr>
            <a:xfrm>
              <a:off x="1031" y="2067"/>
              <a:ext cx="1151" cy="713"/>
            </a:xfrm>
            <a:prstGeom prst="rect">
              <a:avLst/>
            </a:prstGeom>
            <a:noFill/>
          </p:spPr>
          <p:txBody>
            <a:bodyPr wrap="none" rtlCol="0">
              <a:spAutoFit/>
            </a:bodyPr>
            <a:lstStyle/>
            <a:p>
              <a:pPr algn="ctr" defTabSz="466390"/>
              <a:r>
                <a:rPr lang="zh-CN" altLang="en-US" sz="1200" dirty="0">
                  <a:solidFill>
                    <a:schemeClr val="bg2">
                      <a:lumMod val="25000"/>
                    </a:schemeClr>
                  </a:solidFill>
                  <a:latin typeface="+mn-ea"/>
                </a:rPr>
                <a:t>金融</a:t>
              </a:r>
              <a:endParaRPr lang="en-US" altLang="zh-CN" sz="1200" dirty="0">
                <a:solidFill>
                  <a:schemeClr val="bg2">
                    <a:lumMod val="25000"/>
                  </a:schemeClr>
                </a:solidFill>
                <a:latin typeface="+mn-ea"/>
              </a:endParaRPr>
            </a:p>
            <a:p>
              <a:pPr algn="ctr" defTabSz="466390"/>
              <a:r>
                <a:rPr lang="en-US" altLang="zh-CN" sz="1200" dirty="0">
                  <a:solidFill>
                    <a:schemeClr val="bg2">
                      <a:lumMod val="25000"/>
                    </a:schemeClr>
                  </a:solidFill>
                  <a:latin typeface="+mn-ea"/>
                </a:rPr>
                <a:t>Finance</a:t>
              </a:r>
            </a:p>
          </p:txBody>
        </p:sp>
        <p:sp>
          <p:nvSpPr>
            <p:cNvPr id="186" name="文本框 185"/>
            <p:cNvSpPr txBox="1"/>
            <p:nvPr/>
          </p:nvSpPr>
          <p:spPr>
            <a:xfrm flipH="1">
              <a:off x="724" y="8515"/>
              <a:ext cx="1764" cy="713"/>
            </a:xfrm>
            <a:prstGeom prst="rect">
              <a:avLst/>
            </a:prstGeom>
            <a:noFill/>
          </p:spPr>
          <p:txBody>
            <a:bodyPr wrap="square" rtlCol="0">
              <a:spAutoFit/>
            </a:bodyPr>
            <a:lstStyle/>
            <a:p>
              <a:pPr algn="ctr" defTabSz="466390"/>
              <a:r>
                <a:rPr lang="zh-CN" altLang="en-US" sz="1200" dirty="0">
                  <a:solidFill>
                    <a:schemeClr val="bg2">
                      <a:lumMod val="25000"/>
                    </a:schemeClr>
                  </a:solidFill>
                  <a:latin typeface="+mn-ea"/>
                </a:rPr>
                <a:t>能源</a:t>
              </a:r>
              <a:endParaRPr lang="en-US" altLang="zh-CN" sz="1200" dirty="0">
                <a:solidFill>
                  <a:schemeClr val="bg2">
                    <a:lumMod val="25000"/>
                  </a:schemeClr>
                </a:solidFill>
                <a:latin typeface="+mn-ea"/>
              </a:endParaRPr>
            </a:p>
            <a:p>
              <a:pPr algn="ctr" defTabSz="466390"/>
              <a:r>
                <a:rPr lang="en-US" altLang="zh-CN" sz="1200" dirty="0">
                  <a:solidFill>
                    <a:schemeClr val="bg2">
                      <a:lumMod val="25000"/>
                    </a:schemeClr>
                  </a:solidFill>
                  <a:latin typeface="+mn-ea"/>
                </a:rPr>
                <a:t>Energy</a:t>
              </a:r>
            </a:p>
          </p:txBody>
        </p:sp>
        <p:sp>
          <p:nvSpPr>
            <p:cNvPr id="187" name="文本框 186"/>
            <p:cNvSpPr txBox="1"/>
            <p:nvPr/>
          </p:nvSpPr>
          <p:spPr>
            <a:xfrm>
              <a:off x="1016" y="4302"/>
              <a:ext cx="1181" cy="713"/>
            </a:xfrm>
            <a:prstGeom prst="rect">
              <a:avLst/>
            </a:prstGeom>
            <a:noFill/>
          </p:spPr>
          <p:txBody>
            <a:bodyPr wrap="none" rtlCol="0">
              <a:spAutoFit/>
            </a:bodyPr>
            <a:lstStyle/>
            <a:p>
              <a:pPr algn="ctr" defTabSz="466390"/>
              <a:r>
                <a:rPr lang="zh-CN" altLang="en-US" sz="1200" dirty="0">
                  <a:solidFill>
                    <a:schemeClr val="bg2">
                      <a:lumMod val="25000"/>
                    </a:schemeClr>
                  </a:solidFill>
                  <a:latin typeface="+mn-ea"/>
                </a:rPr>
                <a:t>互联网</a:t>
              </a:r>
              <a:endParaRPr lang="en-US" altLang="zh-CN" sz="1200" dirty="0">
                <a:solidFill>
                  <a:schemeClr val="bg2">
                    <a:lumMod val="25000"/>
                  </a:schemeClr>
                </a:solidFill>
                <a:latin typeface="+mn-ea"/>
              </a:endParaRPr>
            </a:p>
            <a:p>
              <a:pPr algn="ctr" defTabSz="466390"/>
              <a:r>
                <a:rPr lang="en-US" altLang="zh-CN" sz="1200" dirty="0">
                  <a:solidFill>
                    <a:schemeClr val="bg2">
                      <a:lumMod val="25000"/>
                    </a:schemeClr>
                  </a:solidFill>
                  <a:latin typeface="+mn-ea"/>
                </a:rPr>
                <a:t>Internet</a:t>
              </a:r>
            </a:p>
          </p:txBody>
        </p:sp>
        <p:sp>
          <p:nvSpPr>
            <p:cNvPr id="188" name="文本框 187"/>
            <p:cNvSpPr txBox="1"/>
            <p:nvPr/>
          </p:nvSpPr>
          <p:spPr>
            <a:xfrm>
              <a:off x="1045" y="5243"/>
              <a:ext cx="1122" cy="713"/>
            </a:xfrm>
            <a:prstGeom prst="rect">
              <a:avLst/>
            </a:prstGeom>
            <a:noFill/>
          </p:spPr>
          <p:txBody>
            <a:bodyPr wrap="none" rtlCol="0">
              <a:spAutoFit/>
            </a:bodyPr>
            <a:lstStyle/>
            <a:p>
              <a:pPr algn="ctr" defTabSz="466390"/>
              <a:r>
                <a:rPr lang="zh-CN" altLang="en-US" sz="1200" dirty="0">
                  <a:solidFill>
                    <a:schemeClr val="bg2">
                      <a:lumMod val="25000"/>
                    </a:schemeClr>
                  </a:solidFill>
                  <a:latin typeface="+mn-ea"/>
                </a:rPr>
                <a:t>高科技</a:t>
              </a:r>
              <a:endParaRPr lang="en-US" altLang="zh-CN" sz="1200" dirty="0">
                <a:solidFill>
                  <a:schemeClr val="bg2">
                    <a:lumMod val="25000"/>
                  </a:schemeClr>
                </a:solidFill>
                <a:latin typeface="+mn-ea"/>
              </a:endParaRPr>
            </a:p>
            <a:p>
              <a:pPr algn="ctr" defTabSz="466390"/>
              <a:r>
                <a:rPr lang="en-US" altLang="zh-CN" sz="1200" dirty="0">
                  <a:solidFill>
                    <a:schemeClr val="bg2">
                      <a:lumMod val="25000"/>
                    </a:schemeClr>
                  </a:solidFill>
                  <a:latin typeface="+mn-ea"/>
                </a:rPr>
                <a:t>Hi-tech</a:t>
              </a:r>
            </a:p>
          </p:txBody>
        </p:sp>
        <p:sp>
          <p:nvSpPr>
            <p:cNvPr id="189" name="文本框 188"/>
            <p:cNvSpPr txBox="1"/>
            <p:nvPr/>
          </p:nvSpPr>
          <p:spPr>
            <a:xfrm>
              <a:off x="487" y="6209"/>
              <a:ext cx="2238" cy="998"/>
            </a:xfrm>
            <a:prstGeom prst="rect">
              <a:avLst/>
            </a:prstGeom>
            <a:noFill/>
          </p:spPr>
          <p:txBody>
            <a:bodyPr wrap="none" rtlCol="0">
              <a:spAutoFit/>
            </a:bodyPr>
            <a:lstStyle/>
            <a:p>
              <a:pPr algn="ctr" defTabSz="466390"/>
              <a:r>
                <a:rPr lang="zh-CN" altLang="en-US" sz="1200" dirty="0">
                  <a:solidFill>
                    <a:schemeClr val="bg2">
                      <a:lumMod val="25000"/>
                    </a:schemeClr>
                  </a:solidFill>
                  <a:latin typeface="+mn-ea"/>
                </a:rPr>
                <a:t>制造与流通</a:t>
              </a:r>
              <a:endParaRPr lang="en-US" altLang="zh-CN" sz="1200" dirty="0">
                <a:solidFill>
                  <a:schemeClr val="bg2">
                    <a:lumMod val="25000"/>
                  </a:schemeClr>
                </a:solidFill>
                <a:latin typeface="+mn-ea"/>
              </a:endParaRPr>
            </a:p>
            <a:p>
              <a:pPr algn="ctr" defTabSz="466390"/>
              <a:r>
                <a:rPr lang="en-US" altLang="zh-CN" sz="1200" dirty="0">
                  <a:solidFill>
                    <a:schemeClr val="bg2">
                      <a:lumMod val="25000"/>
                    </a:schemeClr>
                  </a:solidFill>
                  <a:latin typeface="+mn-ea"/>
                </a:rPr>
                <a:t>Manufacturing &amp;</a:t>
              </a:r>
            </a:p>
            <a:p>
              <a:pPr algn="ctr" defTabSz="466390"/>
              <a:r>
                <a:rPr lang="en-US" altLang="zh-CN" sz="1200" dirty="0">
                  <a:solidFill>
                    <a:schemeClr val="bg2">
                      <a:lumMod val="25000"/>
                    </a:schemeClr>
                  </a:solidFill>
                  <a:latin typeface="+mn-ea"/>
                </a:rPr>
                <a:t> Logistics</a:t>
              </a:r>
            </a:p>
          </p:txBody>
        </p:sp>
        <p:sp>
          <p:nvSpPr>
            <p:cNvPr id="190" name="文本框 189"/>
            <p:cNvSpPr txBox="1"/>
            <p:nvPr/>
          </p:nvSpPr>
          <p:spPr>
            <a:xfrm>
              <a:off x="725" y="7479"/>
              <a:ext cx="1762" cy="713"/>
            </a:xfrm>
            <a:prstGeom prst="rect">
              <a:avLst/>
            </a:prstGeom>
            <a:noFill/>
          </p:spPr>
          <p:txBody>
            <a:bodyPr wrap="none" rtlCol="0">
              <a:spAutoFit/>
            </a:bodyPr>
            <a:lstStyle/>
            <a:p>
              <a:pPr algn="ctr" defTabSz="466390"/>
              <a:r>
                <a:rPr lang="zh-CN" altLang="en-US" sz="1200" dirty="0">
                  <a:solidFill>
                    <a:schemeClr val="bg2">
                      <a:lumMod val="25000"/>
                    </a:schemeClr>
                  </a:solidFill>
                  <a:latin typeface="+mn-ea"/>
                </a:rPr>
                <a:t>航空</a:t>
              </a:r>
              <a:endParaRPr lang="en-US" altLang="zh-CN" sz="1200" dirty="0">
                <a:solidFill>
                  <a:schemeClr val="bg2">
                    <a:lumMod val="25000"/>
                  </a:schemeClr>
                </a:solidFill>
                <a:latin typeface="+mn-ea"/>
              </a:endParaRPr>
            </a:p>
            <a:p>
              <a:pPr algn="ctr" defTabSz="466390"/>
              <a:r>
                <a:rPr lang="en-US" altLang="zh-CN" sz="1200" dirty="0">
                  <a:solidFill>
                    <a:schemeClr val="bg2">
                      <a:lumMod val="25000"/>
                    </a:schemeClr>
                  </a:solidFill>
                  <a:latin typeface="+mn-ea"/>
                </a:rPr>
                <a:t>Civil Aviation</a:t>
              </a:r>
            </a:p>
          </p:txBody>
        </p:sp>
        <p:sp>
          <p:nvSpPr>
            <p:cNvPr id="191" name="文本框 190"/>
            <p:cNvSpPr txBox="1"/>
            <p:nvPr/>
          </p:nvSpPr>
          <p:spPr>
            <a:xfrm>
              <a:off x="996" y="3133"/>
              <a:ext cx="1219" cy="713"/>
            </a:xfrm>
            <a:prstGeom prst="rect">
              <a:avLst/>
            </a:prstGeom>
            <a:noFill/>
          </p:spPr>
          <p:txBody>
            <a:bodyPr wrap="none" rtlCol="0">
              <a:spAutoFit/>
            </a:bodyPr>
            <a:lstStyle/>
            <a:p>
              <a:pPr algn="ctr" defTabSz="466390"/>
              <a:r>
                <a:rPr lang="zh-CN" altLang="en-US" sz="1200" dirty="0">
                  <a:solidFill>
                    <a:schemeClr val="bg2">
                      <a:lumMod val="25000"/>
                    </a:schemeClr>
                  </a:solidFill>
                  <a:latin typeface="+mn-ea"/>
                </a:rPr>
                <a:t>电信</a:t>
              </a:r>
              <a:endParaRPr lang="en-US" altLang="zh-CN" sz="1200" dirty="0">
                <a:solidFill>
                  <a:schemeClr val="bg2">
                    <a:lumMod val="25000"/>
                  </a:schemeClr>
                </a:solidFill>
                <a:latin typeface="+mn-ea"/>
              </a:endParaRPr>
            </a:p>
            <a:p>
              <a:pPr algn="ctr" defTabSz="466390"/>
              <a:r>
                <a:rPr lang="en-US" altLang="zh-CN" sz="1200" dirty="0">
                  <a:solidFill>
                    <a:schemeClr val="bg2">
                      <a:lumMod val="25000"/>
                    </a:schemeClr>
                  </a:solidFill>
                  <a:latin typeface="+mn-ea"/>
                </a:rPr>
                <a:t>Telecom</a:t>
              </a:r>
            </a:p>
          </p:txBody>
        </p:sp>
        <p:pic>
          <p:nvPicPr>
            <p:cNvPr id="192" name="图片 191"/>
            <p:cNvPicPr>
              <a:picLocks noChangeAspect="1"/>
            </p:cNvPicPr>
            <p:nvPr/>
          </p:nvPicPr>
          <p:blipFill>
            <a:blip r:embed="rId3" cstate="screen"/>
            <a:stretch>
              <a:fillRect/>
            </a:stretch>
          </p:blipFill>
          <p:spPr>
            <a:xfrm>
              <a:off x="3305" y="1837"/>
              <a:ext cx="1192" cy="343"/>
            </a:xfrm>
            <a:prstGeom prst="rect">
              <a:avLst/>
            </a:prstGeom>
          </p:spPr>
        </p:pic>
        <p:pic>
          <p:nvPicPr>
            <p:cNvPr id="193" name="图片 192"/>
            <p:cNvPicPr>
              <a:picLocks noChangeAspect="1"/>
            </p:cNvPicPr>
            <p:nvPr/>
          </p:nvPicPr>
          <p:blipFill>
            <a:blip r:embed="rId4" cstate="screen"/>
            <a:stretch>
              <a:fillRect/>
            </a:stretch>
          </p:blipFill>
          <p:spPr>
            <a:xfrm>
              <a:off x="4837" y="1849"/>
              <a:ext cx="1134" cy="319"/>
            </a:xfrm>
            <a:prstGeom prst="rect">
              <a:avLst/>
            </a:prstGeom>
          </p:spPr>
        </p:pic>
        <p:pic>
          <p:nvPicPr>
            <p:cNvPr id="194" name="图片 193"/>
            <p:cNvPicPr>
              <a:picLocks noChangeAspect="1"/>
            </p:cNvPicPr>
            <p:nvPr/>
          </p:nvPicPr>
          <p:blipFill rotWithShape="1">
            <a:blip r:embed="rId5" cstate="screen"/>
            <a:srcRect/>
            <a:stretch>
              <a:fillRect/>
            </a:stretch>
          </p:blipFill>
          <p:spPr>
            <a:xfrm>
              <a:off x="12095" y="2206"/>
              <a:ext cx="1474" cy="529"/>
            </a:xfrm>
            <a:prstGeom prst="rect">
              <a:avLst/>
            </a:prstGeom>
          </p:spPr>
        </p:pic>
        <p:pic>
          <p:nvPicPr>
            <p:cNvPr id="195" name="图片 194"/>
            <p:cNvPicPr>
              <a:picLocks noChangeAspect="1"/>
            </p:cNvPicPr>
            <p:nvPr/>
          </p:nvPicPr>
          <p:blipFill>
            <a:blip r:embed="rId6" cstate="screen"/>
            <a:stretch>
              <a:fillRect/>
            </a:stretch>
          </p:blipFill>
          <p:spPr>
            <a:xfrm>
              <a:off x="6259" y="1826"/>
              <a:ext cx="1414" cy="365"/>
            </a:xfrm>
            <a:prstGeom prst="rect">
              <a:avLst/>
            </a:prstGeom>
          </p:spPr>
        </p:pic>
        <p:pic>
          <p:nvPicPr>
            <p:cNvPr id="196" name="图片 195"/>
            <p:cNvPicPr>
              <a:picLocks noChangeAspect="1"/>
            </p:cNvPicPr>
            <p:nvPr/>
          </p:nvPicPr>
          <p:blipFill>
            <a:blip r:embed="rId7" cstate="screen"/>
            <a:stretch>
              <a:fillRect/>
            </a:stretch>
          </p:blipFill>
          <p:spPr>
            <a:xfrm>
              <a:off x="7873" y="1869"/>
              <a:ext cx="1387" cy="279"/>
            </a:xfrm>
            <a:prstGeom prst="rect">
              <a:avLst/>
            </a:prstGeom>
          </p:spPr>
        </p:pic>
        <p:pic>
          <p:nvPicPr>
            <p:cNvPr id="197" name="图片 196"/>
            <p:cNvPicPr>
              <a:picLocks noChangeAspect="1"/>
            </p:cNvPicPr>
            <p:nvPr/>
          </p:nvPicPr>
          <p:blipFill>
            <a:blip r:embed="rId8" cstate="screen"/>
            <a:stretch>
              <a:fillRect/>
            </a:stretch>
          </p:blipFill>
          <p:spPr>
            <a:xfrm>
              <a:off x="9526" y="1864"/>
              <a:ext cx="1321" cy="289"/>
            </a:xfrm>
            <a:prstGeom prst="rect">
              <a:avLst/>
            </a:prstGeom>
          </p:spPr>
        </p:pic>
        <p:pic>
          <p:nvPicPr>
            <p:cNvPr id="198" name="图片 197"/>
            <p:cNvPicPr>
              <a:picLocks noChangeAspect="1"/>
            </p:cNvPicPr>
            <p:nvPr/>
          </p:nvPicPr>
          <p:blipFill>
            <a:blip r:embed="rId9" cstate="screen"/>
            <a:stretch>
              <a:fillRect/>
            </a:stretch>
          </p:blipFill>
          <p:spPr>
            <a:xfrm>
              <a:off x="12492" y="1869"/>
              <a:ext cx="1303" cy="279"/>
            </a:xfrm>
            <a:prstGeom prst="rect">
              <a:avLst/>
            </a:prstGeom>
          </p:spPr>
        </p:pic>
        <p:pic>
          <p:nvPicPr>
            <p:cNvPr id="199" name="图片 198"/>
            <p:cNvPicPr>
              <a:picLocks noChangeAspect="1"/>
            </p:cNvPicPr>
            <p:nvPr/>
          </p:nvPicPr>
          <p:blipFill>
            <a:blip r:embed="rId10" cstate="screen"/>
            <a:stretch>
              <a:fillRect/>
            </a:stretch>
          </p:blipFill>
          <p:spPr>
            <a:xfrm>
              <a:off x="11105" y="1834"/>
              <a:ext cx="1139" cy="331"/>
            </a:xfrm>
            <a:prstGeom prst="rect">
              <a:avLst/>
            </a:prstGeom>
          </p:spPr>
        </p:pic>
        <p:pic>
          <p:nvPicPr>
            <p:cNvPr id="200" name="图片 199"/>
            <p:cNvPicPr>
              <a:picLocks noChangeAspect="1"/>
            </p:cNvPicPr>
            <p:nvPr/>
          </p:nvPicPr>
          <p:blipFill rotWithShape="1">
            <a:blip r:embed="rId11" cstate="screen"/>
            <a:srcRect/>
            <a:stretch>
              <a:fillRect/>
            </a:stretch>
          </p:blipFill>
          <p:spPr>
            <a:xfrm>
              <a:off x="3192" y="2225"/>
              <a:ext cx="1240" cy="493"/>
            </a:xfrm>
            <a:prstGeom prst="rect">
              <a:avLst/>
            </a:prstGeom>
          </p:spPr>
        </p:pic>
        <p:pic>
          <p:nvPicPr>
            <p:cNvPr id="201" name="图片 200"/>
            <p:cNvPicPr>
              <a:picLocks noChangeAspect="1"/>
            </p:cNvPicPr>
            <p:nvPr/>
          </p:nvPicPr>
          <p:blipFill>
            <a:blip r:embed="rId12" cstate="screen"/>
            <a:stretch>
              <a:fillRect/>
            </a:stretch>
          </p:blipFill>
          <p:spPr>
            <a:xfrm>
              <a:off x="13973" y="1846"/>
              <a:ext cx="1524" cy="325"/>
            </a:xfrm>
            <a:prstGeom prst="rect">
              <a:avLst/>
            </a:prstGeom>
          </p:spPr>
        </p:pic>
        <p:pic>
          <p:nvPicPr>
            <p:cNvPr id="202" name="图片 201"/>
            <p:cNvPicPr>
              <a:picLocks noChangeAspect="1"/>
            </p:cNvPicPr>
            <p:nvPr/>
          </p:nvPicPr>
          <p:blipFill>
            <a:blip r:embed="rId13" cstate="screen"/>
            <a:stretch>
              <a:fillRect/>
            </a:stretch>
          </p:blipFill>
          <p:spPr>
            <a:xfrm>
              <a:off x="15746" y="1898"/>
              <a:ext cx="1225" cy="222"/>
            </a:xfrm>
            <a:prstGeom prst="rect">
              <a:avLst/>
            </a:prstGeom>
          </p:spPr>
        </p:pic>
        <p:pic>
          <p:nvPicPr>
            <p:cNvPr id="203" name="图片 202"/>
            <p:cNvPicPr>
              <a:picLocks noChangeAspect="1"/>
            </p:cNvPicPr>
            <p:nvPr/>
          </p:nvPicPr>
          <p:blipFill rotWithShape="1">
            <a:blip r:embed="rId14" cstate="screen"/>
            <a:srcRect/>
            <a:stretch>
              <a:fillRect/>
            </a:stretch>
          </p:blipFill>
          <p:spPr>
            <a:xfrm>
              <a:off x="4689" y="2293"/>
              <a:ext cx="979" cy="356"/>
            </a:xfrm>
            <a:prstGeom prst="rect">
              <a:avLst/>
            </a:prstGeom>
          </p:spPr>
        </p:pic>
        <p:pic>
          <p:nvPicPr>
            <p:cNvPr id="204" name="图片 203"/>
            <p:cNvPicPr>
              <a:picLocks noChangeAspect="1"/>
            </p:cNvPicPr>
            <p:nvPr/>
          </p:nvPicPr>
          <p:blipFill rotWithShape="1">
            <a:blip r:embed="rId15" cstate="screen"/>
            <a:srcRect/>
            <a:stretch>
              <a:fillRect/>
            </a:stretch>
          </p:blipFill>
          <p:spPr>
            <a:xfrm>
              <a:off x="9659" y="2257"/>
              <a:ext cx="962" cy="427"/>
            </a:xfrm>
            <a:prstGeom prst="rect">
              <a:avLst/>
            </a:prstGeom>
          </p:spPr>
        </p:pic>
        <p:pic>
          <p:nvPicPr>
            <p:cNvPr id="205" name="图片 204"/>
            <p:cNvPicPr>
              <a:picLocks noChangeAspect="1"/>
            </p:cNvPicPr>
            <p:nvPr/>
          </p:nvPicPr>
          <p:blipFill>
            <a:blip r:embed="rId16" cstate="screen"/>
            <a:stretch>
              <a:fillRect/>
            </a:stretch>
          </p:blipFill>
          <p:spPr>
            <a:xfrm>
              <a:off x="6085" y="2322"/>
              <a:ext cx="1599" cy="298"/>
            </a:xfrm>
            <a:prstGeom prst="rect">
              <a:avLst/>
            </a:prstGeom>
          </p:spPr>
        </p:pic>
        <p:pic>
          <p:nvPicPr>
            <p:cNvPr id="206" name="图片 205"/>
            <p:cNvPicPr>
              <a:picLocks noChangeAspect="1"/>
            </p:cNvPicPr>
            <p:nvPr/>
          </p:nvPicPr>
          <p:blipFill>
            <a:blip r:embed="rId17" cstate="screen"/>
            <a:stretch>
              <a:fillRect/>
            </a:stretch>
          </p:blipFill>
          <p:spPr>
            <a:xfrm>
              <a:off x="8036" y="2270"/>
              <a:ext cx="1236" cy="371"/>
            </a:xfrm>
            <a:prstGeom prst="rect">
              <a:avLst/>
            </a:prstGeom>
          </p:spPr>
        </p:pic>
        <p:pic>
          <p:nvPicPr>
            <p:cNvPr id="207" name="图片 206"/>
            <p:cNvPicPr>
              <a:picLocks noChangeAspect="1"/>
            </p:cNvPicPr>
            <p:nvPr/>
          </p:nvPicPr>
          <p:blipFill rotWithShape="1">
            <a:blip r:embed="rId18" cstate="screen"/>
            <a:srcRect/>
            <a:stretch>
              <a:fillRect/>
            </a:stretch>
          </p:blipFill>
          <p:spPr>
            <a:xfrm>
              <a:off x="10847" y="2150"/>
              <a:ext cx="1021" cy="642"/>
            </a:xfrm>
            <a:prstGeom prst="rect">
              <a:avLst/>
            </a:prstGeom>
          </p:spPr>
        </p:pic>
        <p:pic>
          <p:nvPicPr>
            <p:cNvPr id="208" name="图片 207"/>
            <p:cNvPicPr>
              <a:picLocks noChangeAspect="1"/>
            </p:cNvPicPr>
            <p:nvPr/>
          </p:nvPicPr>
          <p:blipFill>
            <a:blip r:embed="rId19" cstate="screen"/>
            <a:stretch>
              <a:fillRect/>
            </a:stretch>
          </p:blipFill>
          <p:spPr>
            <a:xfrm>
              <a:off x="13798" y="2297"/>
              <a:ext cx="1132" cy="348"/>
            </a:xfrm>
            <a:prstGeom prst="rect">
              <a:avLst/>
            </a:prstGeom>
          </p:spPr>
        </p:pic>
        <p:pic>
          <p:nvPicPr>
            <p:cNvPr id="209" name="图片 208"/>
            <p:cNvPicPr>
              <a:picLocks noChangeAspect="1"/>
            </p:cNvPicPr>
            <p:nvPr/>
          </p:nvPicPr>
          <p:blipFill>
            <a:blip r:embed="rId20" cstate="screen"/>
            <a:stretch>
              <a:fillRect/>
            </a:stretch>
          </p:blipFill>
          <p:spPr>
            <a:xfrm>
              <a:off x="15270" y="2343"/>
              <a:ext cx="1271" cy="256"/>
            </a:xfrm>
            <a:prstGeom prst="rect">
              <a:avLst/>
            </a:prstGeom>
          </p:spPr>
        </p:pic>
        <p:pic>
          <p:nvPicPr>
            <p:cNvPr id="210" name="图片 209"/>
            <p:cNvPicPr>
              <a:picLocks noChangeAspect="1"/>
            </p:cNvPicPr>
            <p:nvPr/>
          </p:nvPicPr>
          <p:blipFill>
            <a:blip r:embed="rId21" cstate="screen"/>
            <a:stretch>
              <a:fillRect/>
            </a:stretch>
          </p:blipFill>
          <p:spPr>
            <a:xfrm>
              <a:off x="3289" y="2856"/>
              <a:ext cx="1658" cy="266"/>
            </a:xfrm>
            <a:prstGeom prst="rect">
              <a:avLst/>
            </a:prstGeom>
          </p:spPr>
        </p:pic>
        <p:pic>
          <p:nvPicPr>
            <p:cNvPr id="211" name="图片 210"/>
            <p:cNvPicPr>
              <a:picLocks noChangeAspect="1"/>
            </p:cNvPicPr>
            <p:nvPr/>
          </p:nvPicPr>
          <p:blipFill rotWithShape="1">
            <a:blip r:embed="rId22" cstate="screen"/>
            <a:srcRect/>
            <a:stretch>
              <a:fillRect/>
            </a:stretch>
          </p:blipFill>
          <p:spPr>
            <a:xfrm>
              <a:off x="9808" y="2814"/>
              <a:ext cx="1119" cy="371"/>
            </a:xfrm>
            <a:prstGeom prst="rect">
              <a:avLst/>
            </a:prstGeom>
          </p:spPr>
        </p:pic>
        <p:pic>
          <p:nvPicPr>
            <p:cNvPr id="212" name="图片 211"/>
            <p:cNvPicPr>
              <a:picLocks noChangeAspect="1"/>
            </p:cNvPicPr>
            <p:nvPr/>
          </p:nvPicPr>
          <p:blipFill>
            <a:blip r:embed="rId23" cstate="screen"/>
            <a:stretch>
              <a:fillRect/>
            </a:stretch>
          </p:blipFill>
          <p:spPr>
            <a:xfrm>
              <a:off x="7008" y="2853"/>
              <a:ext cx="959" cy="297"/>
            </a:xfrm>
            <a:prstGeom prst="rect">
              <a:avLst/>
            </a:prstGeom>
          </p:spPr>
        </p:pic>
        <p:pic>
          <p:nvPicPr>
            <p:cNvPr id="213" name="图片 212"/>
            <p:cNvPicPr>
              <a:picLocks noChangeAspect="1"/>
            </p:cNvPicPr>
            <p:nvPr/>
          </p:nvPicPr>
          <p:blipFill>
            <a:blip r:embed="rId24" cstate="screen"/>
            <a:stretch>
              <a:fillRect/>
            </a:stretch>
          </p:blipFill>
          <p:spPr>
            <a:xfrm>
              <a:off x="5217" y="2872"/>
              <a:ext cx="1293" cy="280"/>
            </a:xfrm>
            <a:prstGeom prst="rect">
              <a:avLst/>
            </a:prstGeom>
          </p:spPr>
        </p:pic>
        <p:pic>
          <p:nvPicPr>
            <p:cNvPr id="214" name="图片 213"/>
            <p:cNvPicPr>
              <a:picLocks noChangeAspect="1"/>
            </p:cNvPicPr>
            <p:nvPr/>
          </p:nvPicPr>
          <p:blipFill>
            <a:blip r:embed="rId25" cstate="screen"/>
            <a:stretch>
              <a:fillRect/>
            </a:stretch>
          </p:blipFill>
          <p:spPr>
            <a:xfrm>
              <a:off x="8407" y="2853"/>
              <a:ext cx="1087" cy="281"/>
            </a:xfrm>
            <a:prstGeom prst="rect">
              <a:avLst/>
            </a:prstGeom>
          </p:spPr>
        </p:pic>
        <p:pic>
          <p:nvPicPr>
            <p:cNvPr id="215" name="图片 214"/>
            <p:cNvPicPr>
              <a:picLocks noChangeAspect="1"/>
            </p:cNvPicPr>
            <p:nvPr/>
          </p:nvPicPr>
          <p:blipFill rotWithShape="1">
            <a:blip r:embed="rId26" cstate="screen"/>
            <a:srcRect/>
            <a:stretch>
              <a:fillRect/>
            </a:stretch>
          </p:blipFill>
          <p:spPr>
            <a:xfrm>
              <a:off x="11188" y="2858"/>
              <a:ext cx="1135" cy="326"/>
            </a:xfrm>
            <a:prstGeom prst="rect">
              <a:avLst/>
            </a:prstGeom>
          </p:spPr>
        </p:pic>
        <p:pic>
          <p:nvPicPr>
            <p:cNvPr id="216" name="图片 215"/>
            <p:cNvPicPr>
              <a:picLocks noChangeAspect="1"/>
            </p:cNvPicPr>
            <p:nvPr/>
          </p:nvPicPr>
          <p:blipFill rotWithShape="1">
            <a:blip r:embed="rId27" cstate="screen"/>
            <a:srcRect/>
            <a:stretch>
              <a:fillRect/>
            </a:stretch>
          </p:blipFill>
          <p:spPr>
            <a:xfrm>
              <a:off x="12679" y="2876"/>
              <a:ext cx="871" cy="246"/>
            </a:xfrm>
            <a:prstGeom prst="rect">
              <a:avLst/>
            </a:prstGeom>
          </p:spPr>
        </p:pic>
        <p:pic>
          <p:nvPicPr>
            <p:cNvPr id="217" name="图片 216"/>
            <p:cNvPicPr>
              <a:picLocks noChangeAspect="1"/>
            </p:cNvPicPr>
            <p:nvPr/>
          </p:nvPicPr>
          <p:blipFill>
            <a:blip r:embed="rId28" cstate="screen"/>
            <a:stretch>
              <a:fillRect/>
            </a:stretch>
          </p:blipFill>
          <p:spPr>
            <a:xfrm>
              <a:off x="13846" y="2853"/>
              <a:ext cx="858" cy="308"/>
            </a:xfrm>
            <a:prstGeom prst="rect">
              <a:avLst/>
            </a:prstGeom>
          </p:spPr>
        </p:pic>
        <p:pic>
          <p:nvPicPr>
            <p:cNvPr id="218" name="图片 217"/>
            <p:cNvPicPr>
              <a:picLocks noChangeAspect="1"/>
            </p:cNvPicPr>
            <p:nvPr/>
          </p:nvPicPr>
          <p:blipFill>
            <a:blip r:embed="rId29" cstate="screen"/>
            <a:stretch>
              <a:fillRect/>
            </a:stretch>
          </p:blipFill>
          <p:spPr>
            <a:xfrm>
              <a:off x="3363" y="3570"/>
              <a:ext cx="1188" cy="292"/>
            </a:xfrm>
            <a:prstGeom prst="rect">
              <a:avLst/>
            </a:prstGeom>
          </p:spPr>
        </p:pic>
        <p:pic>
          <p:nvPicPr>
            <p:cNvPr id="219" name="图片 218"/>
            <p:cNvPicPr>
              <a:picLocks noChangeAspect="1"/>
            </p:cNvPicPr>
            <p:nvPr/>
          </p:nvPicPr>
          <p:blipFill>
            <a:blip r:embed="rId30" cstate="screen"/>
            <a:stretch>
              <a:fillRect/>
            </a:stretch>
          </p:blipFill>
          <p:spPr>
            <a:xfrm>
              <a:off x="4865" y="3531"/>
              <a:ext cx="1486" cy="369"/>
            </a:xfrm>
            <a:prstGeom prst="rect">
              <a:avLst/>
            </a:prstGeom>
          </p:spPr>
        </p:pic>
        <p:pic>
          <p:nvPicPr>
            <p:cNvPr id="220" name="图片 219"/>
            <p:cNvPicPr>
              <a:picLocks noChangeAspect="1"/>
            </p:cNvPicPr>
            <p:nvPr/>
          </p:nvPicPr>
          <p:blipFill>
            <a:blip r:embed="rId31" cstate="screen"/>
            <a:stretch>
              <a:fillRect/>
            </a:stretch>
          </p:blipFill>
          <p:spPr>
            <a:xfrm>
              <a:off x="6665" y="3554"/>
              <a:ext cx="1103" cy="323"/>
            </a:xfrm>
            <a:prstGeom prst="rect">
              <a:avLst/>
            </a:prstGeom>
          </p:spPr>
        </p:pic>
        <p:pic>
          <p:nvPicPr>
            <p:cNvPr id="221" name="图片 220"/>
            <p:cNvPicPr>
              <a:picLocks noChangeAspect="1"/>
            </p:cNvPicPr>
            <p:nvPr/>
          </p:nvPicPr>
          <p:blipFill>
            <a:blip r:embed="rId32" cstate="screen"/>
            <a:stretch>
              <a:fillRect/>
            </a:stretch>
          </p:blipFill>
          <p:spPr>
            <a:xfrm>
              <a:off x="8082" y="3538"/>
              <a:ext cx="1147" cy="355"/>
            </a:xfrm>
            <a:prstGeom prst="rect">
              <a:avLst/>
            </a:prstGeom>
          </p:spPr>
        </p:pic>
        <p:pic>
          <p:nvPicPr>
            <p:cNvPr id="222" name="图片 221"/>
            <p:cNvPicPr>
              <a:picLocks noChangeAspect="1"/>
            </p:cNvPicPr>
            <p:nvPr/>
          </p:nvPicPr>
          <p:blipFill>
            <a:blip r:embed="rId33" cstate="screen"/>
            <a:stretch>
              <a:fillRect/>
            </a:stretch>
          </p:blipFill>
          <p:spPr>
            <a:xfrm>
              <a:off x="9542" y="3637"/>
              <a:ext cx="862" cy="159"/>
            </a:xfrm>
            <a:prstGeom prst="rect">
              <a:avLst/>
            </a:prstGeom>
          </p:spPr>
        </p:pic>
        <p:pic>
          <p:nvPicPr>
            <p:cNvPr id="223" name="图片 222"/>
            <p:cNvPicPr>
              <a:picLocks noChangeAspect="1"/>
            </p:cNvPicPr>
            <p:nvPr/>
          </p:nvPicPr>
          <p:blipFill>
            <a:blip r:embed="rId34" cstate="screen"/>
            <a:stretch>
              <a:fillRect/>
            </a:stretch>
          </p:blipFill>
          <p:spPr>
            <a:xfrm>
              <a:off x="11931" y="3530"/>
              <a:ext cx="794" cy="372"/>
            </a:xfrm>
            <a:prstGeom prst="rect">
              <a:avLst/>
            </a:prstGeom>
          </p:spPr>
        </p:pic>
        <p:sp>
          <p:nvSpPr>
            <p:cNvPr id="224" name="object 57"/>
            <p:cNvSpPr/>
            <p:nvPr/>
          </p:nvSpPr>
          <p:spPr>
            <a:xfrm>
              <a:off x="13039" y="3452"/>
              <a:ext cx="1392" cy="528"/>
            </a:xfrm>
            <a:prstGeom prst="rect">
              <a:avLst/>
            </a:prstGeom>
            <a:blipFill>
              <a:blip r:embed="rId35" cstate="screen"/>
              <a:srcRect/>
              <a:stretch>
                <a:fillRect/>
              </a:stretch>
            </a:blipFill>
          </p:spPr>
          <p:txBody>
            <a:bodyPr wrap="square" lIns="0" tIns="0" rIns="0" bIns="0" rtlCol="0"/>
            <a:lstStyle/>
            <a:p>
              <a:pPr defTabSz="466390"/>
              <a:endParaRPr sz="1200">
                <a:solidFill>
                  <a:schemeClr val="bg2">
                    <a:lumMod val="25000"/>
                  </a:schemeClr>
                </a:solidFill>
                <a:latin typeface="+mn-ea"/>
              </a:endParaRPr>
            </a:p>
          </p:txBody>
        </p:sp>
        <p:sp>
          <p:nvSpPr>
            <p:cNvPr id="225" name="object 70"/>
            <p:cNvSpPr/>
            <p:nvPr/>
          </p:nvSpPr>
          <p:spPr>
            <a:xfrm>
              <a:off x="14745" y="3464"/>
              <a:ext cx="1459" cy="503"/>
            </a:xfrm>
            <a:prstGeom prst="rect">
              <a:avLst/>
            </a:prstGeom>
            <a:blipFill>
              <a:blip r:embed="rId36" cstate="screen"/>
              <a:srcRect/>
              <a:stretch>
                <a:fillRect/>
              </a:stretch>
            </a:blipFill>
          </p:spPr>
          <p:txBody>
            <a:bodyPr wrap="square" lIns="0" tIns="0" rIns="0" bIns="0" rtlCol="0"/>
            <a:lstStyle/>
            <a:p>
              <a:pPr defTabSz="466390"/>
              <a:endParaRPr sz="1200">
                <a:solidFill>
                  <a:schemeClr val="bg2">
                    <a:lumMod val="25000"/>
                  </a:schemeClr>
                </a:solidFill>
                <a:latin typeface="+mn-ea"/>
              </a:endParaRPr>
            </a:p>
          </p:txBody>
        </p:sp>
        <p:pic>
          <p:nvPicPr>
            <p:cNvPr id="226" name="图片 225"/>
            <p:cNvPicPr>
              <a:picLocks noChangeAspect="1"/>
            </p:cNvPicPr>
            <p:nvPr/>
          </p:nvPicPr>
          <p:blipFill>
            <a:blip r:embed="rId37" cstate="screen"/>
            <a:stretch>
              <a:fillRect/>
            </a:stretch>
          </p:blipFill>
          <p:spPr>
            <a:xfrm>
              <a:off x="15074" y="2847"/>
              <a:ext cx="957" cy="294"/>
            </a:xfrm>
            <a:prstGeom prst="rect">
              <a:avLst/>
            </a:prstGeom>
          </p:spPr>
        </p:pic>
        <p:pic>
          <p:nvPicPr>
            <p:cNvPr id="227" name="图片 226"/>
            <p:cNvPicPr>
              <a:picLocks noChangeAspect="1"/>
            </p:cNvPicPr>
            <p:nvPr/>
          </p:nvPicPr>
          <p:blipFill>
            <a:blip r:embed="rId38" cstate="screen"/>
            <a:stretch>
              <a:fillRect/>
            </a:stretch>
          </p:blipFill>
          <p:spPr>
            <a:xfrm>
              <a:off x="10718" y="3530"/>
              <a:ext cx="899" cy="372"/>
            </a:xfrm>
            <a:prstGeom prst="rect">
              <a:avLst/>
            </a:prstGeom>
          </p:spPr>
        </p:pic>
        <p:pic>
          <p:nvPicPr>
            <p:cNvPr id="228" name="图片 227"/>
            <p:cNvPicPr>
              <a:picLocks noChangeAspect="1"/>
            </p:cNvPicPr>
            <p:nvPr/>
          </p:nvPicPr>
          <p:blipFill>
            <a:blip r:embed="rId39" cstate="screen"/>
            <a:stretch>
              <a:fillRect/>
            </a:stretch>
          </p:blipFill>
          <p:spPr>
            <a:xfrm>
              <a:off x="16430" y="3451"/>
              <a:ext cx="1082" cy="416"/>
            </a:xfrm>
            <a:prstGeom prst="rect">
              <a:avLst/>
            </a:prstGeom>
          </p:spPr>
        </p:pic>
        <p:pic>
          <p:nvPicPr>
            <p:cNvPr id="229" name="图片 228"/>
            <p:cNvPicPr>
              <a:picLocks noChangeAspect="1"/>
            </p:cNvPicPr>
            <p:nvPr/>
          </p:nvPicPr>
          <p:blipFill rotWithShape="1">
            <a:blip r:embed="rId40" cstate="screen"/>
            <a:srcRect/>
            <a:stretch>
              <a:fillRect/>
            </a:stretch>
          </p:blipFill>
          <p:spPr>
            <a:xfrm>
              <a:off x="3326" y="4214"/>
              <a:ext cx="1150" cy="391"/>
            </a:xfrm>
            <a:prstGeom prst="rect">
              <a:avLst/>
            </a:prstGeom>
          </p:spPr>
        </p:pic>
        <p:pic>
          <p:nvPicPr>
            <p:cNvPr id="230" name="图片 229"/>
            <p:cNvPicPr>
              <a:picLocks noChangeAspect="1"/>
            </p:cNvPicPr>
            <p:nvPr/>
          </p:nvPicPr>
          <p:blipFill>
            <a:blip r:embed="rId41" cstate="screen"/>
            <a:stretch>
              <a:fillRect/>
            </a:stretch>
          </p:blipFill>
          <p:spPr>
            <a:xfrm>
              <a:off x="4835" y="4273"/>
              <a:ext cx="1413" cy="348"/>
            </a:xfrm>
            <a:prstGeom prst="rect">
              <a:avLst/>
            </a:prstGeom>
          </p:spPr>
        </p:pic>
        <p:pic>
          <p:nvPicPr>
            <p:cNvPr id="231" name="图片 230"/>
            <p:cNvPicPr>
              <a:picLocks noChangeAspect="1"/>
            </p:cNvPicPr>
            <p:nvPr/>
          </p:nvPicPr>
          <p:blipFill>
            <a:blip r:embed="rId42" cstate="screen"/>
            <a:stretch>
              <a:fillRect/>
            </a:stretch>
          </p:blipFill>
          <p:spPr>
            <a:xfrm>
              <a:off x="6650" y="4267"/>
              <a:ext cx="1296" cy="389"/>
            </a:xfrm>
            <a:prstGeom prst="rect">
              <a:avLst/>
            </a:prstGeom>
          </p:spPr>
        </p:pic>
        <p:pic>
          <p:nvPicPr>
            <p:cNvPr id="232" name="图片 231"/>
            <p:cNvPicPr>
              <a:picLocks noChangeAspect="1"/>
            </p:cNvPicPr>
            <p:nvPr/>
          </p:nvPicPr>
          <p:blipFill>
            <a:blip r:embed="rId43" cstate="screen"/>
            <a:stretch>
              <a:fillRect/>
            </a:stretch>
          </p:blipFill>
          <p:spPr>
            <a:xfrm>
              <a:off x="13019" y="4214"/>
              <a:ext cx="1047" cy="335"/>
            </a:xfrm>
            <a:prstGeom prst="rect">
              <a:avLst/>
            </a:prstGeom>
          </p:spPr>
        </p:pic>
        <p:pic>
          <p:nvPicPr>
            <p:cNvPr id="233" name="图片 232"/>
            <p:cNvPicPr>
              <a:picLocks noChangeAspect="1"/>
            </p:cNvPicPr>
            <p:nvPr/>
          </p:nvPicPr>
          <p:blipFill>
            <a:blip r:embed="rId44" cstate="screen"/>
            <a:stretch>
              <a:fillRect/>
            </a:stretch>
          </p:blipFill>
          <p:spPr>
            <a:xfrm>
              <a:off x="8421" y="4166"/>
              <a:ext cx="1070" cy="473"/>
            </a:xfrm>
            <a:prstGeom prst="rect">
              <a:avLst/>
            </a:prstGeom>
          </p:spPr>
        </p:pic>
        <p:pic>
          <p:nvPicPr>
            <p:cNvPr id="234" name="图片 233"/>
            <p:cNvPicPr>
              <a:picLocks noChangeAspect="1"/>
            </p:cNvPicPr>
            <p:nvPr/>
          </p:nvPicPr>
          <p:blipFill rotWithShape="1">
            <a:blip r:embed="rId45" cstate="screen"/>
            <a:srcRect/>
            <a:stretch>
              <a:fillRect/>
            </a:stretch>
          </p:blipFill>
          <p:spPr>
            <a:xfrm>
              <a:off x="13423" y="4856"/>
              <a:ext cx="1361" cy="474"/>
            </a:xfrm>
            <a:prstGeom prst="rect">
              <a:avLst/>
            </a:prstGeom>
          </p:spPr>
        </p:pic>
        <p:pic>
          <p:nvPicPr>
            <p:cNvPr id="235" name="图片 234"/>
            <p:cNvPicPr>
              <a:picLocks noChangeAspect="1"/>
            </p:cNvPicPr>
            <p:nvPr/>
          </p:nvPicPr>
          <p:blipFill rotWithShape="1">
            <a:blip r:embed="rId46" cstate="screen"/>
            <a:srcRect/>
            <a:stretch>
              <a:fillRect/>
            </a:stretch>
          </p:blipFill>
          <p:spPr>
            <a:xfrm>
              <a:off x="11497" y="4182"/>
              <a:ext cx="1182" cy="545"/>
            </a:xfrm>
            <a:prstGeom prst="rect">
              <a:avLst/>
            </a:prstGeom>
          </p:spPr>
        </p:pic>
        <p:pic>
          <p:nvPicPr>
            <p:cNvPr id="236" name="图片 235"/>
            <p:cNvPicPr>
              <a:picLocks noChangeAspect="1"/>
            </p:cNvPicPr>
            <p:nvPr/>
          </p:nvPicPr>
          <p:blipFill>
            <a:blip r:embed="rId47" cstate="screen"/>
            <a:stretch>
              <a:fillRect/>
            </a:stretch>
          </p:blipFill>
          <p:spPr>
            <a:xfrm>
              <a:off x="14495" y="4246"/>
              <a:ext cx="868" cy="340"/>
            </a:xfrm>
            <a:prstGeom prst="rect">
              <a:avLst/>
            </a:prstGeom>
          </p:spPr>
        </p:pic>
        <p:pic>
          <p:nvPicPr>
            <p:cNvPr id="237" name="图片 236"/>
            <p:cNvPicPr>
              <a:picLocks noChangeAspect="1"/>
            </p:cNvPicPr>
            <p:nvPr/>
          </p:nvPicPr>
          <p:blipFill>
            <a:blip r:embed="rId48" cstate="screen"/>
            <a:stretch>
              <a:fillRect/>
            </a:stretch>
          </p:blipFill>
          <p:spPr>
            <a:xfrm>
              <a:off x="3325" y="4940"/>
              <a:ext cx="974" cy="407"/>
            </a:xfrm>
            <a:prstGeom prst="rect">
              <a:avLst/>
            </a:prstGeom>
          </p:spPr>
        </p:pic>
        <p:sp>
          <p:nvSpPr>
            <p:cNvPr id="238" name="object 7"/>
            <p:cNvSpPr/>
            <p:nvPr/>
          </p:nvSpPr>
          <p:spPr>
            <a:xfrm>
              <a:off x="9909" y="4246"/>
              <a:ext cx="1296" cy="386"/>
            </a:xfrm>
            <a:prstGeom prst="rect">
              <a:avLst/>
            </a:prstGeom>
            <a:blipFill>
              <a:blip r:embed="rId49" cstate="print"/>
              <a:stretch>
                <a:fillRect/>
              </a:stretch>
            </a:blipFill>
          </p:spPr>
          <p:txBody>
            <a:bodyPr wrap="square" lIns="0" tIns="0" rIns="0" bIns="0" rtlCol="0"/>
            <a:lstStyle/>
            <a:p>
              <a:pPr defTabSz="466390"/>
              <a:endParaRPr sz="1200">
                <a:solidFill>
                  <a:schemeClr val="bg2">
                    <a:lumMod val="25000"/>
                  </a:schemeClr>
                </a:solidFill>
                <a:latin typeface="+mn-ea"/>
              </a:endParaRPr>
            </a:p>
          </p:txBody>
        </p:sp>
        <p:pic>
          <p:nvPicPr>
            <p:cNvPr id="239" name="图片 238"/>
            <p:cNvPicPr>
              <a:picLocks noChangeAspect="1"/>
            </p:cNvPicPr>
            <p:nvPr/>
          </p:nvPicPr>
          <p:blipFill rotWithShape="1">
            <a:blip r:embed="rId50" cstate="screen"/>
            <a:srcRect/>
            <a:stretch>
              <a:fillRect/>
            </a:stretch>
          </p:blipFill>
          <p:spPr>
            <a:xfrm>
              <a:off x="10318" y="4836"/>
              <a:ext cx="1247" cy="546"/>
            </a:xfrm>
            <a:prstGeom prst="rect">
              <a:avLst/>
            </a:prstGeom>
          </p:spPr>
        </p:pic>
        <p:pic>
          <p:nvPicPr>
            <p:cNvPr id="240" name="图片 239"/>
            <p:cNvPicPr>
              <a:picLocks noChangeAspect="1"/>
            </p:cNvPicPr>
            <p:nvPr/>
          </p:nvPicPr>
          <p:blipFill rotWithShape="1">
            <a:blip r:embed="rId51" cstate="screen"/>
            <a:srcRect/>
            <a:stretch>
              <a:fillRect/>
            </a:stretch>
          </p:blipFill>
          <p:spPr>
            <a:xfrm>
              <a:off x="11938" y="4982"/>
              <a:ext cx="1247" cy="340"/>
            </a:xfrm>
            <a:prstGeom prst="rect">
              <a:avLst/>
            </a:prstGeom>
          </p:spPr>
        </p:pic>
        <p:pic>
          <p:nvPicPr>
            <p:cNvPr id="241" name="图片 240"/>
            <p:cNvPicPr>
              <a:picLocks noChangeAspect="1"/>
            </p:cNvPicPr>
            <p:nvPr/>
          </p:nvPicPr>
          <p:blipFill rotWithShape="1">
            <a:blip r:embed="rId52" cstate="screen"/>
            <a:srcRect/>
            <a:stretch>
              <a:fillRect/>
            </a:stretch>
          </p:blipFill>
          <p:spPr>
            <a:xfrm>
              <a:off x="8780" y="4846"/>
              <a:ext cx="1361" cy="567"/>
            </a:xfrm>
            <a:prstGeom prst="rect">
              <a:avLst/>
            </a:prstGeom>
          </p:spPr>
        </p:pic>
        <p:pic>
          <p:nvPicPr>
            <p:cNvPr id="242" name="图片 241"/>
            <p:cNvPicPr>
              <a:picLocks noChangeAspect="1"/>
            </p:cNvPicPr>
            <p:nvPr/>
          </p:nvPicPr>
          <p:blipFill rotWithShape="1">
            <a:blip r:embed="rId53" cstate="screen"/>
            <a:srcRect/>
            <a:stretch>
              <a:fillRect/>
            </a:stretch>
          </p:blipFill>
          <p:spPr>
            <a:xfrm>
              <a:off x="15724" y="4117"/>
              <a:ext cx="658" cy="551"/>
            </a:xfrm>
            <a:prstGeom prst="rect">
              <a:avLst/>
            </a:prstGeom>
          </p:spPr>
        </p:pic>
        <p:pic>
          <p:nvPicPr>
            <p:cNvPr id="243" name="图片 242"/>
            <p:cNvPicPr>
              <a:picLocks noChangeAspect="1"/>
            </p:cNvPicPr>
            <p:nvPr/>
          </p:nvPicPr>
          <p:blipFill rotWithShape="1">
            <a:blip r:embed="rId54" cstate="screen"/>
            <a:srcRect/>
            <a:stretch>
              <a:fillRect/>
            </a:stretch>
          </p:blipFill>
          <p:spPr>
            <a:xfrm>
              <a:off x="5876" y="4860"/>
              <a:ext cx="1711" cy="526"/>
            </a:xfrm>
            <a:prstGeom prst="rect">
              <a:avLst/>
            </a:prstGeom>
          </p:spPr>
        </p:pic>
        <p:pic>
          <p:nvPicPr>
            <p:cNvPr id="244" name="图片 243"/>
            <p:cNvPicPr>
              <a:picLocks noChangeAspect="1"/>
            </p:cNvPicPr>
            <p:nvPr/>
          </p:nvPicPr>
          <p:blipFill rotWithShape="1">
            <a:blip r:embed="rId55" cstate="screen"/>
            <a:srcRect/>
            <a:stretch>
              <a:fillRect/>
            </a:stretch>
          </p:blipFill>
          <p:spPr>
            <a:xfrm>
              <a:off x="14822" y="4869"/>
              <a:ext cx="1312" cy="537"/>
            </a:xfrm>
            <a:prstGeom prst="rect">
              <a:avLst/>
            </a:prstGeom>
          </p:spPr>
        </p:pic>
        <p:pic>
          <p:nvPicPr>
            <p:cNvPr id="245" name="图片 244"/>
            <p:cNvPicPr>
              <a:picLocks noChangeAspect="1"/>
            </p:cNvPicPr>
            <p:nvPr/>
          </p:nvPicPr>
          <p:blipFill rotWithShape="1">
            <a:blip r:embed="rId56" cstate="screen"/>
            <a:srcRect/>
            <a:stretch>
              <a:fillRect/>
            </a:stretch>
          </p:blipFill>
          <p:spPr>
            <a:xfrm>
              <a:off x="4621" y="4912"/>
              <a:ext cx="1113" cy="383"/>
            </a:xfrm>
            <a:prstGeom prst="rect">
              <a:avLst/>
            </a:prstGeom>
          </p:spPr>
        </p:pic>
        <p:pic>
          <p:nvPicPr>
            <p:cNvPr id="246" name="图片 245"/>
            <p:cNvPicPr>
              <a:picLocks noChangeAspect="1"/>
            </p:cNvPicPr>
            <p:nvPr/>
          </p:nvPicPr>
          <p:blipFill>
            <a:blip r:embed="rId57" cstate="screen"/>
            <a:stretch>
              <a:fillRect/>
            </a:stretch>
          </p:blipFill>
          <p:spPr>
            <a:xfrm>
              <a:off x="3306" y="5731"/>
              <a:ext cx="1430" cy="380"/>
            </a:xfrm>
            <a:prstGeom prst="rect">
              <a:avLst/>
            </a:prstGeom>
          </p:spPr>
        </p:pic>
        <p:pic>
          <p:nvPicPr>
            <p:cNvPr id="247" name="图片 246"/>
            <p:cNvPicPr>
              <a:picLocks noChangeAspect="1"/>
            </p:cNvPicPr>
            <p:nvPr/>
          </p:nvPicPr>
          <p:blipFill>
            <a:blip r:embed="rId58" cstate="screen"/>
            <a:stretch>
              <a:fillRect/>
            </a:stretch>
          </p:blipFill>
          <p:spPr>
            <a:xfrm>
              <a:off x="4872" y="5776"/>
              <a:ext cx="1240" cy="284"/>
            </a:xfrm>
            <a:prstGeom prst="rect">
              <a:avLst/>
            </a:prstGeom>
          </p:spPr>
        </p:pic>
        <p:pic>
          <p:nvPicPr>
            <p:cNvPr id="248" name="图片 247"/>
            <p:cNvPicPr>
              <a:picLocks noChangeAspect="1"/>
            </p:cNvPicPr>
            <p:nvPr/>
          </p:nvPicPr>
          <p:blipFill>
            <a:blip r:embed="rId59" cstate="screen"/>
            <a:stretch>
              <a:fillRect/>
            </a:stretch>
          </p:blipFill>
          <p:spPr>
            <a:xfrm>
              <a:off x="6419" y="5777"/>
              <a:ext cx="751" cy="307"/>
            </a:xfrm>
            <a:prstGeom prst="rect">
              <a:avLst/>
            </a:prstGeom>
          </p:spPr>
        </p:pic>
        <p:pic>
          <p:nvPicPr>
            <p:cNvPr id="249" name="图片 248"/>
            <p:cNvPicPr>
              <a:picLocks noChangeAspect="1"/>
            </p:cNvPicPr>
            <p:nvPr/>
          </p:nvPicPr>
          <p:blipFill>
            <a:blip r:embed="rId60" cstate="screen"/>
            <a:stretch>
              <a:fillRect/>
            </a:stretch>
          </p:blipFill>
          <p:spPr>
            <a:xfrm>
              <a:off x="7493" y="5849"/>
              <a:ext cx="1230" cy="229"/>
            </a:xfrm>
            <a:prstGeom prst="rect">
              <a:avLst/>
            </a:prstGeom>
          </p:spPr>
        </p:pic>
        <p:pic>
          <p:nvPicPr>
            <p:cNvPr id="250" name="图片 249"/>
            <p:cNvPicPr>
              <a:picLocks noChangeAspect="1"/>
            </p:cNvPicPr>
            <p:nvPr/>
          </p:nvPicPr>
          <p:blipFill rotWithShape="1">
            <a:blip r:embed="rId61" cstate="screen"/>
            <a:srcRect r="44669" b="-4156"/>
            <a:stretch>
              <a:fillRect/>
            </a:stretch>
          </p:blipFill>
          <p:spPr>
            <a:xfrm>
              <a:off x="9031" y="5730"/>
              <a:ext cx="1377" cy="382"/>
            </a:xfrm>
            <a:prstGeom prst="rect">
              <a:avLst/>
            </a:prstGeom>
          </p:spPr>
        </p:pic>
        <p:pic>
          <p:nvPicPr>
            <p:cNvPr id="251" name="图片 250"/>
            <p:cNvPicPr>
              <a:picLocks noChangeAspect="1"/>
            </p:cNvPicPr>
            <p:nvPr/>
          </p:nvPicPr>
          <p:blipFill>
            <a:blip r:embed="rId62" cstate="screen"/>
            <a:stretch>
              <a:fillRect/>
            </a:stretch>
          </p:blipFill>
          <p:spPr>
            <a:xfrm>
              <a:off x="10621" y="5753"/>
              <a:ext cx="1170" cy="375"/>
            </a:xfrm>
            <a:prstGeom prst="rect">
              <a:avLst/>
            </a:prstGeom>
          </p:spPr>
        </p:pic>
        <p:pic>
          <p:nvPicPr>
            <p:cNvPr id="252" name="图片 251"/>
            <p:cNvPicPr>
              <a:picLocks noChangeAspect="1"/>
            </p:cNvPicPr>
            <p:nvPr/>
          </p:nvPicPr>
          <p:blipFill>
            <a:blip r:embed="rId63" cstate="screen"/>
            <a:stretch>
              <a:fillRect/>
            </a:stretch>
          </p:blipFill>
          <p:spPr>
            <a:xfrm rot="10800000" flipH="1" flipV="1">
              <a:off x="12177" y="5764"/>
              <a:ext cx="543" cy="346"/>
            </a:xfrm>
            <a:prstGeom prst="rect">
              <a:avLst/>
            </a:prstGeom>
          </p:spPr>
        </p:pic>
        <p:pic>
          <p:nvPicPr>
            <p:cNvPr id="253" name="图片 252"/>
            <p:cNvPicPr>
              <a:picLocks noChangeAspect="1"/>
            </p:cNvPicPr>
            <p:nvPr/>
          </p:nvPicPr>
          <p:blipFill>
            <a:blip r:embed="rId64" cstate="screen"/>
            <a:stretch>
              <a:fillRect/>
            </a:stretch>
          </p:blipFill>
          <p:spPr>
            <a:xfrm>
              <a:off x="13049" y="5779"/>
              <a:ext cx="1425" cy="333"/>
            </a:xfrm>
            <a:prstGeom prst="rect">
              <a:avLst/>
            </a:prstGeom>
          </p:spPr>
        </p:pic>
        <p:pic>
          <p:nvPicPr>
            <p:cNvPr id="254" name="图片 253"/>
            <p:cNvPicPr>
              <a:picLocks noChangeAspect="1"/>
            </p:cNvPicPr>
            <p:nvPr/>
          </p:nvPicPr>
          <p:blipFill>
            <a:blip r:embed="rId65" cstate="screen"/>
            <a:stretch>
              <a:fillRect/>
            </a:stretch>
          </p:blipFill>
          <p:spPr>
            <a:xfrm>
              <a:off x="3266" y="6427"/>
              <a:ext cx="1251" cy="446"/>
            </a:xfrm>
            <a:prstGeom prst="rect">
              <a:avLst/>
            </a:prstGeom>
          </p:spPr>
        </p:pic>
        <p:pic>
          <p:nvPicPr>
            <p:cNvPr id="255" name="图片 254"/>
            <p:cNvPicPr>
              <a:picLocks noChangeAspect="1"/>
            </p:cNvPicPr>
            <p:nvPr/>
          </p:nvPicPr>
          <p:blipFill>
            <a:blip r:embed="rId66" cstate="screen"/>
            <a:stretch>
              <a:fillRect/>
            </a:stretch>
          </p:blipFill>
          <p:spPr>
            <a:xfrm>
              <a:off x="4909" y="6539"/>
              <a:ext cx="1572" cy="221"/>
            </a:xfrm>
            <a:prstGeom prst="rect">
              <a:avLst/>
            </a:prstGeom>
          </p:spPr>
        </p:pic>
        <p:pic>
          <p:nvPicPr>
            <p:cNvPr id="256" name="图片 255"/>
            <p:cNvPicPr>
              <a:picLocks noChangeAspect="1"/>
            </p:cNvPicPr>
            <p:nvPr/>
          </p:nvPicPr>
          <p:blipFill>
            <a:blip r:embed="rId67" cstate="screen"/>
            <a:stretch>
              <a:fillRect/>
            </a:stretch>
          </p:blipFill>
          <p:spPr>
            <a:xfrm>
              <a:off x="8866" y="6502"/>
              <a:ext cx="1319" cy="295"/>
            </a:xfrm>
            <a:prstGeom prst="rect">
              <a:avLst/>
            </a:prstGeom>
          </p:spPr>
        </p:pic>
        <p:pic>
          <p:nvPicPr>
            <p:cNvPr id="257" name="图片 256"/>
            <p:cNvPicPr>
              <a:picLocks noChangeAspect="1"/>
            </p:cNvPicPr>
            <p:nvPr/>
          </p:nvPicPr>
          <p:blipFill>
            <a:blip r:embed="rId68" cstate="screen"/>
            <a:stretch>
              <a:fillRect/>
            </a:stretch>
          </p:blipFill>
          <p:spPr>
            <a:xfrm>
              <a:off x="3395" y="7075"/>
              <a:ext cx="1018" cy="259"/>
            </a:xfrm>
            <a:prstGeom prst="rect">
              <a:avLst/>
            </a:prstGeom>
          </p:spPr>
        </p:pic>
        <p:pic>
          <p:nvPicPr>
            <p:cNvPr id="258" name="图片 257"/>
            <p:cNvPicPr>
              <a:picLocks noChangeAspect="1"/>
            </p:cNvPicPr>
            <p:nvPr/>
          </p:nvPicPr>
          <p:blipFill rotWithShape="1">
            <a:blip r:embed="rId69" cstate="screen"/>
            <a:srcRect/>
            <a:stretch>
              <a:fillRect/>
            </a:stretch>
          </p:blipFill>
          <p:spPr>
            <a:xfrm>
              <a:off x="4892" y="6961"/>
              <a:ext cx="1103" cy="368"/>
            </a:xfrm>
            <a:prstGeom prst="rect">
              <a:avLst/>
            </a:prstGeom>
          </p:spPr>
        </p:pic>
        <p:pic>
          <p:nvPicPr>
            <p:cNvPr id="259" name="图片 258"/>
            <p:cNvPicPr>
              <a:picLocks noChangeAspect="1"/>
            </p:cNvPicPr>
            <p:nvPr/>
          </p:nvPicPr>
          <p:blipFill>
            <a:blip r:embed="rId70"/>
            <a:stretch>
              <a:fillRect/>
            </a:stretch>
          </p:blipFill>
          <p:spPr>
            <a:xfrm>
              <a:off x="10273" y="6409"/>
              <a:ext cx="1497" cy="482"/>
            </a:xfrm>
            <a:prstGeom prst="rect">
              <a:avLst/>
            </a:prstGeom>
          </p:spPr>
        </p:pic>
        <p:pic>
          <p:nvPicPr>
            <p:cNvPr id="260" name="图片 259"/>
            <p:cNvPicPr>
              <a:picLocks noChangeAspect="1"/>
            </p:cNvPicPr>
            <p:nvPr/>
          </p:nvPicPr>
          <p:blipFill>
            <a:blip r:embed="rId71" cstate="screen"/>
            <a:stretch>
              <a:fillRect/>
            </a:stretch>
          </p:blipFill>
          <p:spPr>
            <a:xfrm>
              <a:off x="6911" y="6501"/>
              <a:ext cx="1447" cy="298"/>
            </a:xfrm>
            <a:prstGeom prst="rect">
              <a:avLst/>
            </a:prstGeom>
          </p:spPr>
        </p:pic>
        <p:pic>
          <p:nvPicPr>
            <p:cNvPr id="261" name="图片 260"/>
            <p:cNvPicPr>
              <a:picLocks noChangeAspect="1"/>
            </p:cNvPicPr>
            <p:nvPr/>
          </p:nvPicPr>
          <p:blipFill>
            <a:blip r:embed="rId72"/>
            <a:stretch>
              <a:fillRect/>
            </a:stretch>
          </p:blipFill>
          <p:spPr>
            <a:xfrm>
              <a:off x="10290" y="7067"/>
              <a:ext cx="910" cy="197"/>
            </a:xfrm>
            <a:prstGeom prst="rect">
              <a:avLst/>
            </a:prstGeom>
          </p:spPr>
        </p:pic>
        <p:pic>
          <p:nvPicPr>
            <p:cNvPr id="262" name="图片 261"/>
            <p:cNvPicPr>
              <a:picLocks noChangeAspect="1"/>
            </p:cNvPicPr>
            <p:nvPr/>
          </p:nvPicPr>
          <p:blipFill>
            <a:blip r:embed="rId73" cstate="screen"/>
            <a:stretch>
              <a:fillRect/>
            </a:stretch>
          </p:blipFill>
          <p:spPr>
            <a:xfrm>
              <a:off x="13779" y="6840"/>
              <a:ext cx="513" cy="512"/>
            </a:xfrm>
            <a:prstGeom prst="rect">
              <a:avLst/>
            </a:prstGeom>
          </p:spPr>
        </p:pic>
        <p:pic>
          <p:nvPicPr>
            <p:cNvPr id="263" name="图片 262"/>
            <p:cNvPicPr>
              <a:picLocks noChangeAspect="1"/>
            </p:cNvPicPr>
            <p:nvPr/>
          </p:nvPicPr>
          <p:blipFill rotWithShape="1">
            <a:blip r:embed="rId74" cstate="screen"/>
            <a:srcRect b="3991"/>
            <a:stretch>
              <a:fillRect/>
            </a:stretch>
          </p:blipFill>
          <p:spPr>
            <a:xfrm>
              <a:off x="12671" y="6825"/>
              <a:ext cx="764" cy="547"/>
            </a:xfrm>
            <a:prstGeom prst="rect">
              <a:avLst/>
            </a:prstGeom>
          </p:spPr>
        </p:pic>
        <p:pic>
          <p:nvPicPr>
            <p:cNvPr id="264" name="图片 263"/>
            <p:cNvPicPr>
              <a:picLocks noChangeAspect="1"/>
            </p:cNvPicPr>
            <p:nvPr/>
          </p:nvPicPr>
          <p:blipFill>
            <a:blip r:embed="rId75" cstate="screen"/>
            <a:stretch>
              <a:fillRect/>
            </a:stretch>
          </p:blipFill>
          <p:spPr>
            <a:xfrm>
              <a:off x="11644" y="6838"/>
              <a:ext cx="548" cy="522"/>
            </a:xfrm>
            <a:prstGeom prst="rect">
              <a:avLst/>
            </a:prstGeom>
          </p:spPr>
        </p:pic>
        <p:pic>
          <p:nvPicPr>
            <p:cNvPr id="265" name="图片 264"/>
            <p:cNvPicPr>
              <a:picLocks noChangeAspect="1"/>
            </p:cNvPicPr>
            <p:nvPr/>
          </p:nvPicPr>
          <p:blipFill rotWithShape="1">
            <a:blip r:embed="rId76" cstate="screen"/>
            <a:srcRect/>
            <a:stretch>
              <a:fillRect/>
            </a:stretch>
          </p:blipFill>
          <p:spPr>
            <a:xfrm>
              <a:off x="6268" y="7037"/>
              <a:ext cx="1624" cy="339"/>
            </a:xfrm>
            <a:prstGeom prst="rect">
              <a:avLst/>
            </a:prstGeom>
          </p:spPr>
        </p:pic>
        <p:pic>
          <p:nvPicPr>
            <p:cNvPr id="266" name="图片 265"/>
            <p:cNvPicPr>
              <a:picLocks noChangeAspect="1"/>
            </p:cNvPicPr>
            <p:nvPr/>
          </p:nvPicPr>
          <p:blipFill>
            <a:blip r:embed="rId77" cstate="screen"/>
            <a:stretch>
              <a:fillRect/>
            </a:stretch>
          </p:blipFill>
          <p:spPr>
            <a:xfrm>
              <a:off x="8248" y="6877"/>
              <a:ext cx="1438" cy="492"/>
            </a:xfrm>
            <a:prstGeom prst="rect">
              <a:avLst/>
            </a:prstGeom>
          </p:spPr>
        </p:pic>
        <p:pic>
          <p:nvPicPr>
            <p:cNvPr id="267" name="图片 266"/>
            <p:cNvPicPr>
              <a:picLocks noChangeAspect="1"/>
            </p:cNvPicPr>
            <p:nvPr/>
          </p:nvPicPr>
          <p:blipFill>
            <a:blip r:embed="rId78" cstate="screen"/>
            <a:stretch>
              <a:fillRect/>
            </a:stretch>
          </p:blipFill>
          <p:spPr>
            <a:xfrm>
              <a:off x="11978" y="6464"/>
              <a:ext cx="660" cy="374"/>
            </a:xfrm>
            <a:prstGeom prst="rect">
              <a:avLst/>
            </a:prstGeom>
          </p:spPr>
        </p:pic>
        <p:pic>
          <p:nvPicPr>
            <p:cNvPr id="268" name="图片 267"/>
            <p:cNvPicPr>
              <a:picLocks noChangeAspect="1"/>
            </p:cNvPicPr>
            <p:nvPr/>
          </p:nvPicPr>
          <p:blipFill rotWithShape="1">
            <a:blip r:embed="rId79" cstate="screen"/>
            <a:srcRect/>
            <a:stretch>
              <a:fillRect/>
            </a:stretch>
          </p:blipFill>
          <p:spPr>
            <a:xfrm>
              <a:off x="8000" y="8296"/>
              <a:ext cx="1848" cy="750"/>
            </a:xfrm>
            <a:prstGeom prst="rect">
              <a:avLst/>
            </a:prstGeom>
          </p:spPr>
        </p:pic>
        <p:pic>
          <p:nvPicPr>
            <p:cNvPr id="269" name="图片 268"/>
            <p:cNvPicPr>
              <a:picLocks noChangeAspect="1"/>
            </p:cNvPicPr>
            <p:nvPr/>
          </p:nvPicPr>
          <p:blipFill rotWithShape="1">
            <a:blip r:embed="rId80" cstate="screen"/>
            <a:srcRect/>
            <a:stretch>
              <a:fillRect/>
            </a:stretch>
          </p:blipFill>
          <p:spPr>
            <a:xfrm>
              <a:off x="9931" y="8345"/>
              <a:ext cx="1701" cy="567"/>
            </a:xfrm>
            <a:prstGeom prst="rect">
              <a:avLst/>
            </a:prstGeom>
          </p:spPr>
        </p:pic>
        <p:pic>
          <p:nvPicPr>
            <p:cNvPr id="270" name="图片 269"/>
            <p:cNvPicPr>
              <a:picLocks noChangeAspect="1"/>
            </p:cNvPicPr>
            <p:nvPr/>
          </p:nvPicPr>
          <p:blipFill rotWithShape="1">
            <a:blip r:embed="rId81" cstate="screen"/>
            <a:srcRect/>
            <a:stretch>
              <a:fillRect/>
            </a:stretch>
          </p:blipFill>
          <p:spPr>
            <a:xfrm>
              <a:off x="3231" y="8409"/>
              <a:ext cx="1605" cy="575"/>
            </a:xfrm>
            <a:prstGeom prst="rect">
              <a:avLst/>
            </a:prstGeom>
          </p:spPr>
        </p:pic>
        <p:pic>
          <p:nvPicPr>
            <p:cNvPr id="271" name="图片 270"/>
            <p:cNvPicPr>
              <a:picLocks noChangeAspect="1"/>
            </p:cNvPicPr>
            <p:nvPr/>
          </p:nvPicPr>
          <p:blipFill rotWithShape="1">
            <a:blip r:embed="rId82" cstate="screen"/>
            <a:srcRect/>
            <a:stretch>
              <a:fillRect/>
            </a:stretch>
          </p:blipFill>
          <p:spPr>
            <a:xfrm>
              <a:off x="6508" y="8303"/>
              <a:ext cx="1704" cy="630"/>
            </a:xfrm>
            <a:prstGeom prst="rect">
              <a:avLst/>
            </a:prstGeom>
          </p:spPr>
        </p:pic>
        <p:pic>
          <p:nvPicPr>
            <p:cNvPr id="272" name="图片 271"/>
            <p:cNvPicPr>
              <a:picLocks noChangeAspect="1"/>
            </p:cNvPicPr>
            <p:nvPr/>
          </p:nvPicPr>
          <p:blipFill rotWithShape="1">
            <a:blip r:embed="rId83" cstate="screen"/>
            <a:srcRect/>
            <a:stretch>
              <a:fillRect/>
            </a:stretch>
          </p:blipFill>
          <p:spPr>
            <a:xfrm>
              <a:off x="4951" y="8408"/>
              <a:ext cx="1539" cy="577"/>
            </a:xfrm>
            <a:prstGeom prst="rect">
              <a:avLst/>
            </a:prstGeom>
          </p:spPr>
        </p:pic>
        <p:pic>
          <p:nvPicPr>
            <p:cNvPr id="273" name="图片 272"/>
            <p:cNvPicPr>
              <a:picLocks noChangeAspect="1"/>
            </p:cNvPicPr>
            <p:nvPr/>
          </p:nvPicPr>
          <p:blipFill rotWithShape="1">
            <a:blip r:embed="rId84" cstate="screen"/>
            <a:srcRect/>
            <a:stretch>
              <a:fillRect/>
            </a:stretch>
          </p:blipFill>
          <p:spPr>
            <a:xfrm>
              <a:off x="14901" y="8467"/>
              <a:ext cx="1701" cy="486"/>
            </a:xfrm>
            <a:prstGeom prst="rect">
              <a:avLst/>
            </a:prstGeom>
          </p:spPr>
        </p:pic>
        <p:pic>
          <p:nvPicPr>
            <p:cNvPr id="274" name="图片 273"/>
            <p:cNvPicPr>
              <a:picLocks noChangeAspect="1"/>
            </p:cNvPicPr>
            <p:nvPr/>
          </p:nvPicPr>
          <p:blipFill rotWithShape="1">
            <a:blip r:embed="rId85" cstate="screen"/>
            <a:srcRect/>
            <a:stretch>
              <a:fillRect/>
            </a:stretch>
          </p:blipFill>
          <p:spPr>
            <a:xfrm>
              <a:off x="11709" y="8326"/>
              <a:ext cx="1647" cy="700"/>
            </a:xfrm>
            <a:prstGeom prst="rect">
              <a:avLst/>
            </a:prstGeom>
          </p:spPr>
        </p:pic>
        <p:pic>
          <p:nvPicPr>
            <p:cNvPr id="275" name="图片 274"/>
            <p:cNvPicPr>
              <a:picLocks noChangeAspect="1"/>
            </p:cNvPicPr>
            <p:nvPr/>
          </p:nvPicPr>
          <p:blipFill rotWithShape="1">
            <a:blip r:embed="rId86" cstate="screen"/>
            <a:srcRect/>
            <a:stretch>
              <a:fillRect/>
            </a:stretch>
          </p:blipFill>
          <p:spPr>
            <a:xfrm>
              <a:off x="3284" y="8997"/>
              <a:ext cx="1192" cy="568"/>
            </a:xfrm>
            <a:prstGeom prst="rect">
              <a:avLst/>
            </a:prstGeom>
          </p:spPr>
        </p:pic>
        <p:sp>
          <p:nvSpPr>
            <p:cNvPr id="276" name="文本框 275"/>
            <p:cNvSpPr txBox="1"/>
            <p:nvPr/>
          </p:nvSpPr>
          <p:spPr>
            <a:xfrm>
              <a:off x="758" y="9566"/>
              <a:ext cx="1696" cy="713"/>
            </a:xfrm>
            <a:prstGeom prst="rect">
              <a:avLst/>
            </a:prstGeom>
            <a:noFill/>
          </p:spPr>
          <p:txBody>
            <a:bodyPr wrap="none" rtlCol="0">
              <a:spAutoFit/>
            </a:bodyPr>
            <a:lstStyle/>
            <a:p>
              <a:pPr algn="ctr" defTabSz="466390"/>
              <a:r>
                <a:rPr lang="zh-CN" altLang="en-US" sz="1200" dirty="0">
                  <a:solidFill>
                    <a:schemeClr val="bg2">
                      <a:lumMod val="25000"/>
                    </a:schemeClr>
                  </a:solidFill>
                  <a:latin typeface="+mn-ea"/>
                </a:rPr>
                <a:t>政府 </a:t>
              </a:r>
              <a:endParaRPr lang="en-US" altLang="zh-CN" sz="1200" dirty="0">
                <a:solidFill>
                  <a:schemeClr val="bg2">
                    <a:lumMod val="25000"/>
                  </a:schemeClr>
                </a:solidFill>
                <a:latin typeface="+mn-ea"/>
              </a:endParaRPr>
            </a:p>
            <a:p>
              <a:pPr algn="ctr" defTabSz="466390"/>
              <a:r>
                <a:rPr lang="en-US" altLang="zh-CN" sz="1200" dirty="0">
                  <a:solidFill>
                    <a:schemeClr val="bg2">
                      <a:lumMod val="25000"/>
                    </a:schemeClr>
                  </a:solidFill>
                  <a:latin typeface="+mn-ea"/>
                </a:rPr>
                <a:t>Government</a:t>
              </a:r>
            </a:p>
          </p:txBody>
        </p:sp>
        <p:pic>
          <p:nvPicPr>
            <p:cNvPr id="277" name="图片 276"/>
            <p:cNvPicPr>
              <a:picLocks noChangeAspect="1"/>
            </p:cNvPicPr>
            <p:nvPr/>
          </p:nvPicPr>
          <p:blipFill>
            <a:blip r:embed="rId87" cstate="screen"/>
            <a:stretch>
              <a:fillRect/>
            </a:stretch>
          </p:blipFill>
          <p:spPr>
            <a:xfrm>
              <a:off x="3291" y="7732"/>
              <a:ext cx="1297" cy="342"/>
            </a:xfrm>
            <a:prstGeom prst="rect">
              <a:avLst/>
            </a:prstGeom>
          </p:spPr>
        </p:pic>
        <p:pic>
          <p:nvPicPr>
            <p:cNvPr id="278" name="图片 277"/>
            <p:cNvPicPr>
              <a:picLocks noChangeAspect="1"/>
            </p:cNvPicPr>
            <p:nvPr/>
          </p:nvPicPr>
          <p:blipFill>
            <a:blip r:embed="rId88" cstate="screen"/>
            <a:stretch>
              <a:fillRect/>
            </a:stretch>
          </p:blipFill>
          <p:spPr>
            <a:xfrm>
              <a:off x="4941" y="7755"/>
              <a:ext cx="1235" cy="295"/>
            </a:xfrm>
            <a:prstGeom prst="rect">
              <a:avLst/>
            </a:prstGeom>
          </p:spPr>
        </p:pic>
        <p:pic>
          <p:nvPicPr>
            <p:cNvPr id="279" name="图片 278"/>
            <p:cNvPicPr>
              <a:picLocks noChangeAspect="1"/>
            </p:cNvPicPr>
            <p:nvPr/>
          </p:nvPicPr>
          <p:blipFill>
            <a:blip r:embed="rId89" cstate="screen"/>
            <a:stretch>
              <a:fillRect/>
            </a:stretch>
          </p:blipFill>
          <p:spPr>
            <a:xfrm>
              <a:off x="6530" y="7763"/>
              <a:ext cx="970" cy="278"/>
            </a:xfrm>
            <a:prstGeom prst="rect">
              <a:avLst/>
            </a:prstGeom>
          </p:spPr>
        </p:pic>
        <p:pic>
          <p:nvPicPr>
            <p:cNvPr id="280" name="图片 279"/>
            <p:cNvPicPr>
              <a:picLocks noChangeAspect="1"/>
            </p:cNvPicPr>
            <p:nvPr/>
          </p:nvPicPr>
          <p:blipFill>
            <a:blip r:embed="rId90" cstate="screen"/>
            <a:stretch>
              <a:fillRect/>
            </a:stretch>
          </p:blipFill>
          <p:spPr>
            <a:xfrm>
              <a:off x="9867" y="7715"/>
              <a:ext cx="1140" cy="376"/>
            </a:xfrm>
            <a:prstGeom prst="rect">
              <a:avLst/>
            </a:prstGeom>
          </p:spPr>
        </p:pic>
        <p:pic>
          <p:nvPicPr>
            <p:cNvPr id="281" name="图片 280"/>
            <p:cNvPicPr>
              <a:picLocks noChangeAspect="1"/>
            </p:cNvPicPr>
            <p:nvPr/>
          </p:nvPicPr>
          <p:blipFill>
            <a:blip r:embed="rId91" cstate="screen"/>
            <a:stretch>
              <a:fillRect/>
            </a:stretch>
          </p:blipFill>
          <p:spPr>
            <a:xfrm>
              <a:off x="13037" y="7687"/>
              <a:ext cx="1182" cy="431"/>
            </a:xfrm>
            <a:prstGeom prst="rect">
              <a:avLst/>
            </a:prstGeom>
          </p:spPr>
        </p:pic>
        <p:pic>
          <p:nvPicPr>
            <p:cNvPr id="282" name="图片 281"/>
            <p:cNvPicPr>
              <a:picLocks noChangeAspect="1"/>
            </p:cNvPicPr>
            <p:nvPr/>
          </p:nvPicPr>
          <p:blipFill>
            <a:blip r:embed="rId92" cstate="screen"/>
            <a:stretch>
              <a:fillRect/>
            </a:stretch>
          </p:blipFill>
          <p:spPr>
            <a:xfrm>
              <a:off x="11361" y="7722"/>
              <a:ext cx="1322" cy="362"/>
            </a:xfrm>
            <a:prstGeom prst="rect">
              <a:avLst/>
            </a:prstGeom>
          </p:spPr>
        </p:pic>
        <p:pic>
          <p:nvPicPr>
            <p:cNvPr id="283" name="图片 282"/>
            <p:cNvPicPr>
              <a:picLocks noChangeAspect="1"/>
            </p:cNvPicPr>
            <p:nvPr/>
          </p:nvPicPr>
          <p:blipFill>
            <a:blip r:embed="rId93" cstate="screen"/>
            <a:stretch>
              <a:fillRect/>
            </a:stretch>
          </p:blipFill>
          <p:spPr>
            <a:xfrm>
              <a:off x="13614" y="8280"/>
              <a:ext cx="1003" cy="509"/>
            </a:xfrm>
            <a:prstGeom prst="rect">
              <a:avLst/>
            </a:prstGeom>
          </p:spPr>
        </p:pic>
        <p:pic>
          <p:nvPicPr>
            <p:cNvPr id="284" name="图片 283"/>
            <p:cNvPicPr>
              <a:picLocks noChangeAspect="1"/>
            </p:cNvPicPr>
            <p:nvPr/>
          </p:nvPicPr>
          <p:blipFill>
            <a:blip r:embed="rId94" cstate="screen"/>
            <a:stretch>
              <a:fillRect/>
            </a:stretch>
          </p:blipFill>
          <p:spPr>
            <a:xfrm>
              <a:off x="4845" y="9041"/>
              <a:ext cx="1778" cy="398"/>
            </a:xfrm>
            <a:prstGeom prst="rect">
              <a:avLst/>
            </a:prstGeom>
          </p:spPr>
        </p:pic>
        <p:cxnSp>
          <p:nvCxnSpPr>
            <p:cNvPr id="285" name="直接连接符 284"/>
            <p:cNvCxnSpPr/>
            <p:nvPr/>
          </p:nvCxnSpPr>
          <p:spPr>
            <a:xfrm>
              <a:off x="2796" y="3359"/>
              <a:ext cx="15055" cy="0"/>
            </a:xfrm>
            <a:prstGeom prst="line">
              <a:avLst/>
            </a:prstGeom>
            <a:ln w="9525">
              <a:solidFill>
                <a:srgbClr val="004EA2"/>
              </a:solidFill>
            </a:ln>
          </p:spPr>
          <p:style>
            <a:lnRef idx="1">
              <a:schemeClr val="accent1"/>
            </a:lnRef>
            <a:fillRef idx="0">
              <a:schemeClr val="accent1"/>
            </a:fillRef>
            <a:effectRef idx="0">
              <a:schemeClr val="accent1"/>
            </a:effectRef>
            <a:fontRef idx="minor">
              <a:schemeClr val="tx1"/>
            </a:fontRef>
          </p:style>
        </p:cxnSp>
        <p:cxnSp>
          <p:nvCxnSpPr>
            <p:cNvPr id="286" name="直接连接符 285"/>
            <p:cNvCxnSpPr/>
            <p:nvPr/>
          </p:nvCxnSpPr>
          <p:spPr>
            <a:xfrm>
              <a:off x="2783" y="4094"/>
              <a:ext cx="15055" cy="0"/>
            </a:xfrm>
            <a:prstGeom prst="line">
              <a:avLst/>
            </a:prstGeom>
            <a:ln w="9525">
              <a:solidFill>
                <a:srgbClr val="004EA2"/>
              </a:solidFill>
            </a:ln>
          </p:spPr>
          <p:style>
            <a:lnRef idx="1">
              <a:schemeClr val="accent1"/>
            </a:lnRef>
            <a:fillRef idx="0">
              <a:schemeClr val="accent1"/>
            </a:fillRef>
            <a:effectRef idx="0">
              <a:schemeClr val="accent1"/>
            </a:effectRef>
            <a:fontRef idx="minor">
              <a:schemeClr val="tx1"/>
            </a:fontRef>
          </p:style>
        </p:cxnSp>
        <p:cxnSp>
          <p:nvCxnSpPr>
            <p:cNvPr id="287" name="直接连接符 286"/>
            <p:cNvCxnSpPr/>
            <p:nvPr/>
          </p:nvCxnSpPr>
          <p:spPr>
            <a:xfrm>
              <a:off x="2816" y="5513"/>
              <a:ext cx="15055" cy="0"/>
            </a:xfrm>
            <a:prstGeom prst="line">
              <a:avLst/>
            </a:prstGeom>
            <a:ln w="9525">
              <a:solidFill>
                <a:srgbClr val="004EA2"/>
              </a:solidFill>
            </a:ln>
          </p:spPr>
          <p:style>
            <a:lnRef idx="1">
              <a:schemeClr val="accent1"/>
            </a:lnRef>
            <a:fillRef idx="0">
              <a:schemeClr val="accent1"/>
            </a:fillRef>
            <a:effectRef idx="0">
              <a:schemeClr val="accent1"/>
            </a:effectRef>
            <a:fontRef idx="minor">
              <a:schemeClr val="tx1"/>
            </a:fontRef>
          </p:style>
        </p:cxnSp>
        <p:cxnSp>
          <p:nvCxnSpPr>
            <p:cNvPr id="288" name="直接连接符 287"/>
            <p:cNvCxnSpPr/>
            <p:nvPr/>
          </p:nvCxnSpPr>
          <p:spPr>
            <a:xfrm>
              <a:off x="2796" y="6262"/>
              <a:ext cx="15055" cy="0"/>
            </a:xfrm>
            <a:prstGeom prst="line">
              <a:avLst/>
            </a:prstGeom>
            <a:ln w="9525">
              <a:solidFill>
                <a:srgbClr val="004EA2"/>
              </a:solidFill>
            </a:ln>
          </p:spPr>
          <p:style>
            <a:lnRef idx="1">
              <a:schemeClr val="accent1"/>
            </a:lnRef>
            <a:fillRef idx="0">
              <a:schemeClr val="accent1"/>
            </a:fillRef>
            <a:effectRef idx="0">
              <a:schemeClr val="accent1"/>
            </a:effectRef>
            <a:fontRef idx="minor">
              <a:schemeClr val="tx1"/>
            </a:fontRef>
          </p:style>
        </p:cxnSp>
        <p:cxnSp>
          <p:nvCxnSpPr>
            <p:cNvPr id="289" name="直接连接符 288"/>
            <p:cNvCxnSpPr/>
            <p:nvPr/>
          </p:nvCxnSpPr>
          <p:spPr>
            <a:xfrm>
              <a:off x="2857" y="7514"/>
              <a:ext cx="15055" cy="0"/>
            </a:xfrm>
            <a:prstGeom prst="line">
              <a:avLst/>
            </a:prstGeom>
            <a:ln w="9525">
              <a:solidFill>
                <a:srgbClr val="004EA2"/>
              </a:solidFill>
            </a:ln>
          </p:spPr>
          <p:style>
            <a:lnRef idx="1">
              <a:schemeClr val="accent1"/>
            </a:lnRef>
            <a:fillRef idx="0">
              <a:schemeClr val="accent1"/>
            </a:fillRef>
            <a:effectRef idx="0">
              <a:schemeClr val="accent1"/>
            </a:effectRef>
            <a:fontRef idx="minor">
              <a:schemeClr val="tx1"/>
            </a:fontRef>
          </p:style>
        </p:cxnSp>
        <p:cxnSp>
          <p:nvCxnSpPr>
            <p:cNvPr id="290" name="直接连接符 289"/>
            <p:cNvCxnSpPr/>
            <p:nvPr/>
          </p:nvCxnSpPr>
          <p:spPr>
            <a:xfrm>
              <a:off x="2796" y="8235"/>
              <a:ext cx="15055" cy="0"/>
            </a:xfrm>
            <a:prstGeom prst="line">
              <a:avLst/>
            </a:prstGeom>
            <a:ln w="9525">
              <a:solidFill>
                <a:srgbClr val="004EA2"/>
              </a:solidFill>
            </a:ln>
          </p:spPr>
          <p:style>
            <a:lnRef idx="1">
              <a:schemeClr val="accent1"/>
            </a:lnRef>
            <a:fillRef idx="0">
              <a:schemeClr val="accent1"/>
            </a:fillRef>
            <a:effectRef idx="0">
              <a:schemeClr val="accent1"/>
            </a:effectRef>
            <a:fontRef idx="minor">
              <a:schemeClr val="tx1"/>
            </a:fontRef>
          </p:style>
        </p:cxnSp>
        <p:cxnSp>
          <p:nvCxnSpPr>
            <p:cNvPr id="291" name="直接连接符 290"/>
            <p:cNvCxnSpPr/>
            <p:nvPr/>
          </p:nvCxnSpPr>
          <p:spPr>
            <a:xfrm>
              <a:off x="2796" y="9596"/>
              <a:ext cx="15055" cy="0"/>
            </a:xfrm>
            <a:prstGeom prst="line">
              <a:avLst/>
            </a:prstGeom>
            <a:ln w="9525">
              <a:solidFill>
                <a:srgbClr val="004EA2"/>
              </a:solidFill>
            </a:ln>
          </p:spPr>
          <p:style>
            <a:lnRef idx="1">
              <a:schemeClr val="accent1"/>
            </a:lnRef>
            <a:fillRef idx="0">
              <a:schemeClr val="accent1"/>
            </a:fillRef>
            <a:effectRef idx="0">
              <a:schemeClr val="accent1"/>
            </a:effectRef>
            <a:fontRef idx="minor">
              <a:schemeClr val="tx1"/>
            </a:fontRef>
          </p:style>
        </p:cxnSp>
        <p:pic>
          <p:nvPicPr>
            <p:cNvPr id="292" name="图片 291"/>
            <p:cNvPicPr>
              <a:picLocks noChangeAspect="1"/>
            </p:cNvPicPr>
            <p:nvPr/>
          </p:nvPicPr>
          <p:blipFill rotWithShape="1">
            <a:blip r:embed="rId95" cstate="screen"/>
            <a:srcRect l="4326" t="38450" r="4326" b="38450"/>
            <a:stretch>
              <a:fillRect/>
            </a:stretch>
          </p:blipFill>
          <p:spPr>
            <a:xfrm>
              <a:off x="14753" y="5817"/>
              <a:ext cx="1172" cy="222"/>
            </a:xfrm>
            <a:prstGeom prst="rect">
              <a:avLst/>
            </a:prstGeom>
          </p:spPr>
        </p:pic>
        <p:pic>
          <p:nvPicPr>
            <p:cNvPr id="293" name="图片 292"/>
            <p:cNvPicPr>
              <a:picLocks noChangeAspect="1"/>
            </p:cNvPicPr>
            <p:nvPr/>
          </p:nvPicPr>
          <p:blipFill rotWithShape="1">
            <a:blip r:embed="rId96" cstate="screen"/>
            <a:srcRect l="6016" t="21651" r="5271" b="22700"/>
            <a:stretch>
              <a:fillRect/>
            </a:stretch>
          </p:blipFill>
          <p:spPr>
            <a:xfrm>
              <a:off x="7776" y="4957"/>
              <a:ext cx="807" cy="359"/>
            </a:xfrm>
            <a:prstGeom prst="rect">
              <a:avLst/>
            </a:prstGeom>
          </p:spPr>
        </p:pic>
        <p:pic>
          <p:nvPicPr>
            <p:cNvPr id="294" name="图片 293"/>
            <p:cNvPicPr>
              <a:picLocks noChangeAspect="1"/>
            </p:cNvPicPr>
            <p:nvPr/>
          </p:nvPicPr>
          <p:blipFill rotWithShape="1">
            <a:blip r:embed="rId97" cstate="screen"/>
            <a:srcRect t="31194" b="29941"/>
            <a:stretch>
              <a:fillRect/>
            </a:stretch>
          </p:blipFill>
          <p:spPr>
            <a:xfrm>
              <a:off x="16215" y="5848"/>
              <a:ext cx="1022" cy="202"/>
            </a:xfrm>
            <a:prstGeom prst="rect">
              <a:avLst/>
            </a:prstGeom>
          </p:spPr>
        </p:pic>
        <p:sp>
          <p:nvSpPr>
            <p:cNvPr id="295" name="圆角矩形 109"/>
            <p:cNvSpPr txBox="1"/>
            <p:nvPr/>
          </p:nvSpPr>
          <p:spPr bwMode="auto">
            <a:xfrm>
              <a:off x="4220"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西安</a:t>
              </a:r>
            </a:p>
          </p:txBody>
        </p:sp>
        <p:sp>
          <p:nvSpPr>
            <p:cNvPr id="296" name="圆角矩形 110"/>
            <p:cNvSpPr txBox="1"/>
            <p:nvPr/>
          </p:nvSpPr>
          <p:spPr bwMode="auto">
            <a:xfrm>
              <a:off x="5206"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南京</a:t>
              </a:r>
            </a:p>
          </p:txBody>
        </p:sp>
        <p:sp>
          <p:nvSpPr>
            <p:cNvPr id="297" name="圆角矩形 113"/>
            <p:cNvSpPr txBox="1"/>
            <p:nvPr/>
          </p:nvSpPr>
          <p:spPr bwMode="auto">
            <a:xfrm>
              <a:off x="12108"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成都</a:t>
              </a:r>
            </a:p>
          </p:txBody>
        </p:sp>
        <p:sp>
          <p:nvSpPr>
            <p:cNvPr id="298" name="圆角矩形 114"/>
            <p:cNvSpPr txBox="1"/>
            <p:nvPr/>
          </p:nvSpPr>
          <p:spPr bwMode="auto">
            <a:xfrm>
              <a:off x="13094"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济南</a:t>
              </a:r>
            </a:p>
          </p:txBody>
        </p:sp>
        <p:sp>
          <p:nvSpPr>
            <p:cNvPr id="299" name="圆角矩形 115"/>
            <p:cNvSpPr txBox="1"/>
            <p:nvPr/>
          </p:nvSpPr>
          <p:spPr bwMode="auto">
            <a:xfrm>
              <a:off x="8164"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青岛</a:t>
              </a:r>
            </a:p>
          </p:txBody>
        </p:sp>
        <p:sp>
          <p:nvSpPr>
            <p:cNvPr id="300" name="圆角矩形 116"/>
            <p:cNvSpPr txBox="1"/>
            <p:nvPr/>
          </p:nvSpPr>
          <p:spPr bwMode="auto">
            <a:xfrm>
              <a:off x="9150"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合肥</a:t>
              </a:r>
            </a:p>
          </p:txBody>
        </p:sp>
        <p:sp>
          <p:nvSpPr>
            <p:cNvPr id="301" name="圆角矩形 117"/>
            <p:cNvSpPr txBox="1"/>
            <p:nvPr/>
          </p:nvSpPr>
          <p:spPr bwMode="auto">
            <a:xfrm>
              <a:off x="7178"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重庆</a:t>
              </a:r>
            </a:p>
          </p:txBody>
        </p:sp>
        <p:sp>
          <p:nvSpPr>
            <p:cNvPr id="302" name="圆角矩形 118"/>
            <p:cNvSpPr txBox="1"/>
            <p:nvPr/>
          </p:nvSpPr>
          <p:spPr bwMode="auto">
            <a:xfrm>
              <a:off x="3233"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北京</a:t>
              </a:r>
            </a:p>
          </p:txBody>
        </p:sp>
        <p:sp>
          <p:nvSpPr>
            <p:cNvPr id="303" name="圆角矩形 125"/>
            <p:cNvSpPr txBox="1"/>
            <p:nvPr/>
          </p:nvSpPr>
          <p:spPr bwMode="auto">
            <a:xfrm>
              <a:off x="11122"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长沙</a:t>
              </a:r>
            </a:p>
          </p:txBody>
        </p:sp>
        <p:sp>
          <p:nvSpPr>
            <p:cNvPr id="304" name="圆角矩形 126"/>
            <p:cNvSpPr txBox="1"/>
            <p:nvPr/>
          </p:nvSpPr>
          <p:spPr bwMode="auto">
            <a:xfrm>
              <a:off x="14080"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镇江</a:t>
              </a:r>
            </a:p>
          </p:txBody>
        </p:sp>
        <p:sp>
          <p:nvSpPr>
            <p:cNvPr id="305" name="圆角矩形 127"/>
            <p:cNvSpPr txBox="1"/>
            <p:nvPr/>
          </p:nvSpPr>
          <p:spPr bwMode="auto">
            <a:xfrm>
              <a:off x="6192"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深圳</a:t>
              </a:r>
            </a:p>
          </p:txBody>
        </p:sp>
        <p:pic>
          <p:nvPicPr>
            <p:cNvPr id="306" name="图片 305" descr="首都机场logo"/>
            <p:cNvPicPr>
              <a:picLocks noChangeAspect="1"/>
            </p:cNvPicPr>
            <p:nvPr/>
          </p:nvPicPr>
          <p:blipFill>
            <a:blip r:embed="rId98"/>
            <a:stretch>
              <a:fillRect/>
            </a:stretch>
          </p:blipFill>
          <p:spPr>
            <a:xfrm>
              <a:off x="7854" y="7685"/>
              <a:ext cx="1659" cy="435"/>
            </a:xfrm>
            <a:prstGeom prst="rect">
              <a:avLst/>
            </a:prstGeom>
          </p:spPr>
        </p:pic>
        <p:sp>
          <p:nvSpPr>
            <p:cNvPr id="307" name="圆角矩形 3"/>
            <p:cNvSpPr txBox="1"/>
            <p:nvPr/>
          </p:nvSpPr>
          <p:spPr bwMode="auto">
            <a:xfrm>
              <a:off x="16057"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桂林</a:t>
              </a:r>
            </a:p>
          </p:txBody>
        </p:sp>
        <p:sp>
          <p:nvSpPr>
            <p:cNvPr id="308" name="圆角矩形 108"/>
            <p:cNvSpPr txBox="1"/>
            <p:nvPr/>
          </p:nvSpPr>
          <p:spPr bwMode="auto">
            <a:xfrm>
              <a:off x="15066"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无锡</a:t>
              </a:r>
            </a:p>
          </p:txBody>
        </p:sp>
        <p:sp>
          <p:nvSpPr>
            <p:cNvPr id="309" name="圆角矩形 112"/>
            <p:cNvSpPr txBox="1"/>
            <p:nvPr/>
          </p:nvSpPr>
          <p:spPr bwMode="auto">
            <a:xfrm>
              <a:off x="10136"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广州</a:t>
              </a:r>
            </a:p>
          </p:txBody>
        </p:sp>
        <p:sp>
          <p:nvSpPr>
            <p:cNvPr id="310" name="文本框 309"/>
            <p:cNvSpPr txBox="1"/>
            <p:nvPr/>
          </p:nvSpPr>
          <p:spPr bwMode="auto">
            <a:xfrm>
              <a:off x="17009" y="9810"/>
              <a:ext cx="794" cy="510"/>
            </a:xfrm>
            <a:prstGeom prst="roundRect">
              <a:avLst/>
            </a:prstGeom>
            <a:solidFill>
              <a:schemeClr val="bg2">
                <a:lumMod val="90000"/>
              </a:schemeClr>
            </a:solidFill>
            <a:ln>
              <a:noFill/>
            </a:ln>
          </p:spPr>
          <p:txBody>
            <a:bodyPr wrap="square" lIns="0" tIns="0" rIns="0" bIns="0" rtlCol="0" anchor="ctr" anchorCtr="0">
              <a:noAutofit/>
            </a:bodyPr>
            <a:lstStyle>
              <a:lvl1pPr eaLnBrk="0" hangingPunct="0">
                <a:spcBef>
                  <a:spcPct val="20000"/>
                </a:spcBef>
                <a:buChar char="•"/>
                <a:defRPr sz="3200">
                  <a:solidFill>
                    <a:schemeClr val="tx1"/>
                  </a:solidFill>
                  <a:latin typeface="Gulim" pitchFamily="34" charset="-127"/>
                  <a:ea typeface="Gulim" pitchFamily="34" charset="-127"/>
                </a:defRPr>
              </a:lvl1pPr>
              <a:lvl2pPr marL="742950" indent="-285750" eaLnBrk="0" hangingPunct="0">
                <a:spcBef>
                  <a:spcPct val="20000"/>
                </a:spcBef>
                <a:buChar char="–"/>
                <a:defRPr sz="2800">
                  <a:solidFill>
                    <a:schemeClr val="tx1"/>
                  </a:solidFill>
                  <a:latin typeface="Gulim" pitchFamily="34" charset="-127"/>
                  <a:ea typeface="Gulim" pitchFamily="34" charset="-127"/>
                </a:defRPr>
              </a:lvl2pPr>
              <a:lvl3pPr marL="1143000" indent="-228600" eaLnBrk="0" hangingPunct="0">
                <a:spcBef>
                  <a:spcPct val="20000"/>
                </a:spcBef>
                <a:buChar char="•"/>
                <a:defRPr sz="2400">
                  <a:solidFill>
                    <a:schemeClr val="tx1"/>
                  </a:solidFill>
                  <a:latin typeface="Gulim" pitchFamily="34" charset="-127"/>
                  <a:ea typeface="Gulim" pitchFamily="34" charset="-127"/>
                </a:defRPr>
              </a:lvl3pPr>
              <a:lvl4pPr marL="1600200" indent="-228600" eaLnBrk="0" hangingPunct="0">
                <a:spcBef>
                  <a:spcPct val="20000"/>
                </a:spcBef>
                <a:buChar char="–"/>
                <a:defRPr sz="2000">
                  <a:solidFill>
                    <a:schemeClr val="tx1"/>
                  </a:solidFill>
                  <a:latin typeface="Gulim" pitchFamily="34" charset="-127"/>
                  <a:ea typeface="Gulim" pitchFamily="34" charset="-127"/>
                </a:defRPr>
              </a:lvl4pPr>
              <a:lvl5pPr marL="2057400" indent="-228600" eaLnBrk="0" hangingPunct="0">
                <a:spcBef>
                  <a:spcPct val="20000"/>
                </a:spcBef>
                <a:buChar char="»"/>
                <a:defRPr sz="2000">
                  <a:solidFill>
                    <a:schemeClr val="tx1"/>
                  </a:solidFill>
                  <a:latin typeface="Gulim" pitchFamily="34" charset="-127"/>
                  <a:ea typeface="Gulim" pitchFamily="34" charset="-127"/>
                </a:defRPr>
              </a:lvl5pPr>
              <a:lvl6pPr marL="25146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6pPr>
              <a:lvl7pPr marL="29718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7pPr>
              <a:lvl8pPr marL="34290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8pPr>
              <a:lvl9pPr marL="3886200" indent="-228600" eaLnBrk="0" fontAlgn="base" latinLnBrk="1" hangingPunct="0">
                <a:spcBef>
                  <a:spcPct val="20000"/>
                </a:spcBef>
                <a:spcAft>
                  <a:spcPct val="0"/>
                </a:spcAft>
                <a:buChar char="»"/>
                <a:defRPr sz="2000">
                  <a:solidFill>
                    <a:schemeClr val="tx1"/>
                  </a:solidFill>
                  <a:latin typeface="Gulim" pitchFamily="34" charset="-127"/>
                  <a:ea typeface="Gulim" pitchFamily="34" charset="-127"/>
                </a:defRPr>
              </a:lvl9pPr>
            </a:lstStyle>
            <a:p>
              <a:pPr algn="ctr" defTabSz="466390" eaLnBrk="1" hangingPunct="1">
                <a:buNone/>
              </a:pPr>
              <a:r>
                <a:rPr lang="zh-CN" altLang="en-US" sz="1200" b="1" dirty="0">
                  <a:solidFill>
                    <a:schemeClr val="bg2">
                      <a:lumMod val="25000"/>
                    </a:schemeClr>
                  </a:solidFill>
                  <a:latin typeface="+mn-ea"/>
                  <a:ea typeface="+mn-ea"/>
                  <a:cs typeface="微软雅黑" panose="020B0503020204020204" pitchFamily="34" charset="-122"/>
                  <a:sym typeface="+mn-ea"/>
                </a:rPr>
                <a:t>……</a:t>
              </a:r>
            </a:p>
          </p:txBody>
        </p:sp>
      </p:grpSp>
    </p:spTree>
    <p:extLst>
      <p:ext uri="{BB962C8B-B14F-4D97-AF65-F5344CB8AC3E}">
        <p14:creationId xmlns:p14="http://schemas.microsoft.com/office/powerpoint/2010/main" val="2300543929"/>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传统园区发展痛点</a:t>
            </a:r>
            <a:endParaRPr lang="zh-CN" altLang="en-US" dirty="0"/>
          </a:p>
        </p:txBody>
      </p:sp>
      <p:grpSp>
        <p:nvGrpSpPr>
          <p:cNvPr id="5" name="组合 4"/>
          <p:cNvGrpSpPr/>
          <p:nvPr/>
        </p:nvGrpSpPr>
        <p:grpSpPr>
          <a:xfrm>
            <a:off x="345533" y="1516856"/>
            <a:ext cx="11746996" cy="4484509"/>
            <a:chOff x="589522" y="1450551"/>
            <a:chExt cx="11746996" cy="4484509"/>
          </a:xfrm>
        </p:grpSpPr>
        <p:sp>
          <p:nvSpPr>
            <p:cNvPr id="61" name="Freeform 4"/>
            <p:cNvSpPr/>
            <p:nvPr/>
          </p:nvSpPr>
          <p:spPr bwMode="auto">
            <a:xfrm>
              <a:off x="5740017" y="3006583"/>
              <a:ext cx="1872244" cy="1872244"/>
            </a:xfrm>
            <a:custGeom>
              <a:avLst/>
              <a:gdLst/>
              <a:ahLst/>
              <a:cxnLst/>
              <a:rect l="l" t="t" r="r" b="b"/>
              <a:pathLst>
                <a:path w="2628619" h="2628031">
                  <a:moveTo>
                    <a:pt x="1316980" y="400615"/>
                  </a:moveTo>
                  <a:cubicBezTo>
                    <a:pt x="813885" y="400615"/>
                    <a:pt x="406046" y="809559"/>
                    <a:pt x="406046" y="1314016"/>
                  </a:cubicBezTo>
                  <a:cubicBezTo>
                    <a:pt x="406046" y="1818473"/>
                    <a:pt x="813885" y="2227417"/>
                    <a:pt x="1316980" y="2227417"/>
                  </a:cubicBezTo>
                  <a:cubicBezTo>
                    <a:pt x="1820075" y="2227417"/>
                    <a:pt x="2227914" y="1818473"/>
                    <a:pt x="2227914" y="1314016"/>
                  </a:cubicBezTo>
                  <a:cubicBezTo>
                    <a:pt x="2227914" y="809559"/>
                    <a:pt x="1820075" y="400615"/>
                    <a:pt x="1316980" y="400615"/>
                  </a:cubicBezTo>
                  <a:close/>
                  <a:moveTo>
                    <a:pt x="1151586" y="0"/>
                  </a:moveTo>
                  <a:lnTo>
                    <a:pt x="1254227" y="145306"/>
                  </a:lnTo>
                  <a:lnTo>
                    <a:pt x="1316813" y="142801"/>
                  </a:lnTo>
                  <a:lnTo>
                    <a:pt x="1379399" y="145306"/>
                  </a:lnTo>
                  <a:lnTo>
                    <a:pt x="1482041" y="0"/>
                  </a:lnTo>
                  <a:lnTo>
                    <a:pt x="1522096" y="5011"/>
                  </a:lnTo>
                  <a:lnTo>
                    <a:pt x="1564654" y="12526"/>
                  </a:lnTo>
                  <a:lnTo>
                    <a:pt x="1617227" y="182885"/>
                  </a:lnTo>
                  <a:lnTo>
                    <a:pt x="1679813" y="200422"/>
                  </a:lnTo>
                  <a:lnTo>
                    <a:pt x="1707351" y="210443"/>
                  </a:lnTo>
                  <a:lnTo>
                    <a:pt x="1737392" y="220464"/>
                  </a:lnTo>
                  <a:lnTo>
                    <a:pt x="1880089" y="115243"/>
                  </a:lnTo>
                  <a:lnTo>
                    <a:pt x="1917640" y="132780"/>
                  </a:lnTo>
                  <a:lnTo>
                    <a:pt x="1955192" y="152822"/>
                  </a:lnTo>
                  <a:lnTo>
                    <a:pt x="1952689" y="333201"/>
                  </a:lnTo>
                  <a:lnTo>
                    <a:pt x="2002758" y="368275"/>
                  </a:lnTo>
                  <a:lnTo>
                    <a:pt x="2027792" y="388317"/>
                  </a:lnTo>
                  <a:lnTo>
                    <a:pt x="2052827" y="405854"/>
                  </a:lnTo>
                  <a:lnTo>
                    <a:pt x="2223061" y="348233"/>
                  </a:lnTo>
                  <a:lnTo>
                    <a:pt x="2253102" y="378296"/>
                  </a:lnTo>
                  <a:lnTo>
                    <a:pt x="2283144" y="408360"/>
                  </a:lnTo>
                  <a:lnTo>
                    <a:pt x="2225564" y="578718"/>
                  </a:lnTo>
                  <a:lnTo>
                    <a:pt x="2263116" y="626318"/>
                  </a:lnTo>
                  <a:lnTo>
                    <a:pt x="2298164" y="678929"/>
                  </a:lnTo>
                  <a:lnTo>
                    <a:pt x="2475909" y="676424"/>
                  </a:lnTo>
                  <a:lnTo>
                    <a:pt x="2495937" y="711498"/>
                  </a:lnTo>
                  <a:lnTo>
                    <a:pt x="2515964" y="749077"/>
                  </a:lnTo>
                  <a:lnTo>
                    <a:pt x="2408316" y="891877"/>
                  </a:lnTo>
                  <a:lnTo>
                    <a:pt x="2428343" y="952004"/>
                  </a:lnTo>
                  <a:lnTo>
                    <a:pt x="2438357" y="984572"/>
                  </a:lnTo>
                  <a:lnTo>
                    <a:pt x="2445868" y="1014636"/>
                  </a:lnTo>
                  <a:lnTo>
                    <a:pt x="2616102" y="1067246"/>
                  </a:lnTo>
                  <a:lnTo>
                    <a:pt x="2628619" y="1149920"/>
                  </a:lnTo>
                  <a:lnTo>
                    <a:pt x="2483419" y="1252637"/>
                  </a:lnTo>
                  <a:lnTo>
                    <a:pt x="2485923" y="1312763"/>
                  </a:lnTo>
                  <a:lnTo>
                    <a:pt x="2483419" y="1375395"/>
                  </a:lnTo>
                  <a:lnTo>
                    <a:pt x="2628619" y="1478111"/>
                  </a:lnTo>
                  <a:lnTo>
                    <a:pt x="2623612" y="1520701"/>
                  </a:lnTo>
                  <a:lnTo>
                    <a:pt x="2616102" y="1560785"/>
                  </a:lnTo>
                  <a:lnTo>
                    <a:pt x="2445868" y="1615901"/>
                  </a:lnTo>
                  <a:lnTo>
                    <a:pt x="2428343" y="1676028"/>
                  </a:lnTo>
                  <a:lnTo>
                    <a:pt x="2418330" y="1706091"/>
                  </a:lnTo>
                  <a:lnTo>
                    <a:pt x="2408316" y="1736154"/>
                  </a:lnTo>
                  <a:lnTo>
                    <a:pt x="2515964" y="1878955"/>
                  </a:lnTo>
                  <a:lnTo>
                    <a:pt x="2495937" y="1916534"/>
                  </a:lnTo>
                  <a:lnTo>
                    <a:pt x="2475909" y="1951608"/>
                  </a:lnTo>
                  <a:lnTo>
                    <a:pt x="2298164" y="1949102"/>
                  </a:lnTo>
                  <a:lnTo>
                    <a:pt x="2263116" y="2001713"/>
                  </a:lnTo>
                  <a:lnTo>
                    <a:pt x="2245592" y="2026766"/>
                  </a:lnTo>
                  <a:lnTo>
                    <a:pt x="2225564" y="2049313"/>
                  </a:lnTo>
                  <a:lnTo>
                    <a:pt x="2283144" y="2219672"/>
                  </a:lnTo>
                  <a:lnTo>
                    <a:pt x="2253102" y="2252240"/>
                  </a:lnTo>
                  <a:lnTo>
                    <a:pt x="2223061" y="2282304"/>
                  </a:lnTo>
                  <a:lnTo>
                    <a:pt x="2052827" y="2224682"/>
                  </a:lnTo>
                  <a:lnTo>
                    <a:pt x="2002758" y="2262261"/>
                  </a:lnTo>
                  <a:lnTo>
                    <a:pt x="1952689" y="2297335"/>
                  </a:lnTo>
                  <a:lnTo>
                    <a:pt x="1955192" y="2475210"/>
                  </a:lnTo>
                  <a:lnTo>
                    <a:pt x="1917640" y="2495252"/>
                  </a:lnTo>
                  <a:lnTo>
                    <a:pt x="1880089" y="2512789"/>
                  </a:lnTo>
                  <a:lnTo>
                    <a:pt x="1737392" y="2407567"/>
                  </a:lnTo>
                  <a:lnTo>
                    <a:pt x="1679813" y="2427609"/>
                  </a:lnTo>
                  <a:lnTo>
                    <a:pt x="1647268" y="2435125"/>
                  </a:lnTo>
                  <a:lnTo>
                    <a:pt x="1617227" y="2445146"/>
                  </a:lnTo>
                  <a:lnTo>
                    <a:pt x="1564654" y="2615505"/>
                  </a:lnTo>
                  <a:lnTo>
                    <a:pt x="1482041" y="2628031"/>
                  </a:lnTo>
                  <a:lnTo>
                    <a:pt x="1379399" y="2482725"/>
                  </a:lnTo>
                  <a:lnTo>
                    <a:pt x="1316813" y="2482725"/>
                  </a:lnTo>
                  <a:lnTo>
                    <a:pt x="1254227" y="2482725"/>
                  </a:lnTo>
                  <a:lnTo>
                    <a:pt x="1151586" y="2628031"/>
                  </a:lnTo>
                  <a:lnTo>
                    <a:pt x="1109027" y="2623021"/>
                  </a:lnTo>
                  <a:lnTo>
                    <a:pt x="1066469" y="2615505"/>
                  </a:lnTo>
                  <a:lnTo>
                    <a:pt x="1013896" y="2445146"/>
                  </a:lnTo>
                  <a:lnTo>
                    <a:pt x="953813" y="2427609"/>
                  </a:lnTo>
                  <a:lnTo>
                    <a:pt x="923772" y="2417588"/>
                  </a:lnTo>
                  <a:lnTo>
                    <a:pt x="896234" y="2407567"/>
                  </a:lnTo>
                  <a:lnTo>
                    <a:pt x="753538" y="2512789"/>
                  </a:lnTo>
                  <a:lnTo>
                    <a:pt x="715986" y="2495252"/>
                  </a:lnTo>
                  <a:lnTo>
                    <a:pt x="678434" y="2475210"/>
                  </a:lnTo>
                  <a:lnTo>
                    <a:pt x="680938" y="2297335"/>
                  </a:lnTo>
                  <a:lnTo>
                    <a:pt x="630869" y="2262261"/>
                  </a:lnTo>
                  <a:lnTo>
                    <a:pt x="605834" y="2242219"/>
                  </a:lnTo>
                  <a:lnTo>
                    <a:pt x="580800" y="2224682"/>
                  </a:lnTo>
                  <a:lnTo>
                    <a:pt x="410566" y="2282304"/>
                  </a:lnTo>
                  <a:lnTo>
                    <a:pt x="380524" y="2252240"/>
                  </a:lnTo>
                  <a:lnTo>
                    <a:pt x="350483" y="2219672"/>
                  </a:lnTo>
                  <a:lnTo>
                    <a:pt x="408062" y="2049313"/>
                  </a:lnTo>
                  <a:lnTo>
                    <a:pt x="370510" y="2001713"/>
                  </a:lnTo>
                  <a:lnTo>
                    <a:pt x="335462" y="1949102"/>
                  </a:lnTo>
                  <a:lnTo>
                    <a:pt x="157717" y="1951608"/>
                  </a:lnTo>
                  <a:lnTo>
                    <a:pt x="137690" y="1916534"/>
                  </a:lnTo>
                  <a:lnTo>
                    <a:pt x="117662" y="1878955"/>
                  </a:lnTo>
                  <a:lnTo>
                    <a:pt x="225310" y="1736154"/>
                  </a:lnTo>
                  <a:lnTo>
                    <a:pt x="205283" y="1676028"/>
                  </a:lnTo>
                  <a:lnTo>
                    <a:pt x="195269" y="1645964"/>
                  </a:lnTo>
                  <a:lnTo>
                    <a:pt x="187759" y="1615901"/>
                  </a:lnTo>
                  <a:lnTo>
                    <a:pt x="15021" y="1560785"/>
                  </a:lnTo>
                  <a:lnTo>
                    <a:pt x="0" y="1478111"/>
                  </a:lnTo>
                  <a:lnTo>
                    <a:pt x="150207" y="1375395"/>
                  </a:lnTo>
                  <a:lnTo>
                    <a:pt x="147703" y="1312763"/>
                  </a:lnTo>
                  <a:lnTo>
                    <a:pt x="150207" y="1252637"/>
                  </a:lnTo>
                  <a:lnTo>
                    <a:pt x="0" y="1149920"/>
                  </a:lnTo>
                  <a:lnTo>
                    <a:pt x="7510" y="1107331"/>
                  </a:lnTo>
                  <a:lnTo>
                    <a:pt x="15021" y="1067246"/>
                  </a:lnTo>
                  <a:lnTo>
                    <a:pt x="187759" y="1014636"/>
                  </a:lnTo>
                  <a:lnTo>
                    <a:pt x="205283" y="952004"/>
                  </a:lnTo>
                  <a:lnTo>
                    <a:pt x="215297" y="921941"/>
                  </a:lnTo>
                  <a:lnTo>
                    <a:pt x="225310" y="891877"/>
                  </a:lnTo>
                  <a:lnTo>
                    <a:pt x="117662" y="749077"/>
                  </a:lnTo>
                  <a:lnTo>
                    <a:pt x="137690" y="711498"/>
                  </a:lnTo>
                  <a:lnTo>
                    <a:pt x="157717" y="676424"/>
                  </a:lnTo>
                  <a:lnTo>
                    <a:pt x="335462" y="678929"/>
                  </a:lnTo>
                  <a:lnTo>
                    <a:pt x="370510" y="626318"/>
                  </a:lnTo>
                  <a:lnTo>
                    <a:pt x="388034" y="601266"/>
                  </a:lnTo>
                  <a:lnTo>
                    <a:pt x="408062" y="578718"/>
                  </a:lnTo>
                  <a:lnTo>
                    <a:pt x="350483" y="408360"/>
                  </a:lnTo>
                  <a:lnTo>
                    <a:pt x="380524" y="378296"/>
                  </a:lnTo>
                  <a:lnTo>
                    <a:pt x="410566" y="348233"/>
                  </a:lnTo>
                  <a:lnTo>
                    <a:pt x="580800" y="405854"/>
                  </a:lnTo>
                  <a:lnTo>
                    <a:pt x="630869" y="368275"/>
                  </a:lnTo>
                  <a:lnTo>
                    <a:pt x="680938" y="333201"/>
                  </a:lnTo>
                  <a:lnTo>
                    <a:pt x="678434" y="152822"/>
                  </a:lnTo>
                  <a:lnTo>
                    <a:pt x="715986" y="132780"/>
                  </a:lnTo>
                  <a:lnTo>
                    <a:pt x="753538" y="115243"/>
                  </a:lnTo>
                  <a:lnTo>
                    <a:pt x="896234" y="220464"/>
                  </a:lnTo>
                  <a:lnTo>
                    <a:pt x="953813" y="200422"/>
                  </a:lnTo>
                  <a:lnTo>
                    <a:pt x="983855" y="190401"/>
                  </a:lnTo>
                  <a:lnTo>
                    <a:pt x="1013896" y="182885"/>
                  </a:lnTo>
                  <a:lnTo>
                    <a:pt x="1066469" y="12526"/>
                  </a:lnTo>
                  <a:close/>
                </a:path>
              </a:pathLst>
            </a:custGeom>
            <a:solidFill>
              <a:srgbClr val="4BACC6"/>
            </a:solidFill>
            <a:ln w="3175" cap="flat" cmpd="sng" algn="ctr">
              <a:noFill/>
              <a:prstDash val="solid"/>
            </a:ln>
            <a:effectLst/>
          </p:spPr>
          <p:txBody>
            <a:bodyPr lIns="0" rIns="0" anchor="ctr"/>
            <a:lstStyle/>
            <a:p>
              <a:pPr algn="ctr" defTabSz="932779">
                <a:lnSpc>
                  <a:spcPct val="130000"/>
                </a:lnSpc>
                <a:spcBef>
                  <a:spcPts val="434"/>
                </a:spcBef>
                <a:spcAft>
                  <a:spcPts val="434"/>
                </a:spcAft>
                <a:defRPr/>
              </a:pPr>
              <a:r>
                <a:rPr lang="zh-CN" altLang="en-US" sz="2040" b="1" kern="0" dirty="0" smtClean="0">
                  <a:latin typeface="微软雅黑" panose="020B0503020204020204" pitchFamily="34" charset="-122"/>
                  <a:ea typeface="微软雅黑" panose="020B0503020204020204" pitchFamily="34" charset="-122"/>
                  <a:cs typeface="+mn-ea"/>
                  <a:sym typeface="SF Orson Casual Heavy" panose="00000400000000000000" pitchFamily="2" charset="0"/>
                </a:rPr>
                <a:t>企业</a:t>
              </a:r>
              <a:endParaRPr lang="en-US" altLang="zh-CN" sz="2040" b="1" kern="0" dirty="0" smtClean="0">
                <a:latin typeface="微软雅黑" panose="020B0503020204020204" pitchFamily="34" charset="-122"/>
                <a:ea typeface="微软雅黑" panose="020B0503020204020204" pitchFamily="34" charset="-122"/>
                <a:cs typeface="+mn-ea"/>
                <a:sym typeface="SF Orson Casual Heavy" panose="00000400000000000000" pitchFamily="2" charset="0"/>
              </a:endParaRPr>
            </a:p>
            <a:p>
              <a:pPr algn="ctr" defTabSz="932779">
                <a:lnSpc>
                  <a:spcPct val="130000"/>
                </a:lnSpc>
                <a:spcBef>
                  <a:spcPts val="434"/>
                </a:spcBef>
                <a:spcAft>
                  <a:spcPts val="434"/>
                </a:spcAft>
                <a:defRPr/>
              </a:pPr>
              <a:r>
                <a:rPr lang="zh-CN" altLang="en-US" sz="2040" b="1" kern="0" dirty="0" smtClean="0">
                  <a:latin typeface="微软雅黑" panose="020B0503020204020204" pitchFamily="34" charset="-122"/>
                  <a:ea typeface="微软雅黑" panose="020B0503020204020204" pitchFamily="34" charset="-122"/>
                  <a:cs typeface="+mn-ea"/>
                  <a:sym typeface="SF Orson Casual Heavy" panose="00000400000000000000" pitchFamily="2" charset="0"/>
                </a:rPr>
                <a:t>经营</a:t>
              </a:r>
              <a:r>
                <a:rPr lang="zh-CN" altLang="en-US"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rPr>
                <a:t>苦</a:t>
              </a:r>
              <a:endParaRPr lang="en-US"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endParaRPr>
            </a:p>
          </p:txBody>
        </p:sp>
        <p:sp>
          <p:nvSpPr>
            <p:cNvPr id="62" name="Freeform 6"/>
            <p:cNvSpPr/>
            <p:nvPr/>
          </p:nvSpPr>
          <p:spPr bwMode="auto">
            <a:xfrm>
              <a:off x="7612261" y="2643776"/>
              <a:ext cx="1785683" cy="1721511"/>
            </a:xfrm>
            <a:custGeom>
              <a:avLst/>
              <a:gdLst/>
              <a:ahLst/>
              <a:cxnLst/>
              <a:rect l="l" t="t" r="r" b="b"/>
              <a:pathLst>
                <a:path w="1487948" h="1487615">
                  <a:moveTo>
                    <a:pt x="743975" y="297790"/>
                  </a:moveTo>
                  <a:cubicBezTo>
                    <a:pt x="496116" y="297790"/>
                    <a:pt x="295186" y="497479"/>
                    <a:pt x="295186" y="743808"/>
                  </a:cubicBezTo>
                  <a:cubicBezTo>
                    <a:pt x="295186" y="990137"/>
                    <a:pt x="496116" y="1189826"/>
                    <a:pt x="743975" y="1189826"/>
                  </a:cubicBezTo>
                  <a:cubicBezTo>
                    <a:pt x="991834" y="1189826"/>
                    <a:pt x="1192764" y="990137"/>
                    <a:pt x="1192764" y="743808"/>
                  </a:cubicBezTo>
                  <a:cubicBezTo>
                    <a:pt x="1192764" y="497479"/>
                    <a:pt x="991834" y="297790"/>
                    <a:pt x="743975" y="297790"/>
                  </a:cubicBezTo>
                  <a:close/>
                  <a:moveTo>
                    <a:pt x="693753" y="0"/>
                  </a:moveTo>
                  <a:lnTo>
                    <a:pt x="770837" y="149228"/>
                  </a:lnTo>
                  <a:lnTo>
                    <a:pt x="801203" y="151560"/>
                  </a:lnTo>
                  <a:lnTo>
                    <a:pt x="829233" y="153891"/>
                  </a:lnTo>
                  <a:lnTo>
                    <a:pt x="857264" y="158555"/>
                  </a:lnTo>
                  <a:lnTo>
                    <a:pt x="885294" y="163218"/>
                  </a:lnTo>
                  <a:lnTo>
                    <a:pt x="997416" y="41970"/>
                  </a:lnTo>
                  <a:lnTo>
                    <a:pt x="1018439" y="48966"/>
                  </a:lnTo>
                  <a:lnTo>
                    <a:pt x="1037126" y="58292"/>
                  </a:lnTo>
                  <a:lnTo>
                    <a:pt x="1076835" y="74614"/>
                  </a:lnTo>
                  <a:lnTo>
                    <a:pt x="1069828" y="240164"/>
                  </a:lnTo>
                  <a:lnTo>
                    <a:pt x="1093186" y="256485"/>
                  </a:lnTo>
                  <a:lnTo>
                    <a:pt x="1116545" y="272807"/>
                  </a:lnTo>
                  <a:lnTo>
                    <a:pt x="1139904" y="291461"/>
                  </a:lnTo>
                  <a:lnTo>
                    <a:pt x="1160927" y="312446"/>
                  </a:lnTo>
                  <a:lnTo>
                    <a:pt x="1312758" y="261149"/>
                  </a:lnTo>
                  <a:lnTo>
                    <a:pt x="1340789" y="298456"/>
                  </a:lnTo>
                  <a:lnTo>
                    <a:pt x="1352468" y="317109"/>
                  </a:lnTo>
                  <a:lnTo>
                    <a:pt x="1368819" y="335763"/>
                  </a:lnTo>
                  <a:lnTo>
                    <a:pt x="1280056" y="468669"/>
                  </a:lnTo>
                  <a:lnTo>
                    <a:pt x="1287064" y="480327"/>
                  </a:lnTo>
                  <a:lnTo>
                    <a:pt x="1294071" y="496649"/>
                  </a:lnTo>
                  <a:lnTo>
                    <a:pt x="1305750" y="522298"/>
                  </a:lnTo>
                  <a:lnTo>
                    <a:pt x="1315094" y="547946"/>
                  </a:lnTo>
                  <a:lnTo>
                    <a:pt x="1324437" y="575926"/>
                  </a:lnTo>
                  <a:lnTo>
                    <a:pt x="1476269" y="608570"/>
                  </a:lnTo>
                  <a:lnTo>
                    <a:pt x="1483276" y="652872"/>
                  </a:lnTo>
                  <a:lnTo>
                    <a:pt x="1487948" y="701837"/>
                  </a:lnTo>
                  <a:lnTo>
                    <a:pt x="1350132" y="774120"/>
                  </a:lnTo>
                  <a:lnTo>
                    <a:pt x="1347796" y="802100"/>
                  </a:lnTo>
                  <a:lnTo>
                    <a:pt x="1345460" y="830080"/>
                  </a:lnTo>
                  <a:lnTo>
                    <a:pt x="1340789" y="855729"/>
                  </a:lnTo>
                  <a:lnTo>
                    <a:pt x="1333781" y="886040"/>
                  </a:lnTo>
                  <a:lnTo>
                    <a:pt x="1448238" y="988635"/>
                  </a:lnTo>
                  <a:lnTo>
                    <a:pt x="1431887" y="1032937"/>
                  </a:lnTo>
                  <a:lnTo>
                    <a:pt x="1410865" y="1077239"/>
                  </a:lnTo>
                  <a:lnTo>
                    <a:pt x="1259033" y="1067912"/>
                  </a:lnTo>
                  <a:lnTo>
                    <a:pt x="1242682" y="1093560"/>
                  </a:lnTo>
                  <a:lnTo>
                    <a:pt x="1226331" y="1116877"/>
                  </a:lnTo>
                  <a:lnTo>
                    <a:pt x="1209980" y="1137862"/>
                  </a:lnTo>
                  <a:lnTo>
                    <a:pt x="1191293" y="1158848"/>
                  </a:lnTo>
                  <a:lnTo>
                    <a:pt x="1235674" y="1303412"/>
                  </a:lnTo>
                  <a:lnTo>
                    <a:pt x="1198301" y="1336056"/>
                  </a:lnTo>
                  <a:lnTo>
                    <a:pt x="1179614" y="1350046"/>
                  </a:lnTo>
                  <a:lnTo>
                    <a:pt x="1158591" y="1364036"/>
                  </a:lnTo>
                  <a:lnTo>
                    <a:pt x="1030118" y="1282427"/>
                  </a:lnTo>
                  <a:lnTo>
                    <a:pt x="1006759" y="1294085"/>
                  </a:lnTo>
                  <a:lnTo>
                    <a:pt x="981065" y="1305744"/>
                  </a:lnTo>
                  <a:lnTo>
                    <a:pt x="955370" y="1315071"/>
                  </a:lnTo>
                  <a:lnTo>
                    <a:pt x="927340" y="1324397"/>
                  </a:lnTo>
                  <a:lnTo>
                    <a:pt x="892302" y="1475957"/>
                  </a:lnTo>
                  <a:lnTo>
                    <a:pt x="845584" y="1482952"/>
                  </a:lnTo>
                  <a:lnTo>
                    <a:pt x="798867" y="1487615"/>
                  </a:lnTo>
                  <a:lnTo>
                    <a:pt x="728791" y="1350046"/>
                  </a:lnTo>
                  <a:lnTo>
                    <a:pt x="700761" y="1350046"/>
                  </a:lnTo>
                  <a:lnTo>
                    <a:pt x="672730" y="1345382"/>
                  </a:lnTo>
                  <a:lnTo>
                    <a:pt x="642364" y="1343051"/>
                  </a:lnTo>
                  <a:lnTo>
                    <a:pt x="616669" y="1336056"/>
                  </a:lnTo>
                  <a:lnTo>
                    <a:pt x="511555" y="1450308"/>
                  </a:lnTo>
                  <a:lnTo>
                    <a:pt x="488197" y="1443313"/>
                  </a:lnTo>
                  <a:lnTo>
                    <a:pt x="467174" y="1436318"/>
                  </a:lnTo>
                  <a:lnTo>
                    <a:pt x="422792" y="1417665"/>
                  </a:lnTo>
                  <a:lnTo>
                    <a:pt x="429800" y="1259110"/>
                  </a:lnTo>
                  <a:lnTo>
                    <a:pt x="406441" y="1242788"/>
                  </a:lnTo>
                  <a:lnTo>
                    <a:pt x="383083" y="1226467"/>
                  </a:lnTo>
                  <a:lnTo>
                    <a:pt x="362060" y="1210145"/>
                  </a:lnTo>
                  <a:lnTo>
                    <a:pt x="341037" y="1191491"/>
                  </a:lnTo>
                  <a:lnTo>
                    <a:pt x="184534" y="1238125"/>
                  </a:lnTo>
                  <a:lnTo>
                    <a:pt x="156503" y="1205481"/>
                  </a:lnTo>
                  <a:lnTo>
                    <a:pt x="130809" y="1170506"/>
                  </a:lnTo>
                  <a:lnTo>
                    <a:pt x="219572" y="1032937"/>
                  </a:lnTo>
                  <a:lnTo>
                    <a:pt x="207893" y="1007288"/>
                  </a:lnTo>
                  <a:lnTo>
                    <a:pt x="193877" y="981640"/>
                  </a:lnTo>
                  <a:lnTo>
                    <a:pt x="182198" y="955991"/>
                  </a:lnTo>
                  <a:lnTo>
                    <a:pt x="172854" y="928011"/>
                  </a:lnTo>
                  <a:lnTo>
                    <a:pt x="14015" y="893036"/>
                  </a:lnTo>
                  <a:lnTo>
                    <a:pt x="7008" y="848734"/>
                  </a:lnTo>
                  <a:lnTo>
                    <a:pt x="0" y="806763"/>
                  </a:lnTo>
                  <a:lnTo>
                    <a:pt x="147160" y="732149"/>
                  </a:lnTo>
                  <a:lnTo>
                    <a:pt x="149496" y="701837"/>
                  </a:lnTo>
                  <a:lnTo>
                    <a:pt x="151832" y="671525"/>
                  </a:lnTo>
                  <a:lnTo>
                    <a:pt x="156503" y="643545"/>
                  </a:lnTo>
                  <a:lnTo>
                    <a:pt x="161175" y="615565"/>
                  </a:lnTo>
                  <a:lnTo>
                    <a:pt x="39710" y="501312"/>
                  </a:lnTo>
                  <a:lnTo>
                    <a:pt x="53725" y="461674"/>
                  </a:lnTo>
                  <a:lnTo>
                    <a:pt x="70076" y="424367"/>
                  </a:lnTo>
                  <a:lnTo>
                    <a:pt x="238259" y="431362"/>
                  </a:lnTo>
                  <a:lnTo>
                    <a:pt x="254610" y="408045"/>
                  </a:lnTo>
                  <a:lnTo>
                    <a:pt x="273297" y="384728"/>
                  </a:lnTo>
                  <a:lnTo>
                    <a:pt x="289648" y="361411"/>
                  </a:lnTo>
                  <a:lnTo>
                    <a:pt x="310671" y="340426"/>
                  </a:lnTo>
                  <a:lnTo>
                    <a:pt x="259282" y="177208"/>
                  </a:lnTo>
                  <a:lnTo>
                    <a:pt x="289648" y="151560"/>
                  </a:lnTo>
                  <a:lnTo>
                    <a:pt x="322350" y="128243"/>
                  </a:lnTo>
                  <a:lnTo>
                    <a:pt x="467174" y="219179"/>
                  </a:lnTo>
                  <a:lnTo>
                    <a:pt x="492868" y="205188"/>
                  </a:lnTo>
                  <a:lnTo>
                    <a:pt x="518563" y="193530"/>
                  </a:lnTo>
                  <a:lnTo>
                    <a:pt x="546593" y="184203"/>
                  </a:lnTo>
                  <a:lnTo>
                    <a:pt x="574624" y="174877"/>
                  </a:lnTo>
                  <a:lnTo>
                    <a:pt x="609662" y="9327"/>
                  </a:lnTo>
                  <a:lnTo>
                    <a:pt x="630685" y="6995"/>
                  </a:lnTo>
                  <a:lnTo>
                    <a:pt x="651707" y="2332"/>
                  </a:lnTo>
                  <a:close/>
                </a:path>
              </a:pathLst>
            </a:custGeom>
            <a:solidFill>
              <a:srgbClr val="4F81BD"/>
            </a:solidFill>
            <a:ln w="3175" cap="flat" cmpd="sng" algn="ctr">
              <a:noFill/>
              <a:prstDash val="solid"/>
            </a:ln>
            <a:effectLst/>
          </p:spPr>
          <p:txBody>
            <a:bodyPr lIns="0" rIns="0" anchor="ctr"/>
            <a:lstStyle/>
            <a:p>
              <a:pPr algn="ctr" defTabSz="932779">
                <a:spcBef>
                  <a:spcPts val="434"/>
                </a:spcBef>
                <a:spcAft>
                  <a:spcPts val="434"/>
                </a:spcAft>
                <a:defRPr/>
              </a:pPr>
              <a:r>
                <a:rPr lang="zh-CN" altLang="en-US" sz="1836" b="1" kern="0" dirty="0" smtClean="0">
                  <a:latin typeface="微软雅黑" panose="020B0503020204020204" pitchFamily="34" charset="-122"/>
                  <a:ea typeface="微软雅黑" panose="020B0503020204020204" pitchFamily="34" charset="-122"/>
                  <a:cs typeface="+mn-ea"/>
                  <a:sym typeface="SF Orson Casual Heavy" panose="00000400000000000000" pitchFamily="2" charset="0"/>
                </a:rPr>
                <a:t>产业</a:t>
              </a:r>
              <a:endParaRPr lang="en-US" altLang="zh-CN" sz="1836" b="1" kern="0" dirty="0" smtClean="0">
                <a:latin typeface="微软雅黑" panose="020B0503020204020204" pitchFamily="34" charset="-122"/>
                <a:ea typeface="微软雅黑" panose="020B0503020204020204" pitchFamily="34" charset="-122"/>
                <a:cs typeface="+mn-ea"/>
                <a:sym typeface="SF Orson Casual Heavy" panose="00000400000000000000" pitchFamily="2" charset="0"/>
              </a:endParaRPr>
            </a:p>
            <a:p>
              <a:pPr algn="ctr" defTabSz="932779">
                <a:spcBef>
                  <a:spcPts val="434"/>
                </a:spcBef>
                <a:spcAft>
                  <a:spcPts val="434"/>
                </a:spcAft>
                <a:defRPr/>
              </a:pPr>
              <a:r>
                <a:rPr lang="zh-CN" altLang="en-US" sz="1836" b="1" kern="0" dirty="0" smtClean="0">
                  <a:latin typeface="微软雅黑" panose="020B0503020204020204" pitchFamily="34" charset="-122"/>
                  <a:ea typeface="微软雅黑" panose="020B0503020204020204" pitchFamily="34" charset="-122"/>
                  <a:cs typeface="+mn-ea"/>
                  <a:sym typeface="SF Orson Casual Heavy" panose="00000400000000000000" pitchFamily="2" charset="0"/>
                </a:rPr>
                <a:t>发展难</a:t>
              </a:r>
              <a:endParaRPr lang="en-US" sz="1836" b="1" kern="0" dirty="0">
                <a:latin typeface="微软雅黑" panose="020B0503020204020204" pitchFamily="34" charset="-122"/>
                <a:ea typeface="微软雅黑" panose="020B0503020204020204" pitchFamily="34" charset="-122"/>
                <a:cs typeface="+mn-ea"/>
                <a:sym typeface="SF Orson Casual Heavy" panose="00000400000000000000" pitchFamily="2" charset="0"/>
              </a:endParaRPr>
            </a:p>
          </p:txBody>
        </p:sp>
        <p:sp>
          <p:nvSpPr>
            <p:cNvPr id="63" name="Freeform 8"/>
            <p:cNvSpPr/>
            <p:nvPr/>
          </p:nvSpPr>
          <p:spPr bwMode="auto">
            <a:xfrm>
              <a:off x="3840149" y="2364869"/>
              <a:ext cx="1974983" cy="2032627"/>
            </a:xfrm>
            <a:custGeom>
              <a:avLst/>
              <a:gdLst/>
              <a:ahLst/>
              <a:cxnLst/>
              <a:rect l="l" t="t" r="r" b="b"/>
              <a:pathLst>
                <a:path w="2075647" h="2080525">
                  <a:moveTo>
                    <a:pt x="1036488" y="349870"/>
                  </a:moveTo>
                  <a:cubicBezTo>
                    <a:pt x="655847" y="349870"/>
                    <a:pt x="347277" y="658371"/>
                    <a:pt x="347277" y="1038927"/>
                  </a:cubicBezTo>
                  <a:cubicBezTo>
                    <a:pt x="347277" y="1419483"/>
                    <a:pt x="655847" y="1727984"/>
                    <a:pt x="1036488" y="1727984"/>
                  </a:cubicBezTo>
                  <a:cubicBezTo>
                    <a:pt x="1417129" y="1727984"/>
                    <a:pt x="1725699" y="1419483"/>
                    <a:pt x="1725699" y="1038927"/>
                  </a:cubicBezTo>
                  <a:cubicBezTo>
                    <a:pt x="1725699" y="658371"/>
                    <a:pt x="1417129" y="349870"/>
                    <a:pt x="1036488" y="349870"/>
                  </a:cubicBezTo>
                  <a:close/>
                  <a:moveTo>
                    <a:pt x="1096908" y="0"/>
                  </a:moveTo>
                  <a:lnTo>
                    <a:pt x="1138010" y="2569"/>
                  </a:lnTo>
                  <a:lnTo>
                    <a:pt x="1179112" y="7706"/>
                  </a:lnTo>
                  <a:lnTo>
                    <a:pt x="1230489" y="174661"/>
                  </a:lnTo>
                  <a:lnTo>
                    <a:pt x="1261315" y="182367"/>
                  </a:lnTo>
                  <a:lnTo>
                    <a:pt x="1292142" y="192641"/>
                  </a:lnTo>
                  <a:lnTo>
                    <a:pt x="1322968" y="200347"/>
                  </a:lnTo>
                  <a:lnTo>
                    <a:pt x="1353795" y="213190"/>
                  </a:lnTo>
                  <a:lnTo>
                    <a:pt x="1487376" y="100174"/>
                  </a:lnTo>
                  <a:lnTo>
                    <a:pt x="1523340" y="118153"/>
                  </a:lnTo>
                  <a:lnTo>
                    <a:pt x="1559304" y="138702"/>
                  </a:lnTo>
                  <a:lnTo>
                    <a:pt x="1538753" y="313363"/>
                  </a:lnTo>
                  <a:lnTo>
                    <a:pt x="1569580" y="333912"/>
                  </a:lnTo>
                  <a:lnTo>
                    <a:pt x="1595269" y="354460"/>
                  </a:lnTo>
                  <a:lnTo>
                    <a:pt x="1618388" y="375008"/>
                  </a:lnTo>
                  <a:lnTo>
                    <a:pt x="1644077" y="398125"/>
                  </a:lnTo>
                  <a:lnTo>
                    <a:pt x="1811054" y="344186"/>
                  </a:lnTo>
                  <a:lnTo>
                    <a:pt x="1836742" y="375008"/>
                  </a:lnTo>
                  <a:lnTo>
                    <a:pt x="1862431" y="405831"/>
                  </a:lnTo>
                  <a:lnTo>
                    <a:pt x="1777658" y="562512"/>
                  </a:lnTo>
                  <a:lnTo>
                    <a:pt x="1811054" y="619021"/>
                  </a:lnTo>
                  <a:lnTo>
                    <a:pt x="1823898" y="647275"/>
                  </a:lnTo>
                  <a:lnTo>
                    <a:pt x="1839311" y="678097"/>
                  </a:lnTo>
                  <a:lnTo>
                    <a:pt x="2019132" y="693508"/>
                  </a:lnTo>
                  <a:lnTo>
                    <a:pt x="2031976" y="732037"/>
                  </a:lnTo>
                  <a:lnTo>
                    <a:pt x="2042252" y="770565"/>
                  </a:lnTo>
                  <a:lnTo>
                    <a:pt x="1900964" y="881013"/>
                  </a:lnTo>
                  <a:lnTo>
                    <a:pt x="1906102" y="914404"/>
                  </a:lnTo>
                  <a:lnTo>
                    <a:pt x="1911240" y="945226"/>
                  </a:lnTo>
                  <a:lnTo>
                    <a:pt x="1913808" y="981186"/>
                  </a:lnTo>
                  <a:lnTo>
                    <a:pt x="1913808" y="1014577"/>
                  </a:lnTo>
                  <a:lnTo>
                    <a:pt x="2075647" y="1096771"/>
                  </a:lnTo>
                  <a:lnTo>
                    <a:pt x="2073078" y="1135299"/>
                  </a:lnTo>
                  <a:lnTo>
                    <a:pt x="2067941" y="1173827"/>
                  </a:lnTo>
                  <a:lnTo>
                    <a:pt x="1893257" y="1225198"/>
                  </a:lnTo>
                  <a:lnTo>
                    <a:pt x="1885551" y="1258589"/>
                  </a:lnTo>
                  <a:lnTo>
                    <a:pt x="1875275" y="1289412"/>
                  </a:lnTo>
                  <a:lnTo>
                    <a:pt x="1865000" y="1320235"/>
                  </a:lnTo>
                  <a:lnTo>
                    <a:pt x="1854724" y="1351057"/>
                  </a:lnTo>
                  <a:lnTo>
                    <a:pt x="1975461" y="1494896"/>
                  </a:lnTo>
                  <a:lnTo>
                    <a:pt x="1957479" y="1528287"/>
                  </a:lnTo>
                  <a:lnTo>
                    <a:pt x="1942066" y="1559110"/>
                  </a:lnTo>
                  <a:lnTo>
                    <a:pt x="1754538" y="1538561"/>
                  </a:lnTo>
                  <a:lnTo>
                    <a:pt x="1736556" y="1564247"/>
                  </a:lnTo>
                  <a:lnTo>
                    <a:pt x="1716005" y="1592501"/>
                  </a:lnTo>
                  <a:lnTo>
                    <a:pt x="1692886" y="1615618"/>
                  </a:lnTo>
                  <a:lnTo>
                    <a:pt x="1672335" y="1641303"/>
                  </a:lnTo>
                  <a:lnTo>
                    <a:pt x="1728850" y="1821102"/>
                  </a:lnTo>
                  <a:lnTo>
                    <a:pt x="1700592" y="1844219"/>
                  </a:lnTo>
                  <a:lnTo>
                    <a:pt x="1672335" y="1864767"/>
                  </a:lnTo>
                  <a:lnTo>
                    <a:pt x="1507927" y="1774868"/>
                  </a:lnTo>
                  <a:lnTo>
                    <a:pt x="1451412" y="1808259"/>
                  </a:lnTo>
                  <a:lnTo>
                    <a:pt x="1420585" y="1823670"/>
                  </a:lnTo>
                  <a:lnTo>
                    <a:pt x="1392328" y="1839081"/>
                  </a:lnTo>
                  <a:lnTo>
                    <a:pt x="1374346" y="2026586"/>
                  </a:lnTo>
                  <a:lnTo>
                    <a:pt x="1340950" y="2039428"/>
                  </a:lnTo>
                  <a:lnTo>
                    <a:pt x="1307555" y="2047134"/>
                  </a:lnTo>
                  <a:lnTo>
                    <a:pt x="1186818" y="1898158"/>
                  </a:lnTo>
                  <a:lnTo>
                    <a:pt x="1155992" y="1903295"/>
                  </a:lnTo>
                  <a:lnTo>
                    <a:pt x="1122596" y="1908432"/>
                  </a:lnTo>
                  <a:lnTo>
                    <a:pt x="1091770" y="1911001"/>
                  </a:lnTo>
                  <a:lnTo>
                    <a:pt x="1058375" y="1911001"/>
                  </a:lnTo>
                  <a:lnTo>
                    <a:pt x="971033" y="2080525"/>
                  </a:lnTo>
                  <a:lnTo>
                    <a:pt x="935069" y="2077957"/>
                  </a:lnTo>
                  <a:lnTo>
                    <a:pt x="901674" y="2072819"/>
                  </a:lnTo>
                  <a:lnTo>
                    <a:pt x="845158" y="1890452"/>
                  </a:lnTo>
                  <a:lnTo>
                    <a:pt x="814332" y="1882747"/>
                  </a:lnTo>
                  <a:lnTo>
                    <a:pt x="780937" y="1875041"/>
                  </a:lnTo>
                  <a:lnTo>
                    <a:pt x="750110" y="1864767"/>
                  </a:lnTo>
                  <a:lnTo>
                    <a:pt x="719284" y="1851924"/>
                  </a:lnTo>
                  <a:lnTo>
                    <a:pt x="577996" y="1975215"/>
                  </a:lnTo>
                  <a:lnTo>
                    <a:pt x="544601" y="1959803"/>
                  </a:lnTo>
                  <a:lnTo>
                    <a:pt x="511205" y="1939255"/>
                  </a:lnTo>
                  <a:lnTo>
                    <a:pt x="531756" y="1754319"/>
                  </a:lnTo>
                  <a:lnTo>
                    <a:pt x="506068" y="1733771"/>
                  </a:lnTo>
                  <a:lnTo>
                    <a:pt x="480379" y="1713223"/>
                  </a:lnTo>
                  <a:lnTo>
                    <a:pt x="454690" y="1690106"/>
                  </a:lnTo>
                  <a:lnTo>
                    <a:pt x="431570" y="1669557"/>
                  </a:lnTo>
                  <a:lnTo>
                    <a:pt x="254318" y="1726065"/>
                  </a:lnTo>
                  <a:lnTo>
                    <a:pt x="231198" y="1697811"/>
                  </a:lnTo>
                  <a:lnTo>
                    <a:pt x="208079" y="1666989"/>
                  </a:lnTo>
                  <a:lnTo>
                    <a:pt x="297989" y="1505170"/>
                  </a:lnTo>
                  <a:lnTo>
                    <a:pt x="264594" y="1446093"/>
                  </a:lnTo>
                  <a:lnTo>
                    <a:pt x="249181" y="1417839"/>
                  </a:lnTo>
                  <a:lnTo>
                    <a:pt x="236336" y="1387017"/>
                  </a:lnTo>
                  <a:lnTo>
                    <a:pt x="51378" y="1371606"/>
                  </a:lnTo>
                  <a:lnTo>
                    <a:pt x="41102" y="1338214"/>
                  </a:lnTo>
                  <a:lnTo>
                    <a:pt x="30827" y="1302255"/>
                  </a:lnTo>
                  <a:lnTo>
                    <a:pt x="172114" y="1184101"/>
                  </a:lnTo>
                  <a:lnTo>
                    <a:pt x="166977" y="1153279"/>
                  </a:lnTo>
                  <a:lnTo>
                    <a:pt x="164408" y="1119888"/>
                  </a:lnTo>
                  <a:lnTo>
                    <a:pt x="161839" y="1086497"/>
                  </a:lnTo>
                  <a:lnTo>
                    <a:pt x="159270" y="1053105"/>
                  </a:lnTo>
                  <a:lnTo>
                    <a:pt x="0" y="970912"/>
                  </a:lnTo>
                  <a:lnTo>
                    <a:pt x="2569" y="929815"/>
                  </a:lnTo>
                  <a:lnTo>
                    <a:pt x="7707" y="893855"/>
                  </a:lnTo>
                  <a:lnTo>
                    <a:pt x="179821" y="842484"/>
                  </a:lnTo>
                  <a:lnTo>
                    <a:pt x="187528" y="811662"/>
                  </a:lnTo>
                  <a:lnTo>
                    <a:pt x="200372" y="778271"/>
                  </a:lnTo>
                  <a:lnTo>
                    <a:pt x="210647" y="747448"/>
                  </a:lnTo>
                  <a:lnTo>
                    <a:pt x="220923" y="714057"/>
                  </a:lnTo>
                  <a:lnTo>
                    <a:pt x="105324" y="577924"/>
                  </a:lnTo>
                  <a:lnTo>
                    <a:pt x="123306" y="544533"/>
                  </a:lnTo>
                  <a:lnTo>
                    <a:pt x="141288" y="511141"/>
                  </a:lnTo>
                  <a:lnTo>
                    <a:pt x="321109" y="529121"/>
                  </a:lnTo>
                  <a:lnTo>
                    <a:pt x="339091" y="503436"/>
                  </a:lnTo>
                  <a:lnTo>
                    <a:pt x="359642" y="477750"/>
                  </a:lnTo>
                  <a:lnTo>
                    <a:pt x="380193" y="449496"/>
                  </a:lnTo>
                  <a:lnTo>
                    <a:pt x="403313" y="426379"/>
                  </a:lnTo>
                  <a:lnTo>
                    <a:pt x="349366" y="259424"/>
                  </a:lnTo>
                  <a:lnTo>
                    <a:pt x="380193" y="233738"/>
                  </a:lnTo>
                  <a:lnTo>
                    <a:pt x="411019" y="205484"/>
                  </a:lnTo>
                  <a:lnTo>
                    <a:pt x="567720" y="292815"/>
                  </a:lnTo>
                  <a:lnTo>
                    <a:pt x="624236" y="259424"/>
                  </a:lnTo>
                  <a:lnTo>
                    <a:pt x="655062" y="244012"/>
                  </a:lnTo>
                  <a:lnTo>
                    <a:pt x="683320" y="231170"/>
                  </a:lnTo>
                  <a:lnTo>
                    <a:pt x="698733" y="53940"/>
                  </a:lnTo>
                  <a:lnTo>
                    <a:pt x="737266" y="41097"/>
                  </a:lnTo>
                  <a:lnTo>
                    <a:pt x="775799" y="30823"/>
                  </a:lnTo>
                  <a:lnTo>
                    <a:pt x="886260" y="166956"/>
                  </a:lnTo>
                  <a:lnTo>
                    <a:pt x="919656" y="161819"/>
                  </a:lnTo>
                  <a:lnTo>
                    <a:pt x="953051" y="159250"/>
                  </a:lnTo>
                  <a:lnTo>
                    <a:pt x="983877" y="156682"/>
                  </a:lnTo>
                  <a:lnTo>
                    <a:pt x="1017273" y="154113"/>
                  </a:lnTo>
                  <a:close/>
                </a:path>
              </a:pathLst>
            </a:custGeom>
            <a:solidFill>
              <a:srgbClr val="C0504D"/>
            </a:solidFill>
            <a:ln w="3175" cap="flat" cmpd="sng" algn="ctr">
              <a:noFill/>
              <a:prstDash val="solid"/>
            </a:ln>
            <a:effectLst/>
          </p:spPr>
          <p:txBody>
            <a:bodyPr lIns="0" rIns="0" anchor="ctr"/>
            <a:lstStyle/>
            <a:p>
              <a:pPr algn="ctr" defTabSz="932779">
                <a:spcBef>
                  <a:spcPts val="434"/>
                </a:spcBef>
                <a:spcAft>
                  <a:spcPts val="434"/>
                </a:spcAft>
                <a:defRPr/>
              </a:pPr>
              <a:r>
                <a:rPr lang="zh-CN" altLang="en-US"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rPr>
                <a:t>运营</a:t>
              </a:r>
              <a:endParaRPr lang="en-US" altLang="zh-CN"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endParaRPr>
            </a:p>
            <a:p>
              <a:pPr algn="ctr" defTabSz="932779">
                <a:spcBef>
                  <a:spcPts val="434"/>
                </a:spcBef>
                <a:spcAft>
                  <a:spcPts val="434"/>
                </a:spcAft>
                <a:defRPr/>
              </a:pPr>
              <a:r>
                <a:rPr lang="zh-CN" altLang="en-US"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rPr>
                <a:t>效率低</a:t>
              </a:r>
              <a:endParaRPr lang="en-US"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endParaRPr>
            </a:p>
          </p:txBody>
        </p:sp>
        <p:sp>
          <p:nvSpPr>
            <p:cNvPr id="64" name="Freeform 6"/>
            <p:cNvSpPr/>
            <p:nvPr/>
          </p:nvSpPr>
          <p:spPr bwMode="auto">
            <a:xfrm>
              <a:off x="2279589" y="2067002"/>
              <a:ext cx="1515880" cy="1437530"/>
            </a:xfrm>
            <a:custGeom>
              <a:avLst/>
              <a:gdLst/>
              <a:ahLst/>
              <a:cxnLst/>
              <a:rect l="l" t="t" r="r" b="b"/>
              <a:pathLst>
                <a:path w="1487948" h="1487615">
                  <a:moveTo>
                    <a:pt x="743975" y="297790"/>
                  </a:moveTo>
                  <a:cubicBezTo>
                    <a:pt x="496116" y="297790"/>
                    <a:pt x="295186" y="497479"/>
                    <a:pt x="295186" y="743808"/>
                  </a:cubicBezTo>
                  <a:cubicBezTo>
                    <a:pt x="295186" y="990137"/>
                    <a:pt x="496116" y="1189826"/>
                    <a:pt x="743975" y="1189826"/>
                  </a:cubicBezTo>
                  <a:cubicBezTo>
                    <a:pt x="991834" y="1189826"/>
                    <a:pt x="1192764" y="990137"/>
                    <a:pt x="1192764" y="743808"/>
                  </a:cubicBezTo>
                  <a:cubicBezTo>
                    <a:pt x="1192764" y="497479"/>
                    <a:pt x="991834" y="297790"/>
                    <a:pt x="743975" y="297790"/>
                  </a:cubicBezTo>
                  <a:close/>
                  <a:moveTo>
                    <a:pt x="693753" y="0"/>
                  </a:moveTo>
                  <a:lnTo>
                    <a:pt x="770837" y="149228"/>
                  </a:lnTo>
                  <a:lnTo>
                    <a:pt x="801203" y="151560"/>
                  </a:lnTo>
                  <a:lnTo>
                    <a:pt x="829233" y="153891"/>
                  </a:lnTo>
                  <a:lnTo>
                    <a:pt x="857264" y="158555"/>
                  </a:lnTo>
                  <a:lnTo>
                    <a:pt x="885294" y="163218"/>
                  </a:lnTo>
                  <a:lnTo>
                    <a:pt x="997416" y="41970"/>
                  </a:lnTo>
                  <a:lnTo>
                    <a:pt x="1018439" y="48966"/>
                  </a:lnTo>
                  <a:lnTo>
                    <a:pt x="1037126" y="58292"/>
                  </a:lnTo>
                  <a:lnTo>
                    <a:pt x="1076835" y="74614"/>
                  </a:lnTo>
                  <a:lnTo>
                    <a:pt x="1069828" y="240164"/>
                  </a:lnTo>
                  <a:lnTo>
                    <a:pt x="1093186" y="256485"/>
                  </a:lnTo>
                  <a:lnTo>
                    <a:pt x="1116545" y="272807"/>
                  </a:lnTo>
                  <a:lnTo>
                    <a:pt x="1139904" y="291461"/>
                  </a:lnTo>
                  <a:lnTo>
                    <a:pt x="1160927" y="312446"/>
                  </a:lnTo>
                  <a:lnTo>
                    <a:pt x="1312758" y="261149"/>
                  </a:lnTo>
                  <a:lnTo>
                    <a:pt x="1340789" y="298456"/>
                  </a:lnTo>
                  <a:lnTo>
                    <a:pt x="1352468" y="317109"/>
                  </a:lnTo>
                  <a:lnTo>
                    <a:pt x="1368819" y="335763"/>
                  </a:lnTo>
                  <a:lnTo>
                    <a:pt x="1280056" y="468669"/>
                  </a:lnTo>
                  <a:lnTo>
                    <a:pt x="1287064" y="480327"/>
                  </a:lnTo>
                  <a:lnTo>
                    <a:pt x="1294071" y="496649"/>
                  </a:lnTo>
                  <a:lnTo>
                    <a:pt x="1305750" y="522298"/>
                  </a:lnTo>
                  <a:lnTo>
                    <a:pt x="1315094" y="547946"/>
                  </a:lnTo>
                  <a:lnTo>
                    <a:pt x="1324437" y="575926"/>
                  </a:lnTo>
                  <a:lnTo>
                    <a:pt x="1476269" y="608570"/>
                  </a:lnTo>
                  <a:lnTo>
                    <a:pt x="1483276" y="652872"/>
                  </a:lnTo>
                  <a:lnTo>
                    <a:pt x="1487948" y="701837"/>
                  </a:lnTo>
                  <a:lnTo>
                    <a:pt x="1350132" y="774120"/>
                  </a:lnTo>
                  <a:lnTo>
                    <a:pt x="1347796" y="802100"/>
                  </a:lnTo>
                  <a:lnTo>
                    <a:pt x="1345460" y="830080"/>
                  </a:lnTo>
                  <a:lnTo>
                    <a:pt x="1340789" y="855729"/>
                  </a:lnTo>
                  <a:lnTo>
                    <a:pt x="1333781" y="886040"/>
                  </a:lnTo>
                  <a:lnTo>
                    <a:pt x="1448238" y="988635"/>
                  </a:lnTo>
                  <a:lnTo>
                    <a:pt x="1431887" y="1032937"/>
                  </a:lnTo>
                  <a:lnTo>
                    <a:pt x="1410865" y="1077239"/>
                  </a:lnTo>
                  <a:lnTo>
                    <a:pt x="1259033" y="1067912"/>
                  </a:lnTo>
                  <a:lnTo>
                    <a:pt x="1242682" y="1093560"/>
                  </a:lnTo>
                  <a:lnTo>
                    <a:pt x="1226331" y="1116877"/>
                  </a:lnTo>
                  <a:lnTo>
                    <a:pt x="1209980" y="1137862"/>
                  </a:lnTo>
                  <a:lnTo>
                    <a:pt x="1191293" y="1158848"/>
                  </a:lnTo>
                  <a:lnTo>
                    <a:pt x="1235674" y="1303412"/>
                  </a:lnTo>
                  <a:lnTo>
                    <a:pt x="1198301" y="1336056"/>
                  </a:lnTo>
                  <a:lnTo>
                    <a:pt x="1179614" y="1350046"/>
                  </a:lnTo>
                  <a:lnTo>
                    <a:pt x="1158591" y="1364036"/>
                  </a:lnTo>
                  <a:lnTo>
                    <a:pt x="1030118" y="1282427"/>
                  </a:lnTo>
                  <a:lnTo>
                    <a:pt x="1006759" y="1294085"/>
                  </a:lnTo>
                  <a:lnTo>
                    <a:pt x="981065" y="1305744"/>
                  </a:lnTo>
                  <a:lnTo>
                    <a:pt x="955370" y="1315071"/>
                  </a:lnTo>
                  <a:lnTo>
                    <a:pt x="927340" y="1324397"/>
                  </a:lnTo>
                  <a:lnTo>
                    <a:pt x="892302" y="1475957"/>
                  </a:lnTo>
                  <a:lnTo>
                    <a:pt x="845584" y="1482952"/>
                  </a:lnTo>
                  <a:lnTo>
                    <a:pt x="798867" y="1487615"/>
                  </a:lnTo>
                  <a:lnTo>
                    <a:pt x="728791" y="1350046"/>
                  </a:lnTo>
                  <a:lnTo>
                    <a:pt x="700761" y="1350046"/>
                  </a:lnTo>
                  <a:lnTo>
                    <a:pt x="672730" y="1345382"/>
                  </a:lnTo>
                  <a:lnTo>
                    <a:pt x="642364" y="1343051"/>
                  </a:lnTo>
                  <a:lnTo>
                    <a:pt x="616669" y="1336056"/>
                  </a:lnTo>
                  <a:lnTo>
                    <a:pt x="511555" y="1450308"/>
                  </a:lnTo>
                  <a:lnTo>
                    <a:pt x="488197" y="1443313"/>
                  </a:lnTo>
                  <a:lnTo>
                    <a:pt x="467174" y="1436318"/>
                  </a:lnTo>
                  <a:lnTo>
                    <a:pt x="422792" y="1417665"/>
                  </a:lnTo>
                  <a:lnTo>
                    <a:pt x="429800" y="1259110"/>
                  </a:lnTo>
                  <a:lnTo>
                    <a:pt x="406441" y="1242788"/>
                  </a:lnTo>
                  <a:lnTo>
                    <a:pt x="383083" y="1226467"/>
                  </a:lnTo>
                  <a:lnTo>
                    <a:pt x="362060" y="1210145"/>
                  </a:lnTo>
                  <a:lnTo>
                    <a:pt x="341037" y="1191491"/>
                  </a:lnTo>
                  <a:lnTo>
                    <a:pt x="184534" y="1238125"/>
                  </a:lnTo>
                  <a:lnTo>
                    <a:pt x="156503" y="1205481"/>
                  </a:lnTo>
                  <a:lnTo>
                    <a:pt x="130809" y="1170506"/>
                  </a:lnTo>
                  <a:lnTo>
                    <a:pt x="219572" y="1032937"/>
                  </a:lnTo>
                  <a:lnTo>
                    <a:pt x="207893" y="1007288"/>
                  </a:lnTo>
                  <a:lnTo>
                    <a:pt x="193877" y="981640"/>
                  </a:lnTo>
                  <a:lnTo>
                    <a:pt x="182198" y="955991"/>
                  </a:lnTo>
                  <a:lnTo>
                    <a:pt x="172854" y="928011"/>
                  </a:lnTo>
                  <a:lnTo>
                    <a:pt x="14015" y="893036"/>
                  </a:lnTo>
                  <a:lnTo>
                    <a:pt x="7008" y="848734"/>
                  </a:lnTo>
                  <a:lnTo>
                    <a:pt x="0" y="806763"/>
                  </a:lnTo>
                  <a:lnTo>
                    <a:pt x="147160" y="732149"/>
                  </a:lnTo>
                  <a:lnTo>
                    <a:pt x="149496" y="701837"/>
                  </a:lnTo>
                  <a:lnTo>
                    <a:pt x="151832" y="671525"/>
                  </a:lnTo>
                  <a:lnTo>
                    <a:pt x="156503" y="643545"/>
                  </a:lnTo>
                  <a:lnTo>
                    <a:pt x="161175" y="615565"/>
                  </a:lnTo>
                  <a:lnTo>
                    <a:pt x="39710" y="501312"/>
                  </a:lnTo>
                  <a:lnTo>
                    <a:pt x="53725" y="461674"/>
                  </a:lnTo>
                  <a:lnTo>
                    <a:pt x="70076" y="424367"/>
                  </a:lnTo>
                  <a:lnTo>
                    <a:pt x="238259" y="431362"/>
                  </a:lnTo>
                  <a:lnTo>
                    <a:pt x="254610" y="408045"/>
                  </a:lnTo>
                  <a:lnTo>
                    <a:pt x="273297" y="384728"/>
                  </a:lnTo>
                  <a:lnTo>
                    <a:pt x="289648" y="361411"/>
                  </a:lnTo>
                  <a:lnTo>
                    <a:pt x="310671" y="340426"/>
                  </a:lnTo>
                  <a:lnTo>
                    <a:pt x="259282" y="177208"/>
                  </a:lnTo>
                  <a:lnTo>
                    <a:pt x="289648" y="151560"/>
                  </a:lnTo>
                  <a:lnTo>
                    <a:pt x="322350" y="128243"/>
                  </a:lnTo>
                  <a:lnTo>
                    <a:pt x="467174" y="219179"/>
                  </a:lnTo>
                  <a:lnTo>
                    <a:pt x="492868" y="205188"/>
                  </a:lnTo>
                  <a:lnTo>
                    <a:pt x="518563" y="193530"/>
                  </a:lnTo>
                  <a:lnTo>
                    <a:pt x="546593" y="184203"/>
                  </a:lnTo>
                  <a:lnTo>
                    <a:pt x="574624" y="174877"/>
                  </a:lnTo>
                  <a:lnTo>
                    <a:pt x="609662" y="9327"/>
                  </a:lnTo>
                  <a:lnTo>
                    <a:pt x="630685" y="6995"/>
                  </a:lnTo>
                  <a:lnTo>
                    <a:pt x="651707" y="2332"/>
                  </a:lnTo>
                  <a:close/>
                </a:path>
              </a:pathLst>
            </a:custGeom>
            <a:solidFill>
              <a:srgbClr val="4F81BD">
                <a:lumMod val="60000"/>
                <a:lumOff val="40000"/>
              </a:srgbClr>
            </a:solidFill>
            <a:ln w="3175" cap="flat" cmpd="sng" algn="ctr">
              <a:noFill/>
              <a:prstDash val="solid"/>
            </a:ln>
            <a:effectLst/>
          </p:spPr>
          <p:txBody>
            <a:bodyPr lIns="0" rIns="0" anchor="ctr"/>
            <a:lstStyle/>
            <a:p>
              <a:pPr algn="ctr" defTabSz="932779">
                <a:spcBef>
                  <a:spcPts val="434"/>
                </a:spcBef>
                <a:spcAft>
                  <a:spcPts val="434"/>
                </a:spcAft>
                <a:defRPr/>
              </a:pPr>
              <a:r>
                <a:rPr lang="zh-CN" altLang="en-US" sz="1632" b="1" kern="0" dirty="0">
                  <a:latin typeface="微软雅黑" panose="020B0503020204020204" pitchFamily="34" charset="-122"/>
                  <a:ea typeface="微软雅黑" panose="020B0503020204020204" pitchFamily="34" charset="-122"/>
                  <a:cs typeface="+mn-ea"/>
                  <a:sym typeface="SF Orson Casual Heavy" panose="00000400000000000000" pitchFamily="2" charset="0"/>
                </a:rPr>
                <a:t>人员</a:t>
              </a:r>
              <a:endParaRPr lang="en-US" altLang="zh-CN" sz="1632" b="1" kern="0" dirty="0">
                <a:latin typeface="微软雅黑" panose="020B0503020204020204" pitchFamily="34" charset="-122"/>
                <a:ea typeface="微软雅黑" panose="020B0503020204020204" pitchFamily="34" charset="-122"/>
                <a:cs typeface="+mn-ea"/>
                <a:sym typeface="SF Orson Casual Heavy" panose="00000400000000000000" pitchFamily="2" charset="0"/>
              </a:endParaRPr>
            </a:p>
            <a:p>
              <a:pPr algn="ctr" defTabSz="932779">
                <a:spcBef>
                  <a:spcPts val="434"/>
                </a:spcBef>
                <a:spcAft>
                  <a:spcPts val="434"/>
                </a:spcAft>
                <a:defRPr/>
              </a:pPr>
              <a:r>
                <a:rPr lang="zh-CN" altLang="en-US" sz="1632" b="1" kern="0" dirty="0">
                  <a:latin typeface="微软雅黑" panose="020B0503020204020204" pitchFamily="34" charset="-122"/>
                  <a:ea typeface="微软雅黑" panose="020B0503020204020204" pitchFamily="34" charset="-122"/>
                  <a:cs typeface="+mn-ea"/>
                  <a:sym typeface="SF Orson Casual Heavy" panose="00000400000000000000" pitchFamily="2" charset="0"/>
                </a:rPr>
                <a:t>满意低</a:t>
              </a:r>
              <a:endParaRPr lang="en-US" sz="1632" b="1" kern="0" dirty="0">
                <a:latin typeface="微软雅黑" panose="020B0503020204020204" pitchFamily="34" charset="-122"/>
                <a:ea typeface="微软雅黑" panose="020B0503020204020204" pitchFamily="34" charset="-122"/>
                <a:cs typeface="+mn-ea"/>
                <a:sym typeface="SF Orson Casual Heavy" panose="00000400000000000000" pitchFamily="2" charset="0"/>
              </a:endParaRPr>
            </a:p>
          </p:txBody>
        </p:sp>
        <p:sp>
          <p:nvSpPr>
            <p:cNvPr id="68" name="TextBox 19"/>
            <p:cNvSpPr txBox="1">
              <a:spLocks noChangeArrowheads="1"/>
            </p:cNvSpPr>
            <p:nvPr/>
          </p:nvSpPr>
          <p:spPr bwMode="auto">
            <a:xfrm>
              <a:off x="589522" y="2157978"/>
              <a:ext cx="1690066" cy="654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15" tIns="46607" rIns="93215" bIns="46607" numCol="1" anchor="t" anchorCtr="0" compatLnSpc="1">
              <a:spAutoFit/>
            </a:bodyPr>
            <a:lstStyle>
              <a:defPPr>
                <a:defRPr lang="en-US"/>
              </a:defPPr>
              <a:lvl1pPr marL="285750" indent="-285750" fontAlgn="base">
                <a:lnSpc>
                  <a:spcPct val="130000"/>
                </a:lnSpc>
                <a:spcBef>
                  <a:spcPct val="0"/>
                </a:spcBef>
                <a:spcAft>
                  <a:spcPct val="0"/>
                </a:spcAft>
                <a:buFont typeface="Arial" panose="020B0604020202020204" pitchFamily="34" charset="0"/>
                <a:buChar char="•"/>
                <a:defRPr sz="1400">
                  <a:solidFill>
                    <a:prstClr val="white"/>
                  </a:solidFill>
                  <a:latin typeface="微软雅黑" panose="020B0503020204020204" pitchFamily="34" charset="-122"/>
                  <a:cs typeface="+mn-ea"/>
                </a:defRPr>
              </a:lvl1pPr>
            </a:lstStyle>
            <a:p>
              <a:r>
                <a:rPr lang="zh-CN" altLang="en-US" dirty="0" smtClean="0">
                  <a:solidFill>
                    <a:schemeClr val="bg2">
                      <a:lumMod val="25000"/>
                    </a:schemeClr>
                  </a:solidFill>
                  <a:latin typeface="+mn-ea"/>
                  <a:sym typeface="SF Orson Casual Heavy" panose="00000400000000000000" pitchFamily="2" charset="0"/>
                </a:rPr>
                <a:t>环境舒适度低</a:t>
              </a:r>
              <a:endParaRPr lang="en-US" altLang="zh-CN" dirty="0" smtClean="0">
                <a:solidFill>
                  <a:schemeClr val="bg2">
                    <a:lumMod val="25000"/>
                  </a:schemeClr>
                </a:solidFill>
                <a:latin typeface="+mn-ea"/>
                <a:sym typeface="SF Orson Casual Heavy" panose="00000400000000000000" pitchFamily="2" charset="0"/>
              </a:endParaRPr>
            </a:p>
            <a:p>
              <a:r>
                <a:rPr lang="zh-CN" altLang="en-US" dirty="0" smtClean="0">
                  <a:solidFill>
                    <a:schemeClr val="bg2">
                      <a:lumMod val="25000"/>
                    </a:schemeClr>
                  </a:solidFill>
                  <a:latin typeface="+mn-ea"/>
                  <a:sym typeface="SF Orson Casual Heavy" panose="00000400000000000000" pitchFamily="2" charset="0"/>
                </a:rPr>
                <a:t>服务体验不佳</a:t>
              </a:r>
              <a:endParaRPr lang="zh-CN" altLang="en-US" dirty="0">
                <a:solidFill>
                  <a:schemeClr val="bg2">
                    <a:lumMod val="25000"/>
                  </a:schemeClr>
                </a:solidFill>
                <a:latin typeface="+mn-ea"/>
                <a:sym typeface="SF Orson Casual Heavy" panose="00000400000000000000" pitchFamily="2" charset="0"/>
              </a:endParaRPr>
            </a:p>
          </p:txBody>
        </p:sp>
        <p:sp>
          <p:nvSpPr>
            <p:cNvPr id="69" name="TextBox 19"/>
            <p:cNvSpPr txBox="1">
              <a:spLocks noChangeArrowheads="1"/>
            </p:cNvSpPr>
            <p:nvPr/>
          </p:nvSpPr>
          <p:spPr bwMode="auto">
            <a:xfrm>
              <a:off x="808831" y="3726656"/>
              <a:ext cx="3209832" cy="654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15" tIns="46607" rIns="93215" bIns="46607"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1494" indent="-291494" fontAlgn="base">
                <a:lnSpc>
                  <a:spcPct val="130000"/>
                </a:lnSpc>
                <a:spcBef>
                  <a:spcPct val="0"/>
                </a:spcBef>
                <a:spcAft>
                  <a:spcPct val="0"/>
                </a:spcAft>
                <a:buFont typeface="Arial" panose="020B0604020202020204" pitchFamily="34" charset="0"/>
                <a:buChar char="•"/>
                <a:defRPr/>
              </a:pPr>
              <a:r>
                <a:rPr lang="zh-CN" altLang="en-US" sz="1400" dirty="0" smtClean="0">
                  <a:solidFill>
                    <a:schemeClr val="bg2">
                      <a:lumMod val="25000"/>
                    </a:schemeClr>
                  </a:solidFill>
                  <a:latin typeface="+mn-ea"/>
                  <a:cs typeface="+mn-ea"/>
                  <a:sym typeface="+mn-ea"/>
                </a:rPr>
                <a:t>运营手段落后，效率低、效果差</a:t>
              </a:r>
              <a:endParaRPr lang="zh-CN" altLang="en-US" sz="1400" dirty="0">
                <a:solidFill>
                  <a:schemeClr val="bg2">
                    <a:lumMod val="25000"/>
                  </a:schemeClr>
                </a:solidFill>
                <a:latin typeface="+mn-ea"/>
                <a:cs typeface="+mn-ea"/>
                <a:sym typeface="+mn-ea"/>
              </a:endParaRPr>
            </a:p>
            <a:p>
              <a:pPr marL="291494" indent="-291494" fontAlgn="base">
                <a:lnSpc>
                  <a:spcPct val="130000"/>
                </a:lnSpc>
                <a:spcBef>
                  <a:spcPct val="0"/>
                </a:spcBef>
                <a:spcAft>
                  <a:spcPct val="0"/>
                </a:spcAft>
                <a:buFont typeface="Arial" panose="020B0604020202020204" pitchFamily="34" charset="0"/>
                <a:buChar char="•"/>
                <a:defRPr/>
              </a:pPr>
              <a:r>
                <a:rPr lang="zh-CN" altLang="en-US" sz="1400" dirty="0" smtClean="0">
                  <a:solidFill>
                    <a:schemeClr val="bg2">
                      <a:lumMod val="25000"/>
                    </a:schemeClr>
                  </a:solidFill>
                  <a:latin typeface="+mn-ea"/>
                  <a:cs typeface="+mn-ea"/>
                  <a:sym typeface="+mn-ea"/>
                </a:rPr>
                <a:t>依靠人力为主，成本</a:t>
              </a:r>
              <a:r>
                <a:rPr lang="zh-CN" altLang="en-US" sz="1400" dirty="0">
                  <a:solidFill>
                    <a:schemeClr val="bg2">
                      <a:lumMod val="25000"/>
                    </a:schemeClr>
                  </a:solidFill>
                  <a:latin typeface="+mn-ea"/>
                  <a:cs typeface="+mn-ea"/>
                  <a:sym typeface="+mn-ea"/>
                </a:rPr>
                <a:t>高、</a:t>
              </a:r>
              <a:r>
                <a:rPr lang="zh-CN" altLang="en-US" sz="1400" dirty="0">
                  <a:solidFill>
                    <a:schemeClr val="bg2">
                      <a:lumMod val="25000"/>
                    </a:schemeClr>
                  </a:solidFill>
                  <a:latin typeface="+mn-ea"/>
                </a:rPr>
                <a:t>投诉多</a:t>
              </a:r>
              <a:endParaRPr lang="zh-CN" altLang="en-US" sz="1400" dirty="0">
                <a:solidFill>
                  <a:schemeClr val="bg2">
                    <a:lumMod val="25000"/>
                  </a:schemeClr>
                </a:solidFill>
                <a:latin typeface="+mn-ea"/>
                <a:cs typeface="+mn-ea"/>
                <a:sym typeface="+mn-ea"/>
              </a:endParaRPr>
            </a:p>
          </p:txBody>
        </p:sp>
        <p:sp>
          <p:nvSpPr>
            <p:cNvPr id="70" name="TextBox 19"/>
            <p:cNvSpPr txBox="1">
              <a:spLocks noChangeArrowheads="1"/>
            </p:cNvSpPr>
            <p:nvPr/>
          </p:nvSpPr>
          <p:spPr bwMode="auto">
            <a:xfrm>
              <a:off x="9419431" y="3040856"/>
              <a:ext cx="2917087" cy="654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15" tIns="46607" rIns="93215" bIns="46607"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1494" indent="-291494" fontAlgn="base">
                <a:lnSpc>
                  <a:spcPct val="130000"/>
                </a:lnSpc>
                <a:spcBef>
                  <a:spcPct val="0"/>
                </a:spcBef>
                <a:spcAft>
                  <a:spcPct val="0"/>
                </a:spcAft>
                <a:buFont typeface="Arial" panose="020B0604020202020204" pitchFamily="34" charset="0"/>
                <a:buChar char="•"/>
                <a:defRPr/>
              </a:pPr>
              <a:r>
                <a:rPr lang="zh-CN" altLang="en-US" sz="1400" dirty="0" smtClean="0">
                  <a:solidFill>
                    <a:schemeClr val="bg2">
                      <a:lumMod val="25000"/>
                    </a:schemeClr>
                  </a:solidFill>
                  <a:latin typeface="+mn-ea"/>
                  <a:cs typeface="+mn-ea"/>
                  <a:sym typeface="SF Orson Casual Heavy" panose="00000400000000000000" pitchFamily="2" charset="0"/>
                </a:rPr>
                <a:t>发展</a:t>
              </a:r>
              <a:r>
                <a:rPr lang="zh-CN" altLang="en-US" sz="1400" dirty="0">
                  <a:solidFill>
                    <a:schemeClr val="bg2">
                      <a:lumMod val="25000"/>
                    </a:schemeClr>
                  </a:solidFill>
                  <a:latin typeface="+mn-ea"/>
                  <a:cs typeface="+mn-ea"/>
                  <a:sym typeface="SF Orson Casual Heavy" panose="00000400000000000000" pitchFamily="2" charset="0"/>
                </a:rPr>
                <a:t>缺乏</a:t>
              </a:r>
              <a:r>
                <a:rPr lang="zh-CN" altLang="en-US" sz="1400" dirty="0" smtClean="0">
                  <a:solidFill>
                    <a:schemeClr val="bg2">
                      <a:lumMod val="25000"/>
                    </a:schemeClr>
                  </a:solidFill>
                  <a:latin typeface="+mn-ea"/>
                  <a:cs typeface="+mn-ea"/>
                  <a:sym typeface="SF Orson Casual Heavy" panose="00000400000000000000" pitchFamily="2" charset="0"/>
                </a:rPr>
                <a:t>规划</a:t>
              </a:r>
              <a:r>
                <a:rPr lang="zh-CN" altLang="en-US" sz="1400" dirty="0">
                  <a:solidFill>
                    <a:schemeClr val="bg2">
                      <a:lumMod val="25000"/>
                    </a:schemeClr>
                  </a:solidFill>
                  <a:latin typeface="+mn-ea"/>
                  <a:cs typeface="+mn-ea"/>
                  <a:sym typeface="SF Orson Casual Heavy" panose="00000400000000000000" pitchFamily="2" charset="0"/>
                </a:rPr>
                <a:t>，</a:t>
              </a:r>
              <a:r>
                <a:rPr lang="zh-CN" altLang="en-US" sz="1400" dirty="0" smtClean="0">
                  <a:solidFill>
                    <a:schemeClr val="bg2">
                      <a:lumMod val="25000"/>
                    </a:schemeClr>
                  </a:solidFill>
                  <a:latin typeface="+mn-ea"/>
                  <a:cs typeface="+mn-ea"/>
                  <a:sym typeface="SF Orson Casual Heavy" panose="00000400000000000000" pitchFamily="2" charset="0"/>
                </a:rPr>
                <a:t>配套不成熟</a:t>
              </a:r>
              <a:endParaRPr lang="zh-CN" altLang="en-US" sz="1400" dirty="0">
                <a:solidFill>
                  <a:schemeClr val="bg2">
                    <a:lumMod val="25000"/>
                  </a:schemeClr>
                </a:solidFill>
                <a:latin typeface="+mn-ea"/>
                <a:cs typeface="+mn-ea"/>
                <a:sym typeface="SF Orson Casual Heavy" panose="00000400000000000000" pitchFamily="2" charset="0"/>
              </a:endParaRPr>
            </a:p>
            <a:p>
              <a:pPr marL="291494" indent="-291494" fontAlgn="base">
                <a:lnSpc>
                  <a:spcPct val="130000"/>
                </a:lnSpc>
                <a:spcBef>
                  <a:spcPct val="0"/>
                </a:spcBef>
                <a:spcAft>
                  <a:spcPct val="0"/>
                </a:spcAft>
                <a:buFont typeface="Arial" panose="020B0604020202020204" pitchFamily="34" charset="0"/>
                <a:buChar char="•"/>
                <a:defRPr/>
              </a:pPr>
              <a:r>
                <a:rPr lang="zh-CN" altLang="en-US" sz="1400" dirty="0" smtClean="0">
                  <a:solidFill>
                    <a:schemeClr val="bg2">
                      <a:lumMod val="25000"/>
                    </a:schemeClr>
                  </a:solidFill>
                  <a:latin typeface="+mn-ea"/>
                  <a:cs typeface="+mn-ea"/>
                  <a:sym typeface="SF Orson Casual Heavy" panose="00000400000000000000" pitchFamily="2" charset="0"/>
                </a:rPr>
                <a:t>招商引资困难，企业服务弱</a:t>
              </a:r>
              <a:endParaRPr lang="zh-CN" altLang="en-US" sz="1400" dirty="0">
                <a:solidFill>
                  <a:schemeClr val="bg2">
                    <a:lumMod val="25000"/>
                  </a:schemeClr>
                </a:solidFill>
                <a:latin typeface="+mn-ea"/>
                <a:cs typeface="+mn-ea"/>
                <a:sym typeface="SF Orson Casual Heavy" panose="00000400000000000000" pitchFamily="2" charset="0"/>
              </a:endParaRPr>
            </a:p>
          </p:txBody>
        </p:sp>
        <p:sp>
          <p:nvSpPr>
            <p:cNvPr id="72" name="Freeform 8"/>
            <p:cNvSpPr/>
            <p:nvPr/>
          </p:nvSpPr>
          <p:spPr bwMode="auto">
            <a:xfrm>
              <a:off x="4517471" y="4423727"/>
              <a:ext cx="1574158" cy="1511333"/>
            </a:xfrm>
            <a:custGeom>
              <a:avLst/>
              <a:gdLst/>
              <a:ahLst/>
              <a:cxnLst/>
              <a:rect l="l" t="t" r="r" b="b"/>
              <a:pathLst>
                <a:path w="2075647" h="2080525">
                  <a:moveTo>
                    <a:pt x="1036488" y="349870"/>
                  </a:moveTo>
                  <a:cubicBezTo>
                    <a:pt x="655847" y="349870"/>
                    <a:pt x="347277" y="658371"/>
                    <a:pt x="347277" y="1038927"/>
                  </a:cubicBezTo>
                  <a:cubicBezTo>
                    <a:pt x="347277" y="1419483"/>
                    <a:pt x="655847" y="1727984"/>
                    <a:pt x="1036488" y="1727984"/>
                  </a:cubicBezTo>
                  <a:cubicBezTo>
                    <a:pt x="1417129" y="1727984"/>
                    <a:pt x="1725699" y="1419483"/>
                    <a:pt x="1725699" y="1038927"/>
                  </a:cubicBezTo>
                  <a:cubicBezTo>
                    <a:pt x="1725699" y="658371"/>
                    <a:pt x="1417129" y="349870"/>
                    <a:pt x="1036488" y="349870"/>
                  </a:cubicBezTo>
                  <a:close/>
                  <a:moveTo>
                    <a:pt x="1096908" y="0"/>
                  </a:moveTo>
                  <a:lnTo>
                    <a:pt x="1138010" y="2569"/>
                  </a:lnTo>
                  <a:lnTo>
                    <a:pt x="1179112" y="7706"/>
                  </a:lnTo>
                  <a:lnTo>
                    <a:pt x="1230489" y="174661"/>
                  </a:lnTo>
                  <a:lnTo>
                    <a:pt x="1261315" y="182367"/>
                  </a:lnTo>
                  <a:lnTo>
                    <a:pt x="1292142" y="192641"/>
                  </a:lnTo>
                  <a:lnTo>
                    <a:pt x="1322968" y="200347"/>
                  </a:lnTo>
                  <a:lnTo>
                    <a:pt x="1353795" y="213190"/>
                  </a:lnTo>
                  <a:lnTo>
                    <a:pt x="1487376" y="100174"/>
                  </a:lnTo>
                  <a:lnTo>
                    <a:pt x="1523340" y="118153"/>
                  </a:lnTo>
                  <a:lnTo>
                    <a:pt x="1559304" y="138702"/>
                  </a:lnTo>
                  <a:lnTo>
                    <a:pt x="1538753" y="313363"/>
                  </a:lnTo>
                  <a:lnTo>
                    <a:pt x="1569580" y="333912"/>
                  </a:lnTo>
                  <a:lnTo>
                    <a:pt x="1595269" y="354460"/>
                  </a:lnTo>
                  <a:lnTo>
                    <a:pt x="1618388" y="375008"/>
                  </a:lnTo>
                  <a:lnTo>
                    <a:pt x="1644077" y="398125"/>
                  </a:lnTo>
                  <a:lnTo>
                    <a:pt x="1811054" y="344186"/>
                  </a:lnTo>
                  <a:lnTo>
                    <a:pt x="1836742" y="375008"/>
                  </a:lnTo>
                  <a:lnTo>
                    <a:pt x="1862431" y="405831"/>
                  </a:lnTo>
                  <a:lnTo>
                    <a:pt x="1777658" y="562512"/>
                  </a:lnTo>
                  <a:lnTo>
                    <a:pt x="1811054" y="619021"/>
                  </a:lnTo>
                  <a:lnTo>
                    <a:pt x="1823898" y="647275"/>
                  </a:lnTo>
                  <a:lnTo>
                    <a:pt x="1839311" y="678097"/>
                  </a:lnTo>
                  <a:lnTo>
                    <a:pt x="2019132" y="693508"/>
                  </a:lnTo>
                  <a:lnTo>
                    <a:pt x="2031976" y="732037"/>
                  </a:lnTo>
                  <a:lnTo>
                    <a:pt x="2042252" y="770565"/>
                  </a:lnTo>
                  <a:lnTo>
                    <a:pt x="1900964" y="881013"/>
                  </a:lnTo>
                  <a:lnTo>
                    <a:pt x="1906102" y="914404"/>
                  </a:lnTo>
                  <a:lnTo>
                    <a:pt x="1911240" y="945226"/>
                  </a:lnTo>
                  <a:lnTo>
                    <a:pt x="1913808" y="981186"/>
                  </a:lnTo>
                  <a:lnTo>
                    <a:pt x="1913808" y="1014577"/>
                  </a:lnTo>
                  <a:lnTo>
                    <a:pt x="2075647" y="1096771"/>
                  </a:lnTo>
                  <a:lnTo>
                    <a:pt x="2073078" y="1135299"/>
                  </a:lnTo>
                  <a:lnTo>
                    <a:pt x="2067941" y="1173827"/>
                  </a:lnTo>
                  <a:lnTo>
                    <a:pt x="1893257" y="1225198"/>
                  </a:lnTo>
                  <a:lnTo>
                    <a:pt x="1885551" y="1258589"/>
                  </a:lnTo>
                  <a:lnTo>
                    <a:pt x="1875275" y="1289412"/>
                  </a:lnTo>
                  <a:lnTo>
                    <a:pt x="1865000" y="1320235"/>
                  </a:lnTo>
                  <a:lnTo>
                    <a:pt x="1854724" y="1351057"/>
                  </a:lnTo>
                  <a:lnTo>
                    <a:pt x="1975461" y="1494896"/>
                  </a:lnTo>
                  <a:lnTo>
                    <a:pt x="1957479" y="1528287"/>
                  </a:lnTo>
                  <a:lnTo>
                    <a:pt x="1942066" y="1559110"/>
                  </a:lnTo>
                  <a:lnTo>
                    <a:pt x="1754538" y="1538561"/>
                  </a:lnTo>
                  <a:lnTo>
                    <a:pt x="1736556" y="1564247"/>
                  </a:lnTo>
                  <a:lnTo>
                    <a:pt x="1716005" y="1592501"/>
                  </a:lnTo>
                  <a:lnTo>
                    <a:pt x="1692886" y="1615618"/>
                  </a:lnTo>
                  <a:lnTo>
                    <a:pt x="1672335" y="1641303"/>
                  </a:lnTo>
                  <a:lnTo>
                    <a:pt x="1728850" y="1821102"/>
                  </a:lnTo>
                  <a:lnTo>
                    <a:pt x="1700592" y="1844219"/>
                  </a:lnTo>
                  <a:lnTo>
                    <a:pt x="1672335" y="1864767"/>
                  </a:lnTo>
                  <a:lnTo>
                    <a:pt x="1507927" y="1774868"/>
                  </a:lnTo>
                  <a:lnTo>
                    <a:pt x="1451412" y="1808259"/>
                  </a:lnTo>
                  <a:lnTo>
                    <a:pt x="1420585" y="1823670"/>
                  </a:lnTo>
                  <a:lnTo>
                    <a:pt x="1392328" y="1839081"/>
                  </a:lnTo>
                  <a:lnTo>
                    <a:pt x="1374346" y="2026586"/>
                  </a:lnTo>
                  <a:lnTo>
                    <a:pt x="1340950" y="2039428"/>
                  </a:lnTo>
                  <a:lnTo>
                    <a:pt x="1307555" y="2047134"/>
                  </a:lnTo>
                  <a:lnTo>
                    <a:pt x="1186818" y="1898158"/>
                  </a:lnTo>
                  <a:lnTo>
                    <a:pt x="1155992" y="1903295"/>
                  </a:lnTo>
                  <a:lnTo>
                    <a:pt x="1122596" y="1908432"/>
                  </a:lnTo>
                  <a:lnTo>
                    <a:pt x="1091770" y="1911001"/>
                  </a:lnTo>
                  <a:lnTo>
                    <a:pt x="1058375" y="1911001"/>
                  </a:lnTo>
                  <a:lnTo>
                    <a:pt x="971033" y="2080525"/>
                  </a:lnTo>
                  <a:lnTo>
                    <a:pt x="935069" y="2077957"/>
                  </a:lnTo>
                  <a:lnTo>
                    <a:pt x="901674" y="2072819"/>
                  </a:lnTo>
                  <a:lnTo>
                    <a:pt x="845158" y="1890452"/>
                  </a:lnTo>
                  <a:lnTo>
                    <a:pt x="814332" y="1882747"/>
                  </a:lnTo>
                  <a:lnTo>
                    <a:pt x="780937" y="1875041"/>
                  </a:lnTo>
                  <a:lnTo>
                    <a:pt x="750110" y="1864767"/>
                  </a:lnTo>
                  <a:lnTo>
                    <a:pt x="719284" y="1851924"/>
                  </a:lnTo>
                  <a:lnTo>
                    <a:pt x="577996" y="1975215"/>
                  </a:lnTo>
                  <a:lnTo>
                    <a:pt x="544601" y="1959803"/>
                  </a:lnTo>
                  <a:lnTo>
                    <a:pt x="511205" y="1939255"/>
                  </a:lnTo>
                  <a:lnTo>
                    <a:pt x="531756" y="1754319"/>
                  </a:lnTo>
                  <a:lnTo>
                    <a:pt x="506068" y="1733771"/>
                  </a:lnTo>
                  <a:lnTo>
                    <a:pt x="480379" y="1713223"/>
                  </a:lnTo>
                  <a:lnTo>
                    <a:pt x="454690" y="1690106"/>
                  </a:lnTo>
                  <a:lnTo>
                    <a:pt x="431570" y="1669557"/>
                  </a:lnTo>
                  <a:lnTo>
                    <a:pt x="254318" y="1726065"/>
                  </a:lnTo>
                  <a:lnTo>
                    <a:pt x="231198" y="1697811"/>
                  </a:lnTo>
                  <a:lnTo>
                    <a:pt x="208079" y="1666989"/>
                  </a:lnTo>
                  <a:lnTo>
                    <a:pt x="297989" y="1505170"/>
                  </a:lnTo>
                  <a:lnTo>
                    <a:pt x="264594" y="1446093"/>
                  </a:lnTo>
                  <a:lnTo>
                    <a:pt x="249181" y="1417839"/>
                  </a:lnTo>
                  <a:lnTo>
                    <a:pt x="236336" y="1387017"/>
                  </a:lnTo>
                  <a:lnTo>
                    <a:pt x="51378" y="1371606"/>
                  </a:lnTo>
                  <a:lnTo>
                    <a:pt x="41102" y="1338214"/>
                  </a:lnTo>
                  <a:lnTo>
                    <a:pt x="30827" y="1302255"/>
                  </a:lnTo>
                  <a:lnTo>
                    <a:pt x="172114" y="1184101"/>
                  </a:lnTo>
                  <a:lnTo>
                    <a:pt x="166977" y="1153279"/>
                  </a:lnTo>
                  <a:lnTo>
                    <a:pt x="164408" y="1119888"/>
                  </a:lnTo>
                  <a:lnTo>
                    <a:pt x="161839" y="1086497"/>
                  </a:lnTo>
                  <a:lnTo>
                    <a:pt x="159270" y="1053105"/>
                  </a:lnTo>
                  <a:lnTo>
                    <a:pt x="0" y="970912"/>
                  </a:lnTo>
                  <a:lnTo>
                    <a:pt x="2569" y="929815"/>
                  </a:lnTo>
                  <a:lnTo>
                    <a:pt x="7707" y="893855"/>
                  </a:lnTo>
                  <a:lnTo>
                    <a:pt x="179821" y="842484"/>
                  </a:lnTo>
                  <a:lnTo>
                    <a:pt x="187528" y="811662"/>
                  </a:lnTo>
                  <a:lnTo>
                    <a:pt x="200372" y="778271"/>
                  </a:lnTo>
                  <a:lnTo>
                    <a:pt x="210647" y="747448"/>
                  </a:lnTo>
                  <a:lnTo>
                    <a:pt x="220923" y="714057"/>
                  </a:lnTo>
                  <a:lnTo>
                    <a:pt x="105324" y="577924"/>
                  </a:lnTo>
                  <a:lnTo>
                    <a:pt x="123306" y="544533"/>
                  </a:lnTo>
                  <a:lnTo>
                    <a:pt x="141288" y="511141"/>
                  </a:lnTo>
                  <a:lnTo>
                    <a:pt x="321109" y="529121"/>
                  </a:lnTo>
                  <a:lnTo>
                    <a:pt x="339091" y="503436"/>
                  </a:lnTo>
                  <a:lnTo>
                    <a:pt x="359642" y="477750"/>
                  </a:lnTo>
                  <a:lnTo>
                    <a:pt x="380193" y="449496"/>
                  </a:lnTo>
                  <a:lnTo>
                    <a:pt x="403313" y="426379"/>
                  </a:lnTo>
                  <a:lnTo>
                    <a:pt x="349366" y="259424"/>
                  </a:lnTo>
                  <a:lnTo>
                    <a:pt x="380193" y="233738"/>
                  </a:lnTo>
                  <a:lnTo>
                    <a:pt x="411019" y="205484"/>
                  </a:lnTo>
                  <a:lnTo>
                    <a:pt x="567720" y="292815"/>
                  </a:lnTo>
                  <a:lnTo>
                    <a:pt x="624236" y="259424"/>
                  </a:lnTo>
                  <a:lnTo>
                    <a:pt x="655062" y="244012"/>
                  </a:lnTo>
                  <a:lnTo>
                    <a:pt x="683320" y="231170"/>
                  </a:lnTo>
                  <a:lnTo>
                    <a:pt x="698733" y="53940"/>
                  </a:lnTo>
                  <a:lnTo>
                    <a:pt x="737266" y="41097"/>
                  </a:lnTo>
                  <a:lnTo>
                    <a:pt x="775799" y="30823"/>
                  </a:lnTo>
                  <a:lnTo>
                    <a:pt x="886260" y="166956"/>
                  </a:lnTo>
                  <a:lnTo>
                    <a:pt x="919656" y="161819"/>
                  </a:lnTo>
                  <a:lnTo>
                    <a:pt x="953051" y="159250"/>
                  </a:lnTo>
                  <a:lnTo>
                    <a:pt x="983877" y="156682"/>
                  </a:lnTo>
                  <a:lnTo>
                    <a:pt x="1017273" y="154113"/>
                  </a:lnTo>
                  <a:close/>
                </a:path>
              </a:pathLst>
            </a:custGeom>
            <a:solidFill>
              <a:srgbClr val="9BBB59"/>
            </a:solidFill>
            <a:ln w="3175" cap="flat" cmpd="sng" algn="ctr">
              <a:noFill/>
              <a:prstDash val="solid"/>
            </a:ln>
            <a:effectLst/>
          </p:spPr>
          <p:txBody>
            <a:bodyPr lIns="0" rIns="0" anchor="ctr"/>
            <a:lstStyle/>
            <a:p>
              <a:pPr algn="ctr" defTabSz="932779">
                <a:spcBef>
                  <a:spcPts val="434"/>
                </a:spcBef>
                <a:spcAft>
                  <a:spcPts val="434"/>
                </a:spcAft>
                <a:defRPr/>
              </a:pPr>
              <a:r>
                <a:rPr lang="zh-CN" altLang="en-US"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rPr>
                <a:t>安全</a:t>
              </a:r>
              <a:endParaRPr lang="en-US" altLang="zh-CN"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endParaRPr>
            </a:p>
            <a:p>
              <a:pPr algn="ctr" defTabSz="932779">
                <a:spcBef>
                  <a:spcPts val="434"/>
                </a:spcBef>
                <a:spcAft>
                  <a:spcPts val="434"/>
                </a:spcAft>
                <a:defRPr/>
              </a:pPr>
              <a:r>
                <a:rPr lang="zh-CN" altLang="en-US" sz="2040" b="1" kern="0" dirty="0">
                  <a:latin typeface="微软雅黑" panose="020B0503020204020204" pitchFamily="34" charset="-122"/>
                  <a:ea typeface="微软雅黑" panose="020B0503020204020204" pitchFamily="34" charset="-122"/>
                  <a:cs typeface="+mn-ea"/>
                  <a:sym typeface="SF Orson Casual Heavy" panose="00000400000000000000" pitchFamily="2" charset="0"/>
                </a:rPr>
                <a:t>高压</a:t>
              </a:r>
            </a:p>
          </p:txBody>
        </p:sp>
        <p:sp>
          <p:nvSpPr>
            <p:cNvPr id="76" name="TextBox 19"/>
            <p:cNvSpPr txBox="1">
              <a:spLocks noChangeArrowheads="1"/>
            </p:cNvSpPr>
            <p:nvPr/>
          </p:nvSpPr>
          <p:spPr bwMode="auto">
            <a:xfrm>
              <a:off x="2606389" y="4966712"/>
              <a:ext cx="2824548" cy="654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15" tIns="46607" rIns="93215" bIns="46607"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1494" indent="-291494" fontAlgn="base">
                <a:lnSpc>
                  <a:spcPct val="130000"/>
                </a:lnSpc>
                <a:buFont typeface="Arial" panose="020B0604020202020204" pitchFamily="34" charset="0"/>
                <a:buChar char="•"/>
                <a:defRPr/>
              </a:pPr>
              <a:r>
                <a:rPr lang="zh-CN" altLang="en-US" sz="1400" dirty="0">
                  <a:solidFill>
                    <a:schemeClr val="bg2">
                      <a:lumMod val="25000"/>
                    </a:schemeClr>
                  </a:solidFill>
                  <a:latin typeface="+mn-ea"/>
                  <a:cs typeface="+mn-ea"/>
                  <a:sym typeface="+mn-ea"/>
                </a:rPr>
                <a:t>安全管理手段传统</a:t>
              </a:r>
            </a:p>
            <a:p>
              <a:pPr marL="291494" indent="-291494" fontAlgn="base">
                <a:lnSpc>
                  <a:spcPct val="130000"/>
                </a:lnSpc>
                <a:buFont typeface="Arial" panose="020B0604020202020204" pitchFamily="34" charset="0"/>
                <a:buChar char="•"/>
                <a:defRPr/>
              </a:pPr>
              <a:r>
                <a:rPr lang="zh-CN" altLang="en-US" sz="1400" dirty="0" smtClean="0">
                  <a:solidFill>
                    <a:schemeClr val="bg2">
                      <a:lumMod val="25000"/>
                    </a:schemeClr>
                  </a:solidFill>
                  <a:latin typeface="+mn-ea"/>
                  <a:cs typeface="+mn-ea"/>
                  <a:sym typeface="+mn-ea"/>
                </a:rPr>
                <a:t>应急指挥能力不足</a:t>
              </a:r>
              <a:endParaRPr lang="zh-CN" altLang="en-US" sz="1400" dirty="0">
                <a:solidFill>
                  <a:schemeClr val="bg2">
                    <a:lumMod val="25000"/>
                  </a:schemeClr>
                </a:solidFill>
                <a:latin typeface="+mn-ea"/>
                <a:cs typeface="+mn-ea"/>
                <a:sym typeface="+mn-ea"/>
              </a:endParaRPr>
            </a:p>
          </p:txBody>
        </p:sp>
        <p:sp>
          <p:nvSpPr>
            <p:cNvPr id="77" name="Freeform 6"/>
            <p:cNvSpPr/>
            <p:nvPr/>
          </p:nvSpPr>
          <p:spPr bwMode="auto">
            <a:xfrm>
              <a:off x="5680769" y="1450551"/>
              <a:ext cx="1496454" cy="1495812"/>
            </a:xfrm>
            <a:custGeom>
              <a:avLst/>
              <a:gdLst/>
              <a:ahLst/>
              <a:cxnLst/>
              <a:rect l="l" t="t" r="r" b="b"/>
              <a:pathLst>
                <a:path w="1487948" h="1487615">
                  <a:moveTo>
                    <a:pt x="743975" y="297790"/>
                  </a:moveTo>
                  <a:cubicBezTo>
                    <a:pt x="496116" y="297790"/>
                    <a:pt x="295186" y="497479"/>
                    <a:pt x="295186" y="743808"/>
                  </a:cubicBezTo>
                  <a:cubicBezTo>
                    <a:pt x="295186" y="990137"/>
                    <a:pt x="496116" y="1189826"/>
                    <a:pt x="743975" y="1189826"/>
                  </a:cubicBezTo>
                  <a:cubicBezTo>
                    <a:pt x="991834" y="1189826"/>
                    <a:pt x="1192764" y="990137"/>
                    <a:pt x="1192764" y="743808"/>
                  </a:cubicBezTo>
                  <a:cubicBezTo>
                    <a:pt x="1192764" y="497479"/>
                    <a:pt x="991834" y="297790"/>
                    <a:pt x="743975" y="297790"/>
                  </a:cubicBezTo>
                  <a:close/>
                  <a:moveTo>
                    <a:pt x="693753" y="0"/>
                  </a:moveTo>
                  <a:lnTo>
                    <a:pt x="770837" y="149228"/>
                  </a:lnTo>
                  <a:lnTo>
                    <a:pt x="801203" y="151560"/>
                  </a:lnTo>
                  <a:lnTo>
                    <a:pt x="829233" y="153891"/>
                  </a:lnTo>
                  <a:lnTo>
                    <a:pt x="857264" y="158555"/>
                  </a:lnTo>
                  <a:lnTo>
                    <a:pt x="885294" y="163218"/>
                  </a:lnTo>
                  <a:lnTo>
                    <a:pt x="997416" y="41970"/>
                  </a:lnTo>
                  <a:lnTo>
                    <a:pt x="1018439" y="48966"/>
                  </a:lnTo>
                  <a:lnTo>
                    <a:pt x="1037126" y="58292"/>
                  </a:lnTo>
                  <a:lnTo>
                    <a:pt x="1076835" y="74614"/>
                  </a:lnTo>
                  <a:lnTo>
                    <a:pt x="1069828" y="240164"/>
                  </a:lnTo>
                  <a:lnTo>
                    <a:pt x="1093186" y="256485"/>
                  </a:lnTo>
                  <a:lnTo>
                    <a:pt x="1116545" y="272807"/>
                  </a:lnTo>
                  <a:lnTo>
                    <a:pt x="1139904" y="291461"/>
                  </a:lnTo>
                  <a:lnTo>
                    <a:pt x="1160927" y="312446"/>
                  </a:lnTo>
                  <a:lnTo>
                    <a:pt x="1312758" y="261149"/>
                  </a:lnTo>
                  <a:lnTo>
                    <a:pt x="1340789" y="298456"/>
                  </a:lnTo>
                  <a:lnTo>
                    <a:pt x="1352468" y="317109"/>
                  </a:lnTo>
                  <a:lnTo>
                    <a:pt x="1368819" y="335763"/>
                  </a:lnTo>
                  <a:lnTo>
                    <a:pt x="1280056" y="468669"/>
                  </a:lnTo>
                  <a:lnTo>
                    <a:pt x="1287064" y="480327"/>
                  </a:lnTo>
                  <a:lnTo>
                    <a:pt x="1294071" y="496649"/>
                  </a:lnTo>
                  <a:lnTo>
                    <a:pt x="1305750" y="522298"/>
                  </a:lnTo>
                  <a:lnTo>
                    <a:pt x="1315094" y="547946"/>
                  </a:lnTo>
                  <a:lnTo>
                    <a:pt x="1324437" y="575926"/>
                  </a:lnTo>
                  <a:lnTo>
                    <a:pt x="1476269" y="608570"/>
                  </a:lnTo>
                  <a:lnTo>
                    <a:pt x="1483276" y="652872"/>
                  </a:lnTo>
                  <a:lnTo>
                    <a:pt x="1487948" y="701837"/>
                  </a:lnTo>
                  <a:lnTo>
                    <a:pt x="1350132" y="774120"/>
                  </a:lnTo>
                  <a:lnTo>
                    <a:pt x="1347796" y="802100"/>
                  </a:lnTo>
                  <a:lnTo>
                    <a:pt x="1345460" y="830080"/>
                  </a:lnTo>
                  <a:lnTo>
                    <a:pt x="1340789" y="855729"/>
                  </a:lnTo>
                  <a:lnTo>
                    <a:pt x="1333781" y="886040"/>
                  </a:lnTo>
                  <a:lnTo>
                    <a:pt x="1448238" y="988635"/>
                  </a:lnTo>
                  <a:lnTo>
                    <a:pt x="1431887" y="1032937"/>
                  </a:lnTo>
                  <a:lnTo>
                    <a:pt x="1410865" y="1077239"/>
                  </a:lnTo>
                  <a:lnTo>
                    <a:pt x="1259033" y="1067912"/>
                  </a:lnTo>
                  <a:lnTo>
                    <a:pt x="1242682" y="1093560"/>
                  </a:lnTo>
                  <a:lnTo>
                    <a:pt x="1226331" y="1116877"/>
                  </a:lnTo>
                  <a:lnTo>
                    <a:pt x="1209980" y="1137862"/>
                  </a:lnTo>
                  <a:lnTo>
                    <a:pt x="1191293" y="1158848"/>
                  </a:lnTo>
                  <a:lnTo>
                    <a:pt x="1235674" y="1303412"/>
                  </a:lnTo>
                  <a:lnTo>
                    <a:pt x="1198301" y="1336056"/>
                  </a:lnTo>
                  <a:lnTo>
                    <a:pt x="1179614" y="1350046"/>
                  </a:lnTo>
                  <a:lnTo>
                    <a:pt x="1158591" y="1364036"/>
                  </a:lnTo>
                  <a:lnTo>
                    <a:pt x="1030118" y="1282427"/>
                  </a:lnTo>
                  <a:lnTo>
                    <a:pt x="1006759" y="1294085"/>
                  </a:lnTo>
                  <a:lnTo>
                    <a:pt x="981065" y="1305744"/>
                  </a:lnTo>
                  <a:lnTo>
                    <a:pt x="955370" y="1315071"/>
                  </a:lnTo>
                  <a:lnTo>
                    <a:pt x="927340" y="1324397"/>
                  </a:lnTo>
                  <a:lnTo>
                    <a:pt x="892302" y="1475957"/>
                  </a:lnTo>
                  <a:lnTo>
                    <a:pt x="845584" y="1482952"/>
                  </a:lnTo>
                  <a:lnTo>
                    <a:pt x="798867" y="1487615"/>
                  </a:lnTo>
                  <a:lnTo>
                    <a:pt x="728791" y="1350046"/>
                  </a:lnTo>
                  <a:lnTo>
                    <a:pt x="700761" y="1350046"/>
                  </a:lnTo>
                  <a:lnTo>
                    <a:pt x="672730" y="1345382"/>
                  </a:lnTo>
                  <a:lnTo>
                    <a:pt x="642364" y="1343051"/>
                  </a:lnTo>
                  <a:lnTo>
                    <a:pt x="616669" y="1336056"/>
                  </a:lnTo>
                  <a:lnTo>
                    <a:pt x="511555" y="1450308"/>
                  </a:lnTo>
                  <a:lnTo>
                    <a:pt x="488197" y="1443313"/>
                  </a:lnTo>
                  <a:lnTo>
                    <a:pt x="467174" y="1436318"/>
                  </a:lnTo>
                  <a:lnTo>
                    <a:pt x="422792" y="1417665"/>
                  </a:lnTo>
                  <a:lnTo>
                    <a:pt x="429800" y="1259110"/>
                  </a:lnTo>
                  <a:lnTo>
                    <a:pt x="406441" y="1242788"/>
                  </a:lnTo>
                  <a:lnTo>
                    <a:pt x="383083" y="1226467"/>
                  </a:lnTo>
                  <a:lnTo>
                    <a:pt x="362060" y="1210145"/>
                  </a:lnTo>
                  <a:lnTo>
                    <a:pt x="341037" y="1191491"/>
                  </a:lnTo>
                  <a:lnTo>
                    <a:pt x="184534" y="1238125"/>
                  </a:lnTo>
                  <a:lnTo>
                    <a:pt x="156503" y="1205481"/>
                  </a:lnTo>
                  <a:lnTo>
                    <a:pt x="130809" y="1170506"/>
                  </a:lnTo>
                  <a:lnTo>
                    <a:pt x="219572" y="1032937"/>
                  </a:lnTo>
                  <a:lnTo>
                    <a:pt x="207893" y="1007288"/>
                  </a:lnTo>
                  <a:lnTo>
                    <a:pt x="193877" y="981640"/>
                  </a:lnTo>
                  <a:lnTo>
                    <a:pt x="182198" y="955991"/>
                  </a:lnTo>
                  <a:lnTo>
                    <a:pt x="172854" y="928011"/>
                  </a:lnTo>
                  <a:lnTo>
                    <a:pt x="14015" y="893036"/>
                  </a:lnTo>
                  <a:lnTo>
                    <a:pt x="7008" y="848734"/>
                  </a:lnTo>
                  <a:lnTo>
                    <a:pt x="0" y="806763"/>
                  </a:lnTo>
                  <a:lnTo>
                    <a:pt x="147160" y="732149"/>
                  </a:lnTo>
                  <a:lnTo>
                    <a:pt x="149496" y="701837"/>
                  </a:lnTo>
                  <a:lnTo>
                    <a:pt x="151832" y="671525"/>
                  </a:lnTo>
                  <a:lnTo>
                    <a:pt x="156503" y="643545"/>
                  </a:lnTo>
                  <a:lnTo>
                    <a:pt x="161175" y="615565"/>
                  </a:lnTo>
                  <a:lnTo>
                    <a:pt x="39710" y="501312"/>
                  </a:lnTo>
                  <a:lnTo>
                    <a:pt x="53725" y="461674"/>
                  </a:lnTo>
                  <a:lnTo>
                    <a:pt x="70076" y="424367"/>
                  </a:lnTo>
                  <a:lnTo>
                    <a:pt x="238259" y="431362"/>
                  </a:lnTo>
                  <a:lnTo>
                    <a:pt x="254610" y="408045"/>
                  </a:lnTo>
                  <a:lnTo>
                    <a:pt x="273297" y="384728"/>
                  </a:lnTo>
                  <a:lnTo>
                    <a:pt x="289648" y="361411"/>
                  </a:lnTo>
                  <a:lnTo>
                    <a:pt x="310671" y="340426"/>
                  </a:lnTo>
                  <a:lnTo>
                    <a:pt x="259282" y="177208"/>
                  </a:lnTo>
                  <a:lnTo>
                    <a:pt x="289648" y="151560"/>
                  </a:lnTo>
                  <a:lnTo>
                    <a:pt x="322350" y="128243"/>
                  </a:lnTo>
                  <a:lnTo>
                    <a:pt x="467174" y="219179"/>
                  </a:lnTo>
                  <a:lnTo>
                    <a:pt x="492868" y="205188"/>
                  </a:lnTo>
                  <a:lnTo>
                    <a:pt x="518563" y="193530"/>
                  </a:lnTo>
                  <a:lnTo>
                    <a:pt x="546593" y="184203"/>
                  </a:lnTo>
                  <a:lnTo>
                    <a:pt x="574624" y="174877"/>
                  </a:lnTo>
                  <a:lnTo>
                    <a:pt x="609662" y="9327"/>
                  </a:lnTo>
                  <a:lnTo>
                    <a:pt x="630685" y="6995"/>
                  </a:lnTo>
                  <a:lnTo>
                    <a:pt x="651707" y="2332"/>
                  </a:lnTo>
                  <a:close/>
                </a:path>
              </a:pathLst>
            </a:custGeom>
            <a:solidFill>
              <a:srgbClr val="FFC000"/>
            </a:solidFill>
            <a:ln w="3175" cap="flat" cmpd="sng" algn="ctr">
              <a:noFill/>
              <a:prstDash val="solid"/>
            </a:ln>
            <a:effectLst/>
          </p:spPr>
          <p:txBody>
            <a:bodyPr lIns="0" rIns="0" anchor="ctr"/>
            <a:lstStyle/>
            <a:p>
              <a:pPr algn="ctr" defTabSz="932779">
                <a:spcBef>
                  <a:spcPts val="434"/>
                </a:spcBef>
                <a:spcAft>
                  <a:spcPts val="434"/>
                </a:spcAft>
                <a:defRPr/>
              </a:pPr>
              <a:r>
                <a:rPr lang="zh-CN" altLang="en-US" sz="1632" b="1" kern="0" dirty="0" smtClean="0">
                  <a:latin typeface="微软雅黑" panose="020B0503020204020204" pitchFamily="34" charset="-122"/>
                  <a:ea typeface="微软雅黑" panose="020B0503020204020204" pitchFamily="34" charset="-122"/>
                  <a:cs typeface="+mn-ea"/>
                  <a:sym typeface="SF Orson Casual Heavy" panose="00000400000000000000" pitchFamily="2" charset="0"/>
                </a:rPr>
                <a:t>服务</a:t>
              </a:r>
              <a:endParaRPr lang="en-US" altLang="zh-CN" sz="1632" b="1" kern="0" dirty="0">
                <a:latin typeface="微软雅黑" panose="020B0503020204020204" pitchFamily="34" charset="-122"/>
                <a:ea typeface="微软雅黑" panose="020B0503020204020204" pitchFamily="34" charset="-122"/>
                <a:cs typeface="+mn-ea"/>
                <a:sym typeface="SF Orson Casual Heavy" panose="00000400000000000000" pitchFamily="2" charset="0"/>
              </a:endParaRPr>
            </a:p>
            <a:p>
              <a:pPr algn="ctr" defTabSz="932779">
                <a:spcBef>
                  <a:spcPts val="434"/>
                </a:spcBef>
                <a:spcAft>
                  <a:spcPts val="434"/>
                </a:spcAft>
                <a:defRPr/>
              </a:pPr>
              <a:r>
                <a:rPr lang="zh-CN" altLang="en-US" sz="1632" b="1" kern="0" dirty="0">
                  <a:latin typeface="微软雅黑" panose="020B0503020204020204" pitchFamily="34" charset="-122"/>
                  <a:ea typeface="微软雅黑" panose="020B0503020204020204" pitchFamily="34" charset="-122"/>
                  <a:cs typeface="+mn-ea"/>
                  <a:sym typeface="SF Orson Casual Heavy" panose="00000400000000000000" pitchFamily="2" charset="0"/>
                </a:rPr>
                <a:t>单一</a:t>
              </a:r>
            </a:p>
          </p:txBody>
        </p:sp>
        <p:sp>
          <p:nvSpPr>
            <p:cNvPr id="78" name="TextBox 19"/>
            <p:cNvSpPr txBox="1">
              <a:spLocks noChangeArrowheads="1"/>
            </p:cNvSpPr>
            <p:nvPr/>
          </p:nvSpPr>
          <p:spPr bwMode="auto">
            <a:xfrm>
              <a:off x="7177223" y="1515956"/>
              <a:ext cx="2666550" cy="654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15" tIns="46607" rIns="93215" bIns="46607"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1494" indent="-291494" fontAlgn="base">
                <a:lnSpc>
                  <a:spcPct val="130000"/>
                </a:lnSpc>
                <a:spcBef>
                  <a:spcPct val="0"/>
                </a:spcBef>
                <a:spcAft>
                  <a:spcPct val="0"/>
                </a:spcAft>
                <a:buFont typeface="Arial" panose="020B0604020202020204" pitchFamily="34" charset="0"/>
                <a:buChar char="•"/>
                <a:defRPr/>
              </a:pPr>
              <a:r>
                <a:rPr lang="zh-CN" altLang="en-US" sz="1400" dirty="0" smtClean="0">
                  <a:solidFill>
                    <a:schemeClr val="bg2">
                      <a:lumMod val="25000"/>
                    </a:schemeClr>
                  </a:solidFill>
                  <a:latin typeface="+mn-ea"/>
                  <a:cs typeface="+mn-ea"/>
                  <a:sym typeface="+mn-ea"/>
                </a:rPr>
                <a:t>服务支撑不足，手段内容少</a:t>
              </a:r>
              <a:endParaRPr lang="zh-CN" altLang="en-US" sz="1400" dirty="0">
                <a:solidFill>
                  <a:schemeClr val="bg2">
                    <a:lumMod val="25000"/>
                  </a:schemeClr>
                </a:solidFill>
                <a:latin typeface="+mn-ea"/>
                <a:cs typeface="+mn-ea"/>
                <a:sym typeface="+mn-ea"/>
              </a:endParaRPr>
            </a:p>
            <a:p>
              <a:pPr marL="291494" indent="-291494" fontAlgn="base">
                <a:lnSpc>
                  <a:spcPct val="130000"/>
                </a:lnSpc>
                <a:spcBef>
                  <a:spcPct val="0"/>
                </a:spcBef>
                <a:spcAft>
                  <a:spcPct val="0"/>
                </a:spcAft>
                <a:buFont typeface="Arial" panose="020B0604020202020204" pitchFamily="34" charset="0"/>
                <a:buChar char="•"/>
                <a:defRPr/>
              </a:pPr>
              <a:r>
                <a:rPr lang="zh-CN" altLang="en-US" sz="1400" dirty="0" smtClean="0">
                  <a:solidFill>
                    <a:schemeClr val="bg2">
                      <a:lumMod val="25000"/>
                    </a:schemeClr>
                  </a:solidFill>
                  <a:latin typeface="+mn-ea"/>
                  <a:cs typeface="+mn-ea"/>
                  <a:sym typeface="+mn-ea"/>
                </a:rPr>
                <a:t>服务资源有限，整合能力弱</a:t>
              </a:r>
              <a:endParaRPr lang="zh-CN" altLang="en-US" sz="1400" dirty="0">
                <a:solidFill>
                  <a:schemeClr val="bg2">
                    <a:lumMod val="25000"/>
                  </a:schemeClr>
                </a:solidFill>
                <a:latin typeface="+mn-ea"/>
                <a:cs typeface="+mn-ea"/>
                <a:sym typeface="+mn-ea"/>
              </a:endParaRPr>
            </a:p>
          </p:txBody>
        </p:sp>
        <p:sp>
          <p:nvSpPr>
            <p:cNvPr id="20" name="TextBox 19"/>
            <p:cNvSpPr txBox="1">
              <a:spLocks noChangeArrowheads="1"/>
            </p:cNvSpPr>
            <p:nvPr/>
          </p:nvSpPr>
          <p:spPr bwMode="auto">
            <a:xfrm>
              <a:off x="7015331" y="4811417"/>
              <a:ext cx="2828442" cy="654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15" tIns="46607" rIns="93215" bIns="46607"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91494" indent="-291494" fontAlgn="base">
                <a:lnSpc>
                  <a:spcPct val="130000"/>
                </a:lnSpc>
                <a:spcBef>
                  <a:spcPct val="0"/>
                </a:spcBef>
                <a:spcAft>
                  <a:spcPct val="0"/>
                </a:spcAft>
                <a:buFont typeface="Arial" panose="020B0604020202020204" pitchFamily="34" charset="0"/>
                <a:buChar char="•"/>
                <a:defRPr/>
              </a:pPr>
              <a:r>
                <a:rPr lang="zh-CN" altLang="en-US" sz="1400" dirty="0" smtClean="0">
                  <a:solidFill>
                    <a:schemeClr val="bg2">
                      <a:lumMod val="25000"/>
                    </a:schemeClr>
                  </a:solidFill>
                  <a:latin typeface="+mn-ea"/>
                  <a:cs typeface="+mn-ea"/>
                  <a:sym typeface="SF Orson Casual Heavy" panose="00000400000000000000" pitchFamily="2" charset="0"/>
                </a:rPr>
                <a:t>办公效率低下，生产成本高 </a:t>
              </a:r>
              <a:endParaRPr lang="zh-CN" altLang="en-US" sz="1400" dirty="0">
                <a:solidFill>
                  <a:schemeClr val="bg2">
                    <a:lumMod val="25000"/>
                  </a:schemeClr>
                </a:solidFill>
                <a:latin typeface="+mn-ea"/>
                <a:cs typeface="+mn-ea"/>
                <a:sym typeface="SF Orson Casual Heavy" panose="00000400000000000000" pitchFamily="2" charset="0"/>
              </a:endParaRPr>
            </a:p>
            <a:p>
              <a:pPr marL="291494" indent="-291494" fontAlgn="base">
                <a:lnSpc>
                  <a:spcPct val="130000"/>
                </a:lnSpc>
                <a:spcBef>
                  <a:spcPct val="0"/>
                </a:spcBef>
                <a:spcAft>
                  <a:spcPct val="0"/>
                </a:spcAft>
                <a:buFont typeface="Arial" panose="020B0604020202020204" pitchFamily="34" charset="0"/>
                <a:buChar char="•"/>
                <a:defRPr/>
              </a:pPr>
              <a:r>
                <a:rPr lang="zh-CN" altLang="en-US" sz="1400" dirty="0" smtClean="0">
                  <a:solidFill>
                    <a:schemeClr val="bg2">
                      <a:lumMod val="25000"/>
                    </a:schemeClr>
                  </a:solidFill>
                  <a:latin typeface="+mn-ea"/>
                  <a:cs typeface="+mn-ea"/>
                  <a:sym typeface="SF Orson Casual Heavy" panose="00000400000000000000" pitchFamily="2" charset="0"/>
                </a:rPr>
                <a:t>管理流程复杂，运营效率低</a:t>
              </a:r>
              <a:endParaRPr lang="zh-CN" altLang="en-US" sz="1400" dirty="0">
                <a:solidFill>
                  <a:schemeClr val="bg2">
                    <a:lumMod val="25000"/>
                  </a:schemeClr>
                </a:solidFill>
                <a:latin typeface="+mn-ea"/>
                <a:cs typeface="+mn-ea"/>
                <a:sym typeface="SF Orson Casual Heavy" panose="00000400000000000000" pitchFamily="2" charset="0"/>
              </a:endParaRPr>
            </a:p>
          </p:txBody>
        </p:sp>
      </p:grpSp>
    </p:spTree>
    <p:extLst>
      <p:ext uri="{BB962C8B-B14F-4D97-AF65-F5344CB8AC3E}">
        <p14:creationId xmlns:p14="http://schemas.microsoft.com/office/powerpoint/2010/main" val="8577140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灯片编号占位符 2"/>
          <p:cNvSpPr>
            <a:spLocks noGrp="1"/>
          </p:cNvSpPr>
          <p:nvPr>
            <p:ph type="sldNum" sz="quarter" idx="12"/>
          </p:nvPr>
        </p:nvSpPr>
        <p:spPr>
          <a:xfrm>
            <a:off x="10687820" y="6630778"/>
            <a:ext cx="1162637" cy="372478"/>
          </a:xfrm>
        </p:spPr>
        <p:txBody>
          <a:bodyPr/>
          <a:lstStyle/>
          <a:p>
            <a:fld id="{4B1B0860-3CE7-4EC1-80B2-E4FAEF86BBEB}" type="slidenum">
              <a:rPr lang="zh-CN" altLang="en-US" smtClean="0"/>
              <a:t>6</a:t>
            </a:fld>
            <a:endParaRPr lang="zh-CN" altLang="en-US"/>
          </a:p>
        </p:txBody>
      </p:sp>
      <p:grpSp>
        <p:nvGrpSpPr>
          <p:cNvPr id="7" name="组合 6"/>
          <p:cNvGrpSpPr/>
          <p:nvPr/>
        </p:nvGrpSpPr>
        <p:grpSpPr>
          <a:xfrm>
            <a:off x="138243" y="1510873"/>
            <a:ext cx="12212103" cy="4274106"/>
            <a:chOff x="213" y="1969"/>
            <a:chExt cx="18852" cy="6598"/>
          </a:xfrm>
        </p:grpSpPr>
        <p:sp>
          <p:nvSpPr>
            <p:cNvPr id="65" name="文本框 31"/>
            <p:cNvSpPr txBox="1"/>
            <p:nvPr/>
          </p:nvSpPr>
          <p:spPr>
            <a:xfrm>
              <a:off x="213" y="4134"/>
              <a:ext cx="5901" cy="1035"/>
            </a:xfrm>
            <a:prstGeom prst="rect">
              <a:avLst/>
            </a:prstGeom>
            <a:noFill/>
          </p:spPr>
          <p:txBody>
            <a:bodyPr wrap="square" rtlCol="0">
              <a:spAutoFit/>
            </a:bodyPr>
            <a:lstStyle/>
            <a:p>
              <a:pPr algn="ctr" defTabSz="1243058">
                <a:defRPr/>
              </a:pPr>
              <a:r>
                <a:rPr lang="zh-CN" altLang="en-US"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国务院</a:t>
              </a:r>
              <a:endParaRPr lang="en-US" altLang="zh-CN"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marL="349792" indent="-349792" algn="ctr" defTabSz="1243058"/>
              <a:r>
                <a:rPr lang="en-US" altLang="zh-CN"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关于促进开发区改革和创新发展的若干意见</a:t>
              </a:r>
              <a:r>
                <a:rPr lang="en-US" altLang="zh-CN"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a:t>
              </a:r>
            </a:p>
            <a:p>
              <a:pPr marL="349792" indent="-349792" algn="ctr" defTabSz="1243058"/>
              <a:r>
                <a:rPr lang="zh-CN" altLang="en-US" sz="1224"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国办发</a:t>
              </a:r>
              <a:r>
                <a:rPr lang="en-US" altLang="zh-CN" sz="1224"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2017〕7</a:t>
              </a:r>
              <a:r>
                <a:rPr lang="zh-CN" altLang="en-US" sz="1224"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号）</a:t>
              </a:r>
              <a:endPar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6" name="文本框 32"/>
            <p:cNvSpPr txBox="1"/>
            <p:nvPr/>
          </p:nvSpPr>
          <p:spPr>
            <a:xfrm>
              <a:off x="213" y="5649"/>
              <a:ext cx="5901" cy="1035"/>
            </a:xfrm>
            <a:prstGeom prst="rect">
              <a:avLst/>
            </a:prstGeom>
            <a:noFill/>
          </p:spPr>
          <p:txBody>
            <a:bodyPr wrap="square" rtlCol="0">
              <a:spAutoFit/>
            </a:bodyPr>
            <a:lstStyle/>
            <a:p>
              <a:pPr algn="ctr" defTabSz="1243058">
                <a:defRPr/>
              </a:pPr>
              <a:r>
                <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科技部</a:t>
              </a:r>
              <a:endParaRPr lang="en-US" altLang="zh-CN"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243058">
                <a:defRPr/>
              </a:pPr>
              <a:r>
                <a:rPr lang="en-US" altLang="zh-CN"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国家高新技术产业开发区“十三五”发展规划</a:t>
              </a:r>
              <a:r>
                <a:rPr lang="en-US" altLang="zh-CN"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 </a:t>
              </a:r>
            </a:p>
            <a:p>
              <a:pPr algn="ctr" defTabSz="1243058">
                <a:defRPr/>
              </a:pPr>
              <a:r>
                <a:rPr lang="zh-CN" altLang="en-US" sz="1224"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国科发高</a:t>
              </a:r>
              <a:r>
                <a:rPr lang="en-US" altLang="zh-CN" sz="1224"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2017〕90</a:t>
              </a:r>
              <a:r>
                <a:rPr lang="zh-CN" altLang="en-US" sz="1224"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号）</a:t>
              </a:r>
              <a:endParaRPr lang="zh-CN" altLang="en-US" sz="1224"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7" name="文本框 35"/>
            <p:cNvSpPr txBox="1"/>
            <p:nvPr/>
          </p:nvSpPr>
          <p:spPr>
            <a:xfrm>
              <a:off x="213" y="7272"/>
              <a:ext cx="5901" cy="1035"/>
            </a:xfrm>
            <a:prstGeom prst="rect">
              <a:avLst/>
            </a:prstGeom>
            <a:noFill/>
          </p:spPr>
          <p:txBody>
            <a:bodyPr wrap="square" rtlCol="0">
              <a:spAutoFit/>
            </a:bodyPr>
            <a:lstStyle/>
            <a:p>
              <a:pPr algn="ctr" defTabSz="1243058">
                <a:defRPr/>
              </a:pPr>
              <a:r>
                <a:rPr lang="zh-CN" altLang="en-US"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中国建设标协</a:t>
              </a:r>
              <a:endParaRPr lang="en-US" altLang="zh-CN"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243058"/>
              <a:r>
                <a:rPr lang="en-US" altLang="zh-CN"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绿色智慧产业园区评价标准</a:t>
              </a:r>
              <a:r>
                <a:rPr lang="en-US" altLang="zh-CN"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243058"/>
              <a:endParaRPr lang="zh-CN" altLang="en-US" sz="1224"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68" name="文本框 46"/>
            <p:cNvSpPr txBox="1"/>
            <p:nvPr/>
          </p:nvSpPr>
          <p:spPr>
            <a:xfrm>
              <a:off x="542" y="1969"/>
              <a:ext cx="5463" cy="606"/>
            </a:xfrm>
            <a:prstGeom prst="rect">
              <a:avLst/>
            </a:prstGeom>
            <a:solidFill>
              <a:schemeClr val="accent6">
                <a:lumMod val="50000"/>
              </a:schemeClr>
            </a:solidFill>
          </p:spPr>
          <p:txBody>
            <a:bodyPr wrap="square" rtlCol="0">
              <a:spAutoFit/>
            </a:bodyPr>
            <a:lstStyle/>
            <a:p>
              <a:pPr algn="ctr" defTabSz="1243058">
                <a:defRPr/>
              </a:pPr>
              <a:r>
                <a:rPr lang="zh-CN" altLang="en-US" sz="1902" b="1" kern="0" dirty="0">
                  <a:solidFill>
                    <a:prstClr val="white"/>
                  </a:solidFill>
                  <a:latin typeface="微软雅黑" panose="020B0503020204020204" pitchFamily="34" charset="-122"/>
                </a:rPr>
                <a:t>各级政府主要发文</a:t>
              </a:r>
              <a:endParaRPr lang="en-US" sz="1902" b="1" kern="0" dirty="0">
                <a:solidFill>
                  <a:prstClr val="white"/>
                </a:solidFill>
                <a:latin typeface="微软雅黑" panose="020B0503020204020204" pitchFamily="34" charset="-122"/>
              </a:endParaRPr>
            </a:p>
          </p:txBody>
        </p:sp>
        <p:sp>
          <p:nvSpPr>
            <p:cNvPr id="69" name="文本框 47"/>
            <p:cNvSpPr txBox="1"/>
            <p:nvPr/>
          </p:nvSpPr>
          <p:spPr>
            <a:xfrm>
              <a:off x="6189" y="1969"/>
              <a:ext cx="12311" cy="606"/>
            </a:xfrm>
            <a:prstGeom prst="rect">
              <a:avLst/>
            </a:prstGeom>
            <a:solidFill>
              <a:schemeClr val="accent6">
                <a:lumMod val="50000"/>
              </a:schemeClr>
            </a:solidFill>
          </p:spPr>
          <p:txBody>
            <a:bodyPr wrap="square" rtlCol="0">
              <a:spAutoFit/>
            </a:bodyPr>
            <a:lstStyle/>
            <a:p>
              <a:pPr algn="ctr" defTabSz="1243058">
                <a:defRPr/>
              </a:pPr>
              <a:r>
                <a:rPr lang="zh-CN" altLang="en-US" sz="1902" b="1" kern="0" dirty="0">
                  <a:solidFill>
                    <a:prstClr val="white"/>
                  </a:solidFill>
                  <a:latin typeface="微软雅黑" panose="020B0503020204020204" pitchFamily="34" charset="-122"/>
                </a:rPr>
                <a:t>政策摘要</a:t>
              </a:r>
              <a:endParaRPr lang="en-US" sz="1902" b="1" kern="0" dirty="0">
                <a:solidFill>
                  <a:prstClr val="white"/>
                </a:solidFill>
                <a:latin typeface="微软雅黑" panose="020B0503020204020204" pitchFamily="34" charset="-122"/>
              </a:endParaRPr>
            </a:p>
          </p:txBody>
        </p:sp>
        <p:sp>
          <p:nvSpPr>
            <p:cNvPr id="70" name="矩形 69"/>
            <p:cNvSpPr/>
            <p:nvPr/>
          </p:nvSpPr>
          <p:spPr>
            <a:xfrm>
              <a:off x="6005" y="4437"/>
              <a:ext cx="11704" cy="491"/>
            </a:xfrm>
            <a:prstGeom prst="rect">
              <a:avLst/>
            </a:prstGeom>
          </p:spPr>
          <p:txBody>
            <a:bodyPr wrap="square">
              <a:spAutoFit/>
            </a:bodyPr>
            <a:lstStyle/>
            <a:p>
              <a:pPr marL="233195" indent="-233195" defTabSz="1243058">
                <a:buFont typeface="Arial" panose="020B0604020202020204" pitchFamily="34" charset="0"/>
                <a:buChar char="•"/>
              </a:pPr>
              <a:r>
                <a:rPr lang="zh-CN" altLang="en-US" sz="1428"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要提升开发区基础设施水平。推进实施</a:t>
              </a:r>
              <a:r>
                <a:rPr lang="zh-CN" altLang="en-US" sz="1428"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互联网</a:t>
              </a:r>
              <a:r>
                <a:rPr lang="en-US" altLang="zh-CN" sz="1428"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28"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行动，建设</a:t>
              </a:r>
              <a:r>
                <a:rPr lang="zh-CN" altLang="en-US" sz="1428"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智慧、智能园区</a:t>
              </a:r>
              <a:r>
                <a:rPr lang="zh-CN" altLang="en-US" sz="1428"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 </a:t>
              </a:r>
            </a:p>
          </p:txBody>
        </p:sp>
        <p:sp>
          <p:nvSpPr>
            <p:cNvPr id="71" name="矩形 70"/>
            <p:cNvSpPr/>
            <p:nvPr/>
          </p:nvSpPr>
          <p:spPr>
            <a:xfrm>
              <a:off x="6053" y="5194"/>
              <a:ext cx="12833" cy="1876"/>
            </a:xfrm>
            <a:prstGeom prst="rect">
              <a:avLst/>
            </a:prstGeom>
          </p:spPr>
          <p:txBody>
            <a:bodyPr wrap="square">
              <a:spAutoFit/>
            </a:bodyPr>
            <a:lstStyle/>
            <a:p>
              <a:pPr marL="233195" indent="-233195" defTabSz="1243058">
                <a:buFont typeface="Arial" panose="020B0604020202020204" pitchFamily="34" charset="0"/>
                <a:buChar char="•"/>
                <a:defRPr/>
              </a:pPr>
              <a:r>
                <a:rPr lang="zh-CN" altLang="en-US" sz="1428" dirty="0">
                  <a:solidFill>
                    <a:schemeClr val="bg2">
                      <a:lumMod val="25000"/>
                    </a:schemeClr>
                  </a:solidFill>
                  <a:latin typeface="微软雅黑" panose="020B0503020204020204" pitchFamily="34" charset="-122"/>
                  <a:ea typeface="微软雅黑" panose="020B0503020204020204" pitchFamily="34" charset="-122"/>
                </a:rPr>
                <a:t>推进</a:t>
              </a:r>
              <a:r>
                <a:rPr lang="zh-CN" altLang="en-US" sz="1428" b="1" dirty="0">
                  <a:solidFill>
                    <a:srgbClr val="0070C0"/>
                  </a:solidFill>
                  <a:latin typeface="微软雅黑" panose="020B0503020204020204" pitchFamily="34" charset="-122"/>
                  <a:ea typeface="微软雅黑" panose="020B0503020204020204" pitchFamily="34" charset="-122"/>
                </a:rPr>
                <a:t>信息化基础设施</a:t>
              </a:r>
              <a:r>
                <a:rPr lang="zh-CN" altLang="en-US" sz="1428" dirty="0">
                  <a:solidFill>
                    <a:schemeClr val="bg2">
                      <a:lumMod val="25000"/>
                    </a:schemeClr>
                  </a:solidFill>
                  <a:latin typeface="微软雅黑" panose="020B0503020204020204" pitchFamily="34" charset="-122"/>
                  <a:ea typeface="微软雅黑" panose="020B0503020204020204" pitchFamily="34" charset="-122"/>
                </a:rPr>
                <a:t>建设。</a:t>
              </a:r>
              <a:endParaRPr lang="en-US" altLang="zh-CN" sz="1428" dirty="0">
                <a:solidFill>
                  <a:schemeClr val="bg2">
                    <a:lumMod val="25000"/>
                  </a:schemeClr>
                </a:solidFill>
                <a:latin typeface="微软雅黑" panose="020B0503020204020204" pitchFamily="34" charset="-122"/>
                <a:ea typeface="微软雅黑" panose="020B0503020204020204" pitchFamily="34" charset="-122"/>
              </a:endParaRPr>
            </a:p>
            <a:p>
              <a:pPr marL="233195" indent="-233195" defTabSz="1243058">
                <a:buFont typeface="Arial" panose="020B0604020202020204" pitchFamily="34" charset="0"/>
                <a:buChar char="•"/>
                <a:defRPr/>
              </a:pPr>
              <a:r>
                <a:rPr lang="zh-CN" altLang="en-US" sz="1428" dirty="0">
                  <a:solidFill>
                    <a:schemeClr val="bg2">
                      <a:lumMod val="25000"/>
                    </a:schemeClr>
                  </a:solidFill>
                  <a:latin typeface="微软雅黑" panose="020B0503020204020204" pitchFamily="34" charset="-122"/>
                  <a:ea typeface="微软雅黑" panose="020B0503020204020204" pitchFamily="34" charset="-122"/>
                </a:rPr>
                <a:t>鼓励国家高新区充分利用并推进建设数据中心、云端设备、应用编程接口等云端设施，加快终端设施建设。</a:t>
              </a:r>
              <a:endParaRPr lang="en-US" altLang="zh-CN" sz="1428" dirty="0">
                <a:solidFill>
                  <a:schemeClr val="bg2">
                    <a:lumMod val="25000"/>
                  </a:schemeClr>
                </a:solidFill>
                <a:latin typeface="微软雅黑" panose="020B0503020204020204" pitchFamily="34" charset="-122"/>
                <a:ea typeface="微软雅黑" panose="020B0503020204020204" pitchFamily="34" charset="-122"/>
              </a:endParaRPr>
            </a:p>
            <a:p>
              <a:pPr marL="233195" indent="-233195" defTabSz="1243058">
                <a:buFont typeface="Arial" panose="020B0604020202020204" pitchFamily="34" charset="0"/>
                <a:buChar char="•"/>
                <a:defRPr/>
              </a:pPr>
              <a:r>
                <a:rPr lang="zh-CN" altLang="en-US" sz="1428" dirty="0">
                  <a:solidFill>
                    <a:schemeClr val="bg2">
                      <a:lumMod val="25000"/>
                    </a:schemeClr>
                  </a:solidFill>
                  <a:latin typeface="微软雅黑" panose="020B0503020204020204" pitchFamily="34" charset="-122"/>
                  <a:ea typeface="微软雅黑" panose="020B0503020204020204" pitchFamily="34" charset="-122"/>
                </a:rPr>
                <a:t>加大互联网在医疗、健康、养老、教育、旅游、社会保障、物流、环保等领域的应用，着力</a:t>
              </a:r>
              <a:r>
                <a:rPr lang="zh-CN" altLang="en-US" sz="1428" b="1" dirty="0">
                  <a:solidFill>
                    <a:srgbClr val="0070C0"/>
                  </a:solidFill>
                  <a:latin typeface="微软雅黑" panose="020B0503020204020204" pitchFamily="34" charset="-122"/>
                  <a:ea typeface="微软雅黑" panose="020B0503020204020204" pitchFamily="34" charset="-122"/>
                </a:rPr>
                <a:t>打造若干大数据示范园区</a:t>
              </a:r>
              <a:r>
                <a:rPr lang="zh-CN" altLang="en-US" sz="1428" dirty="0">
                  <a:latin typeface="微软雅黑" panose="020B0503020204020204" pitchFamily="34" charset="-122"/>
                  <a:ea typeface="微软雅黑" panose="020B0503020204020204" pitchFamily="34" charset="-122"/>
                </a:rPr>
                <a:t>。</a:t>
              </a:r>
              <a:endParaRPr lang="zh-CN" altLang="en-US" sz="1428" kern="0" dirty="0">
                <a:latin typeface="微软雅黑" panose="020B0503020204020204" pitchFamily="34" charset="-122"/>
                <a:ea typeface="微软雅黑" panose="020B0503020204020204" pitchFamily="34" charset="-122"/>
              </a:endParaRPr>
            </a:p>
          </p:txBody>
        </p:sp>
        <p:sp>
          <p:nvSpPr>
            <p:cNvPr id="77" name="矩形 76"/>
            <p:cNvSpPr/>
            <p:nvPr/>
          </p:nvSpPr>
          <p:spPr>
            <a:xfrm>
              <a:off x="6053" y="7037"/>
              <a:ext cx="13012" cy="1530"/>
            </a:xfrm>
            <a:prstGeom prst="rect">
              <a:avLst/>
            </a:prstGeom>
          </p:spPr>
          <p:txBody>
            <a:bodyPr wrap="square">
              <a:spAutoFit/>
            </a:bodyPr>
            <a:lstStyle/>
            <a:p>
              <a:pPr marL="233195" indent="-233195" defTabSz="1243058">
                <a:buFont typeface="Arial" panose="020B0604020202020204" pitchFamily="34" charset="0"/>
                <a:buChar char="•"/>
              </a:pPr>
              <a:r>
                <a:rPr lang="zh-CN" altLang="en-US" sz="1428"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标准由</a:t>
              </a:r>
              <a:r>
                <a:rPr lang="zh-CN" altLang="en-US" sz="1428" b="1" dirty="0">
                  <a:solidFill>
                    <a:schemeClr val="accent6">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基础设施、生态与宜居、管理与服务、保障与运维4项一级指标</a:t>
              </a:r>
              <a:r>
                <a:rPr lang="zh-CN" altLang="en-US" sz="1428"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智能化基础设施、绿色生态、节能环保等10项二级指标，物联网平台、绿色建筑、信息安全管理系统等71项三级指标进行评价和等级划分。</a:t>
              </a:r>
            </a:p>
            <a:p>
              <a:pPr marL="233195" indent="-233195" defTabSz="1243058">
                <a:buFont typeface="Arial" panose="020B0604020202020204" pitchFamily="34" charset="0"/>
                <a:buChar char="•"/>
              </a:pPr>
              <a:r>
                <a:rPr lang="zh-CN" altLang="en-US" sz="1428"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评价等级分为一星级到五星级五个等级，适用于新建、扩建、改建的智慧产业园区建设及评价。</a:t>
              </a:r>
            </a:p>
          </p:txBody>
        </p:sp>
        <p:cxnSp>
          <p:nvCxnSpPr>
            <p:cNvPr id="78" name="直接连接符 77"/>
            <p:cNvCxnSpPr/>
            <p:nvPr/>
          </p:nvCxnSpPr>
          <p:spPr bwMode="auto">
            <a:xfrm>
              <a:off x="6098" y="7051"/>
              <a:ext cx="12425"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79" name="直接连接符 78"/>
            <p:cNvCxnSpPr/>
            <p:nvPr/>
          </p:nvCxnSpPr>
          <p:spPr bwMode="auto">
            <a:xfrm>
              <a:off x="6130" y="8523"/>
              <a:ext cx="12425"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80" name="直接连接符 79"/>
            <p:cNvCxnSpPr/>
            <p:nvPr/>
          </p:nvCxnSpPr>
          <p:spPr bwMode="auto">
            <a:xfrm>
              <a:off x="6114" y="5162"/>
              <a:ext cx="12425"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8" name="直接连接符 7"/>
            <p:cNvCxnSpPr/>
            <p:nvPr/>
          </p:nvCxnSpPr>
          <p:spPr bwMode="auto">
            <a:xfrm>
              <a:off x="6114" y="4179"/>
              <a:ext cx="12425" cy="0"/>
            </a:xfrm>
            <a:prstGeom prst="line">
              <a:avLst/>
            </a:prstGeom>
          </p:spPr>
          <p:style>
            <a:lnRef idx="1">
              <a:schemeClr val="accent5"/>
            </a:lnRef>
            <a:fillRef idx="0">
              <a:schemeClr val="accent5"/>
            </a:fillRef>
            <a:effectRef idx="0">
              <a:schemeClr val="accent5"/>
            </a:effectRef>
            <a:fontRef idx="minor">
              <a:schemeClr val="tx1"/>
            </a:fontRef>
          </p:style>
        </p:cxnSp>
        <p:sp>
          <p:nvSpPr>
            <p:cNvPr id="9" name="文本框 8"/>
            <p:cNvSpPr txBox="1"/>
            <p:nvPr/>
          </p:nvSpPr>
          <p:spPr>
            <a:xfrm>
              <a:off x="340" y="2689"/>
              <a:ext cx="5646" cy="1332"/>
            </a:xfrm>
            <a:prstGeom prst="rect">
              <a:avLst/>
            </a:prstGeom>
            <a:noFill/>
          </p:spPr>
          <p:txBody>
            <a:bodyPr wrap="square" rtlCol="0">
              <a:spAutoFit/>
            </a:bodyPr>
            <a:lstStyle/>
            <a:p>
              <a:pPr algn="ctr"/>
              <a:r>
                <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国务院</a:t>
              </a:r>
            </a:p>
            <a:p>
              <a:pPr algn="ctr"/>
              <a:r>
                <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关于推进国家级经济技术开发区创新提升打造改革开放新高地的意见</a:t>
              </a:r>
              <a:r>
                <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a:t>
              </a:r>
            </a:p>
            <a:p>
              <a:pPr marL="349792" indent="-349792" algn="ctr" defTabSz="1243058"/>
              <a:r>
                <a:rPr lang="zh-CN" altLang="en-US" sz="1224"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国发〔2019〕11号）</a:t>
              </a:r>
            </a:p>
          </p:txBody>
        </p:sp>
        <p:sp>
          <p:nvSpPr>
            <p:cNvPr id="10" name="矩形 9"/>
            <p:cNvSpPr/>
            <p:nvPr/>
          </p:nvSpPr>
          <p:spPr>
            <a:xfrm>
              <a:off x="6005" y="2795"/>
              <a:ext cx="12833" cy="1184"/>
            </a:xfrm>
            <a:prstGeom prst="rect">
              <a:avLst/>
            </a:prstGeom>
          </p:spPr>
          <p:txBody>
            <a:bodyPr wrap="square">
              <a:spAutoFit/>
            </a:bodyPr>
            <a:lstStyle/>
            <a:p>
              <a:pPr marL="233195" indent="-233195" defTabSz="1243058">
                <a:buFont typeface="Arial" panose="020B0604020202020204" pitchFamily="34" charset="0"/>
                <a:buChar char="•"/>
                <a:defRPr/>
              </a:pPr>
              <a:r>
                <a:rPr lang="zh-CN" altLang="en-US" sz="1428" dirty="0">
                  <a:solidFill>
                    <a:schemeClr val="bg2">
                      <a:lumMod val="25000"/>
                    </a:schemeClr>
                  </a:solidFill>
                  <a:latin typeface="微软雅黑" panose="020B0503020204020204" pitchFamily="34" charset="-122"/>
                  <a:ea typeface="微软雅黑" panose="020B0503020204020204" pitchFamily="34" charset="-122"/>
                </a:rPr>
                <a:t>推动</a:t>
              </a:r>
              <a:r>
                <a:rPr lang="zh-CN" altLang="en-US" sz="1428" b="1" dirty="0">
                  <a:solidFill>
                    <a:srgbClr val="0070C0"/>
                  </a:solidFill>
                  <a:latin typeface="微软雅黑" panose="020B0503020204020204" pitchFamily="34" charset="-122"/>
                  <a:ea typeface="微软雅黑" panose="020B0503020204020204" pitchFamily="34" charset="-122"/>
                </a:rPr>
                <a:t>发展数字经济</a:t>
              </a:r>
              <a:r>
                <a:rPr lang="zh-CN" altLang="en-US" sz="1428" dirty="0">
                  <a:latin typeface="微软雅黑" panose="020B0503020204020204" pitchFamily="34" charset="-122"/>
                  <a:ea typeface="微软雅黑" panose="020B0503020204020204" pitchFamily="34" charset="-122"/>
                </a:rPr>
                <a:t>。</a:t>
              </a:r>
            </a:p>
            <a:p>
              <a:pPr marL="233195" indent="-233195" defTabSz="1243058">
                <a:buFont typeface="Arial" panose="020B0604020202020204" pitchFamily="34" charset="0"/>
                <a:buChar char="•"/>
                <a:defRPr/>
              </a:pPr>
              <a:r>
                <a:rPr lang="zh-CN" altLang="en-US" sz="1428" dirty="0">
                  <a:solidFill>
                    <a:schemeClr val="bg2">
                      <a:lumMod val="25000"/>
                    </a:schemeClr>
                  </a:solidFill>
                  <a:latin typeface="微软雅黑" panose="020B0503020204020204" pitchFamily="34" charset="-122"/>
                  <a:ea typeface="微软雅黑" panose="020B0503020204020204" pitchFamily="34" charset="-122"/>
                </a:rPr>
                <a:t>鼓励各类资本在具备条件的国家级经开区</a:t>
              </a:r>
              <a:r>
                <a:rPr lang="zh-CN" altLang="en-US" sz="1428" b="1" dirty="0">
                  <a:solidFill>
                    <a:srgbClr val="0070C0"/>
                  </a:solidFill>
                  <a:latin typeface="微软雅黑" panose="020B0503020204020204" pitchFamily="34" charset="-122"/>
                  <a:ea typeface="微软雅黑" panose="020B0503020204020204" pitchFamily="34" charset="-122"/>
                </a:rPr>
                <a:t>投资建设信息技术基础设施</a:t>
              </a:r>
              <a:r>
                <a:rPr lang="zh-CN" altLang="en-US" sz="1428" dirty="0">
                  <a:solidFill>
                    <a:schemeClr val="bg2">
                      <a:lumMod val="25000"/>
                    </a:schemeClr>
                  </a:solidFill>
                  <a:latin typeface="微软雅黑" panose="020B0503020204020204" pitchFamily="34" charset="-122"/>
                  <a:ea typeface="微软雅黑" panose="020B0503020204020204" pitchFamily="34" charset="-122"/>
                </a:rPr>
                <a:t>，省级人民政府可将此类投资纳入当地数字经济发展规划并予以支持。</a:t>
              </a:r>
            </a:p>
          </p:txBody>
        </p:sp>
      </p:grpSp>
      <p:sp>
        <p:nvSpPr>
          <p:cNvPr id="28" name="文本框 35"/>
          <p:cNvSpPr txBox="1"/>
          <p:nvPr/>
        </p:nvSpPr>
        <p:spPr>
          <a:xfrm>
            <a:off x="127878" y="6042799"/>
            <a:ext cx="3822598" cy="670461"/>
          </a:xfrm>
          <a:prstGeom prst="rect">
            <a:avLst/>
          </a:prstGeom>
          <a:noFill/>
        </p:spPr>
        <p:txBody>
          <a:bodyPr wrap="square" rtlCol="0">
            <a:spAutoFit/>
          </a:bodyPr>
          <a:lstStyle/>
          <a:p>
            <a:pPr algn="ctr" defTabSz="1243058">
              <a:defRPr/>
            </a:pPr>
            <a:r>
              <a:rPr lang="zh-CN" altLang="en-US"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浙江省</a:t>
            </a:r>
            <a:endParaRPr lang="en-US" altLang="zh-CN"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243058"/>
            <a:r>
              <a:rPr lang="en-US" altLang="zh-CN"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 </a:t>
            </a:r>
            <a:r>
              <a:rPr lang="zh-CN" altLang="en-US"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浙江省推进数字化园区建设实施方案</a:t>
            </a:r>
            <a:r>
              <a:rPr lang="en-US" altLang="zh-CN" sz="1224" b="1"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 </a:t>
            </a:r>
            <a:endParaRPr lang="en-US" altLang="zh-CN" sz="1224" b="1"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1243058"/>
            <a:r>
              <a:rPr lang="zh-CN" altLang="en-US" sz="1224"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a:t>
            </a:r>
            <a:r>
              <a:rPr sz="1224"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浙经信数经〔2019〕131 号</a:t>
            </a:r>
            <a:r>
              <a:rPr lang="zh-CN" altLang="en-US" sz="1224" kern="0"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29" name="矩形 28"/>
          <p:cNvSpPr/>
          <p:nvPr/>
        </p:nvSpPr>
        <p:spPr>
          <a:xfrm>
            <a:off x="3921326" y="5775910"/>
            <a:ext cx="8429020" cy="1215251"/>
          </a:xfrm>
          <a:prstGeom prst="rect">
            <a:avLst/>
          </a:prstGeom>
        </p:spPr>
        <p:txBody>
          <a:bodyPr wrap="square">
            <a:spAutoFit/>
          </a:bodyPr>
          <a:lstStyle/>
          <a:p>
            <a:pPr marL="233195" indent="-233195" defTabSz="1243058">
              <a:buFont typeface="Arial" panose="020B0604020202020204" pitchFamily="34" charset="0"/>
              <a:buChar char="•"/>
            </a:pPr>
            <a:r>
              <a:rPr lang="zh-CN" altLang="en-US" sz="1428"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贯彻落实关于实施数字经济“一号工程”的决策部署，做好百个数字化园区建设工作。 </a:t>
            </a:r>
          </a:p>
          <a:p>
            <a:pPr marL="233195" indent="-233195" defTabSz="1243058">
              <a:buFont typeface="Arial" panose="020B0604020202020204" pitchFamily="34" charset="0"/>
              <a:buChar char="•"/>
            </a:pPr>
            <a:r>
              <a:rPr lang="zh-CN" altLang="en-US" sz="1428" dirty="0">
                <a:solidFill>
                  <a:schemeClr val="bg2">
                    <a:lumMod val="25000"/>
                  </a:schemeClr>
                </a:solidFill>
                <a:latin typeface="微软雅黑" panose="020B0503020204020204" pitchFamily="34" charset="-122"/>
                <a:ea typeface="微软雅黑" panose="020B0503020204020204" pitchFamily="34" charset="-122"/>
                <a:cs typeface="微软雅黑" panose="020B0503020204020204" pitchFamily="34" charset="-122"/>
              </a:rPr>
              <a:t>加强新一代信息技术在各类开发区、高新区、特色小镇、小微企业园及产业集群中的应用，整合园区内外部资源，实现数字化赋能园区管理和生产性、生活性服务，逐步达到全省园区数字化功能服务全覆盖，支撑园区企业数字化转型和数字产业集群发展。</a:t>
            </a:r>
          </a:p>
          <a:p>
            <a:pPr marL="233195" indent="-233195" defTabSz="1243058">
              <a:buFont typeface="Arial" panose="020B0604020202020204" pitchFamily="34" charset="0"/>
              <a:buChar char="•"/>
            </a:pPr>
            <a:r>
              <a:rPr lang="zh-CN" altLang="en-US" sz="1428" b="1" dirty="0">
                <a:solidFill>
                  <a:srgbClr val="0070C0"/>
                </a:solidFill>
                <a:latin typeface="微软雅黑" panose="020B0503020204020204" pitchFamily="34" charset="-122"/>
                <a:ea typeface="微软雅黑" panose="020B0503020204020204" pitchFamily="34" charset="-122"/>
                <a:cs typeface="微软雅黑" panose="020B0503020204020204" pitchFamily="34" charset="-122"/>
              </a:rPr>
              <a:t>四大建设要求：园区信息基础设施完备、园区管理数字化、园区服务数字化、园区企业数字化转型</a:t>
            </a:r>
            <a:r>
              <a:rPr lang="zh-CN" altLang="en-US" sz="1428" dirty="0">
                <a:latin typeface="微软雅黑" panose="020B0503020204020204" pitchFamily="34" charset="-122"/>
                <a:ea typeface="微软雅黑" panose="020B0503020204020204" pitchFamily="34" charset="-122"/>
                <a:cs typeface="微软雅黑" panose="020B0503020204020204" pitchFamily="34" charset="-122"/>
              </a:rPr>
              <a:t>。</a:t>
            </a:r>
          </a:p>
        </p:txBody>
      </p:sp>
      <p:sp>
        <p:nvSpPr>
          <p:cNvPr id="23"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园区转型升级要求</a:t>
            </a:r>
            <a:endParaRPr lang="zh-CN" altLang="en-US" dirty="0"/>
          </a:p>
        </p:txBody>
      </p:sp>
      <p:sp>
        <p:nvSpPr>
          <p:cNvPr id="24" name="Rectangle 67"/>
          <p:cNvSpPr/>
          <p:nvPr/>
        </p:nvSpPr>
        <p:spPr>
          <a:xfrm>
            <a:off x="189031" y="825102"/>
            <a:ext cx="12060000" cy="646331"/>
          </a:xfrm>
          <a:prstGeom prst="rect">
            <a:avLst/>
          </a:prstGeom>
          <a:noFill/>
        </p:spPr>
        <p:txBody>
          <a:bodyPr wrap="square" anchor="ctr">
            <a:spAutoFit/>
            <a:scene3d>
              <a:camera prst="orthographicFront"/>
              <a:lightRig rig="threePt" dir="t"/>
            </a:scene3d>
          </a:bodyPr>
          <a:lstStyle/>
          <a:p>
            <a:pPr algn="just" defTabSz="466390">
              <a:lnSpc>
                <a:spcPct val="200000"/>
              </a:lnSpc>
            </a:pPr>
            <a:r>
              <a:rPr lang="zh-CN" altLang="en-US" sz="1600" dirty="0">
                <a:solidFill>
                  <a:schemeClr val="bg2">
                    <a:lumMod val="25000"/>
                  </a:schemeClr>
                </a:solidFill>
                <a:latin typeface="+mn-ea"/>
              </a:rPr>
              <a:t>国家在“十四五”规划和</a:t>
            </a:r>
            <a:r>
              <a:rPr lang="en-US" altLang="zh-CN" sz="1600" dirty="0">
                <a:solidFill>
                  <a:schemeClr val="bg2">
                    <a:lumMod val="25000"/>
                  </a:schemeClr>
                </a:solidFill>
                <a:latin typeface="+mn-ea"/>
              </a:rPr>
              <a:t>2035</a:t>
            </a:r>
            <a:r>
              <a:rPr lang="zh-CN" altLang="en-US" sz="1600" dirty="0">
                <a:solidFill>
                  <a:schemeClr val="bg2">
                    <a:lumMod val="25000"/>
                  </a:schemeClr>
                </a:solidFill>
                <a:latin typeface="+mn-ea"/>
              </a:rPr>
              <a:t>年远景目标中明确指出，</a:t>
            </a:r>
            <a:r>
              <a:rPr lang="zh-CN" altLang="en-US" sz="1600" b="1" dirty="0">
                <a:solidFill>
                  <a:srgbClr val="0070C0"/>
                </a:solidFill>
                <a:latin typeface="微软雅黑" panose="020B0503020204020204" pitchFamily="34" charset="-122"/>
                <a:ea typeface="微软雅黑" panose="020B0503020204020204" pitchFamily="34" charset="-122"/>
              </a:rPr>
              <a:t>“分级分类推进新型智慧城市建设</a:t>
            </a:r>
            <a:r>
              <a:rPr lang="zh-CN" altLang="en-US" sz="1600" b="1" dirty="0" smtClean="0">
                <a:solidFill>
                  <a:srgbClr val="0070C0"/>
                </a:solidFill>
                <a:latin typeface="微软雅黑" panose="020B0503020204020204" pitchFamily="34" charset="-122"/>
                <a:ea typeface="微软雅黑" panose="020B0503020204020204" pitchFamily="34" charset="-122"/>
              </a:rPr>
              <a:t>”</a:t>
            </a:r>
            <a:r>
              <a:rPr lang="zh-CN" altLang="en-US" sz="1600" dirty="0">
                <a:solidFill>
                  <a:schemeClr val="bg2">
                    <a:lumMod val="25000"/>
                  </a:schemeClr>
                </a:solidFill>
                <a:latin typeface="+mn-ea"/>
              </a:rPr>
              <a:t>，</a:t>
            </a:r>
            <a:r>
              <a:rPr lang="zh-CN" altLang="en-US" sz="1800" b="1" dirty="0">
                <a:solidFill>
                  <a:srgbClr val="0070C0"/>
                </a:solidFill>
                <a:latin typeface="微软雅黑" panose="020B0503020204020204" pitchFamily="34" charset="-122"/>
                <a:ea typeface="微软雅黑" panose="020B0503020204020204" pitchFamily="34" charset="-122"/>
              </a:rPr>
              <a:t>智慧园区</a:t>
            </a:r>
            <a:r>
              <a:rPr lang="zh-CN" altLang="en-US" sz="1600" dirty="0">
                <a:solidFill>
                  <a:schemeClr val="bg2">
                    <a:lumMod val="25000"/>
                  </a:schemeClr>
                </a:solidFill>
                <a:latin typeface="+mn-ea"/>
              </a:rPr>
              <a:t>是智慧</a:t>
            </a:r>
            <a:r>
              <a:rPr lang="zh-CN" altLang="en-US" sz="1600" dirty="0" smtClean="0">
                <a:solidFill>
                  <a:schemeClr val="bg2">
                    <a:lumMod val="25000"/>
                  </a:schemeClr>
                </a:solidFill>
                <a:latin typeface="+mn-ea"/>
              </a:rPr>
              <a:t>城市建设的重中之重。</a:t>
            </a:r>
            <a:endParaRPr lang="zh-CN" altLang="en-US" sz="1600" dirty="0">
              <a:solidFill>
                <a:schemeClr val="bg2">
                  <a:lumMod val="25000"/>
                </a:schemeClr>
              </a:solidFill>
              <a:latin typeface="+mn-ea"/>
            </a:endParaRPr>
          </a:p>
        </p:txBody>
      </p:sp>
    </p:spTree>
    <p:extLst>
      <p:ext uri="{BB962C8B-B14F-4D97-AF65-F5344CB8AC3E}">
        <p14:creationId xmlns:p14="http://schemas.microsoft.com/office/powerpoint/2010/main" val="3373490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图片 43"/>
          <p:cNvPicPr>
            <a:picLocks noChangeAspect="1"/>
          </p:cNvPicPr>
          <p:nvPr/>
        </p:nvPicPr>
        <p:blipFill>
          <a:blip r:embed="rId2"/>
          <a:stretch>
            <a:fillRect/>
          </a:stretch>
        </p:blipFill>
        <p:spPr>
          <a:xfrm>
            <a:off x="152495" y="1118647"/>
            <a:ext cx="12133073" cy="5503609"/>
          </a:xfrm>
          <a:prstGeom prst="rect">
            <a:avLst/>
          </a:prstGeom>
        </p:spPr>
      </p:pic>
      <p:sp>
        <p:nvSpPr>
          <p:cNvPr id="5"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智慧园区发展路径</a:t>
            </a:r>
            <a:endParaRPr lang="zh-CN" altLang="en-US" dirty="0"/>
          </a:p>
        </p:txBody>
      </p:sp>
    </p:spTree>
    <p:extLst>
      <p:ext uri="{BB962C8B-B14F-4D97-AF65-F5344CB8AC3E}">
        <p14:creationId xmlns:p14="http://schemas.microsoft.com/office/powerpoint/2010/main" val="1890728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智慧园区技术支撑</a:t>
            </a:r>
            <a:endParaRPr lang="zh-CN" altLang="en-US" dirty="0"/>
          </a:p>
        </p:txBody>
      </p:sp>
      <p:sp>
        <p:nvSpPr>
          <p:cNvPr id="4" name="Trapezoid 413"/>
          <p:cNvSpPr/>
          <p:nvPr/>
        </p:nvSpPr>
        <p:spPr bwMode="auto">
          <a:xfrm rot="16200000">
            <a:off x="445851" y="2626935"/>
            <a:ext cx="4318385" cy="1843457"/>
          </a:xfrm>
          <a:prstGeom prst="trapezoid">
            <a:avLst/>
          </a:prstGeom>
          <a:solidFill>
            <a:srgbClr val="FFFFFF">
              <a:lumMod val="85000"/>
            </a:srgbClr>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t" anchorCtr="0" forceAA="0" compatLnSpc="1">
            <a:noAutofit/>
          </a:bodyPr>
          <a:lstStyle/>
          <a:p>
            <a:pPr algn="ctr" defTabSz="685334">
              <a:lnSpc>
                <a:spcPct val="90000"/>
              </a:lnSpc>
              <a:defRPr/>
            </a:pPr>
            <a:endParaRPr lang="en-US" sz="1469" b="1" kern="0" dirty="0">
              <a:solidFill>
                <a:srgbClr val="FFFFFF"/>
              </a:solidFill>
              <a:latin typeface="Segoe UI Light" panose="020B0502040204020203"/>
              <a:ea typeface="Segoe UI" panose="020B0502040204020203" pitchFamily="34" charset="0"/>
              <a:cs typeface="Segoe UI" panose="020B0502040204020203" pitchFamily="34" charset="0"/>
            </a:endParaRPr>
          </a:p>
        </p:txBody>
      </p:sp>
      <p:sp>
        <p:nvSpPr>
          <p:cNvPr id="6" name="Oval 414"/>
          <p:cNvSpPr/>
          <p:nvPr/>
        </p:nvSpPr>
        <p:spPr bwMode="auto">
          <a:xfrm>
            <a:off x="123031" y="1858905"/>
            <a:ext cx="3407943" cy="3407942"/>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t" anchorCtr="0" forceAA="0" compatLnSpc="1">
            <a:noAutofit/>
          </a:bodyPr>
          <a:lstStyle/>
          <a:p>
            <a:pPr algn="ctr" defTabSz="685334">
              <a:lnSpc>
                <a:spcPct val="90000"/>
              </a:lnSpc>
              <a:defRPr/>
            </a:pPr>
            <a:endParaRPr lang="en-US" sz="1469" b="1" kern="0" dirty="0">
              <a:solidFill>
                <a:srgbClr val="FFFFFF"/>
              </a:solidFill>
              <a:latin typeface="Segoe UI Light" panose="020B0502040204020203"/>
              <a:ea typeface="Segoe UI" panose="020B0502040204020203" pitchFamily="34" charset="0"/>
              <a:cs typeface="Segoe UI" panose="020B0502040204020203" pitchFamily="34" charset="0"/>
            </a:endParaRPr>
          </a:p>
        </p:txBody>
      </p:sp>
      <p:sp>
        <p:nvSpPr>
          <p:cNvPr id="7" name="Oval 415"/>
          <p:cNvSpPr/>
          <p:nvPr/>
        </p:nvSpPr>
        <p:spPr bwMode="auto">
          <a:xfrm>
            <a:off x="188025" y="2046663"/>
            <a:ext cx="3032425" cy="3032424"/>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t" anchorCtr="0" forceAA="0" compatLnSpc="1">
            <a:noAutofit/>
          </a:bodyPr>
          <a:lstStyle/>
          <a:p>
            <a:pPr algn="ctr" defTabSz="685334">
              <a:lnSpc>
                <a:spcPct val="90000"/>
              </a:lnSpc>
              <a:defRPr/>
            </a:pPr>
            <a:endParaRPr lang="en-US" sz="1469" b="1" kern="0" dirty="0">
              <a:solidFill>
                <a:srgbClr val="FFFFFF"/>
              </a:solidFill>
              <a:latin typeface="Segoe UI Light" panose="020B0502040204020203"/>
              <a:ea typeface="Segoe UI" panose="020B0502040204020203" pitchFamily="34" charset="0"/>
              <a:cs typeface="Segoe UI" panose="020B0502040204020203" pitchFamily="34" charset="0"/>
            </a:endParaRPr>
          </a:p>
        </p:txBody>
      </p:sp>
      <p:sp>
        <p:nvSpPr>
          <p:cNvPr id="8" name="AutoShape 3"/>
          <p:cNvSpPr>
            <a:spLocks noChangeAspect="1" noChangeArrowheads="1" noTextEdit="1"/>
          </p:cNvSpPr>
          <p:nvPr/>
        </p:nvSpPr>
        <p:spPr bwMode="auto">
          <a:xfrm>
            <a:off x="243724" y="2102218"/>
            <a:ext cx="2922042" cy="2922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6" tIns="34293" rIns="68586" bIns="34293" numCol="1" anchor="t" anchorCtr="0" compatLnSpc="1"/>
          <a:lstStyle/>
          <a:p>
            <a:pPr defTabSz="685334">
              <a:defRPr/>
            </a:pPr>
            <a:endParaRPr lang="en-US" sz="1352" kern="0">
              <a:solidFill>
                <a:srgbClr val="000000"/>
              </a:solidFill>
            </a:endParaRPr>
          </a:p>
        </p:txBody>
      </p:sp>
      <p:sp>
        <p:nvSpPr>
          <p:cNvPr id="9" name="Freeform 5"/>
          <p:cNvSpPr/>
          <p:nvPr/>
        </p:nvSpPr>
        <p:spPr bwMode="auto">
          <a:xfrm>
            <a:off x="1728560" y="2099836"/>
            <a:ext cx="1439588" cy="2171885"/>
          </a:xfrm>
          <a:custGeom>
            <a:avLst/>
            <a:gdLst>
              <a:gd name="T0" fmla="*/ 0 w 649"/>
              <a:gd name="T1" fmla="*/ 0 h 979"/>
              <a:gd name="T2" fmla="*/ 0 w 649"/>
              <a:gd name="T3" fmla="*/ 653 h 979"/>
              <a:gd name="T4" fmla="*/ 142 w 649"/>
              <a:gd name="T5" fmla="*/ 735 h 979"/>
              <a:gd name="T6" fmla="*/ 566 w 649"/>
              <a:gd name="T7" fmla="*/ 979 h 979"/>
              <a:gd name="T8" fmla="*/ 649 w 649"/>
              <a:gd name="T9" fmla="*/ 659 h 979"/>
              <a:gd name="T10" fmla="*/ 0 w 649"/>
              <a:gd name="T11" fmla="*/ 0 h 979"/>
            </a:gdLst>
            <a:ahLst/>
            <a:cxnLst>
              <a:cxn ang="0">
                <a:pos x="T0" y="T1"/>
              </a:cxn>
              <a:cxn ang="0">
                <a:pos x="T2" y="T3"/>
              </a:cxn>
              <a:cxn ang="0">
                <a:pos x="T4" y="T5"/>
              </a:cxn>
              <a:cxn ang="0">
                <a:pos x="T6" y="T7"/>
              </a:cxn>
              <a:cxn ang="0">
                <a:pos x="T8" y="T9"/>
              </a:cxn>
              <a:cxn ang="0">
                <a:pos x="T10" y="T11"/>
              </a:cxn>
            </a:cxnLst>
            <a:rect l="0" t="0" r="r" b="b"/>
            <a:pathLst>
              <a:path w="649" h="979">
                <a:moveTo>
                  <a:pt x="0" y="0"/>
                </a:moveTo>
                <a:cubicBezTo>
                  <a:pt x="0" y="653"/>
                  <a:pt x="0" y="653"/>
                  <a:pt x="0" y="653"/>
                </a:cubicBezTo>
                <a:cubicBezTo>
                  <a:pt x="142" y="735"/>
                  <a:pt x="142" y="735"/>
                  <a:pt x="142" y="735"/>
                </a:cubicBezTo>
                <a:cubicBezTo>
                  <a:pt x="566" y="979"/>
                  <a:pt x="566" y="979"/>
                  <a:pt x="566" y="979"/>
                </a:cubicBezTo>
                <a:cubicBezTo>
                  <a:pt x="622" y="878"/>
                  <a:pt x="649" y="776"/>
                  <a:pt x="649" y="659"/>
                </a:cubicBezTo>
                <a:cubicBezTo>
                  <a:pt x="649" y="299"/>
                  <a:pt x="359" y="5"/>
                  <a:pt x="0" y="0"/>
                </a:cubicBezTo>
                <a:close/>
              </a:path>
            </a:pathLst>
          </a:custGeom>
          <a:solidFill>
            <a:srgbClr val="FF8C00"/>
          </a:solidFill>
          <a:ln w="10795" cap="flat" cmpd="sng" algn="ctr">
            <a:noFill/>
            <a:prstDash val="solid"/>
          </a:ln>
          <a:effectLst/>
        </p:spPr>
        <p:txBody>
          <a:bodyPr lIns="137172" tIns="137172" rIns="137172" bIns="137172" anchor="ctr"/>
          <a:lstStyle/>
          <a:p>
            <a:pPr defTabSz="699585">
              <a:lnSpc>
                <a:spcPct val="90000"/>
              </a:lnSpc>
              <a:defRPr/>
            </a:pPr>
            <a:endParaRPr lang="en-US" sz="2101" kern="0">
              <a:solidFill>
                <a:srgbClr val="FFFFFF"/>
              </a:solidFill>
              <a:latin typeface="Segoe UI Light" panose="020B0502040204020203"/>
            </a:endParaRPr>
          </a:p>
        </p:txBody>
      </p:sp>
      <p:sp>
        <p:nvSpPr>
          <p:cNvPr id="10" name="Freeform 6"/>
          <p:cNvSpPr/>
          <p:nvPr/>
        </p:nvSpPr>
        <p:spPr bwMode="auto">
          <a:xfrm>
            <a:off x="41300" y="2099836"/>
            <a:ext cx="1642011" cy="2171885"/>
          </a:xfrm>
          <a:custGeom>
            <a:avLst/>
            <a:gdLst>
              <a:gd name="T0" fmla="*/ 421 w 740"/>
              <a:gd name="T1" fmla="*/ 88 h 979"/>
              <a:gd name="T2" fmla="*/ 175 w 740"/>
              <a:gd name="T3" fmla="*/ 979 h 979"/>
              <a:gd name="T4" fmla="*/ 740 w 740"/>
              <a:gd name="T5" fmla="*/ 653 h 979"/>
              <a:gd name="T6" fmla="*/ 740 w 740"/>
              <a:gd name="T7" fmla="*/ 0 h 979"/>
              <a:gd name="T8" fmla="*/ 421 w 740"/>
              <a:gd name="T9" fmla="*/ 88 h 979"/>
            </a:gdLst>
            <a:ahLst/>
            <a:cxnLst>
              <a:cxn ang="0">
                <a:pos x="T0" y="T1"/>
              </a:cxn>
              <a:cxn ang="0">
                <a:pos x="T2" y="T3"/>
              </a:cxn>
              <a:cxn ang="0">
                <a:pos x="T4" y="T5"/>
              </a:cxn>
              <a:cxn ang="0">
                <a:pos x="T6" y="T7"/>
              </a:cxn>
              <a:cxn ang="0">
                <a:pos x="T8" y="T9"/>
              </a:cxn>
            </a:cxnLst>
            <a:rect l="0" t="0" r="r" b="b"/>
            <a:pathLst>
              <a:path w="740" h="979">
                <a:moveTo>
                  <a:pt x="421" y="88"/>
                </a:moveTo>
                <a:cubicBezTo>
                  <a:pt x="109" y="268"/>
                  <a:pt x="0" y="666"/>
                  <a:pt x="175" y="979"/>
                </a:cubicBezTo>
                <a:cubicBezTo>
                  <a:pt x="740" y="653"/>
                  <a:pt x="740" y="653"/>
                  <a:pt x="740" y="653"/>
                </a:cubicBezTo>
                <a:cubicBezTo>
                  <a:pt x="740" y="0"/>
                  <a:pt x="740" y="0"/>
                  <a:pt x="740" y="0"/>
                </a:cubicBezTo>
                <a:cubicBezTo>
                  <a:pt x="624" y="1"/>
                  <a:pt x="522" y="29"/>
                  <a:pt x="421" y="88"/>
                </a:cubicBezTo>
                <a:close/>
              </a:path>
            </a:pathLst>
          </a:custGeom>
          <a:solidFill>
            <a:srgbClr val="0072C6"/>
          </a:solidFill>
          <a:ln w="10795" cap="flat" cmpd="sng" algn="ctr">
            <a:noFill/>
            <a:prstDash val="solid"/>
          </a:ln>
          <a:effectLst/>
        </p:spPr>
        <p:txBody>
          <a:bodyPr lIns="137172" tIns="137172" rIns="137172" bIns="137172" anchor="ctr"/>
          <a:lstStyle/>
          <a:p>
            <a:pPr defTabSz="699585">
              <a:lnSpc>
                <a:spcPct val="90000"/>
              </a:lnSpc>
              <a:defRPr/>
            </a:pPr>
            <a:endParaRPr lang="en-US" sz="2101" kern="0">
              <a:solidFill>
                <a:srgbClr val="FFFFFF"/>
              </a:solidFill>
              <a:latin typeface="Segoe UI Light" panose="020B0502040204020203"/>
            </a:endParaRPr>
          </a:p>
        </p:txBody>
      </p:sp>
      <p:sp>
        <p:nvSpPr>
          <p:cNvPr id="11" name="Freeform 419"/>
          <p:cNvSpPr/>
          <p:nvPr/>
        </p:nvSpPr>
        <p:spPr bwMode="auto">
          <a:xfrm>
            <a:off x="449719" y="3587054"/>
            <a:ext cx="2512433" cy="1437207"/>
          </a:xfrm>
          <a:custGeom>
            <a:avLst/>
            <a:gdLst>
              <a:gd name="T0" fmla="*/ 0 w 1132"/>
              <a:gd name="T1" fmla="*/ 327 h 648"/>
              <a:gd name="T2" fmla="*/ 237 w 1132"/>
              <a:gd name="T3" fmla="*/ 559 h 648"/>
              <a:gd name="T4" fmla="*/ 565 w 1132"/>
              <a:gd name="T5" fmla="*/ 648 h 648"/>
              <a:gd name="T6" fmla="*/ 1132 w 1132"/>
              <a:gd name="T7" fmla="*/ 327 h 648"/>
              <a:gd name="T8" fmla="*/ 566 w 1132"/>
              <a:gd name="T9" fmla="*/ 0 h 648"/>
              <a:gd name="T10" fmla="*/ 555 w 1132"/>
              <a:gd name="T11" fmla="*/ 7 h 648"/>
              <a:gd name="T12" fmla="*/ 0 w 1132"/>
              <a:gd name="T13" fmla="*/ 327 h 648"/>
            </a:gdLst>
            <a:ahLst/>
            <a:cxnLst>
              <a:cxn ang="0">
                <a:pos x="T0" y="T1"/>
              </a:cxn>
              <a:cxn ang="0">
                <a:pos x="T2" y="T3"/>
              </a:cxn>
              <a:cxn ang="0">
                <a:pos x="T4" y="T5"/>
              </a:cxn>
              <a:cxn ang="0">
                <a:pos x="T6" y="T7"/>
              </a:cxn>
              <a:cxn ang="0">
                <a:pos x="T8" y="T9"/>
              </a:cxn>
              <a:cxn ang="0">
                <a:pos x="T10" y="T11"/>
              </a:cxn>
              <a:cxn ang="0">
                <a:pos x="T12" y="T13"/>
              </a:cxn>
            </a:cxnLst>
            <a:rect l="0" t="0" r="r" b="b"/>
            <a:pathLst>
              <a:path w="1132" h="648">
                <a:moveTo>
                  <a:pt x="0" y="327"/>
                </a:moveTo>
                <a:cubicBezTo>
                  <a:pt x="60" y="427"/>
                  <a:pt x="135" y="501"/>
                  <a:pt x="237" y="559"/>
                </a:cubicBezTo>
                <a:cubicBezTo>
                  <a:pt x="337" y="617"/>
                  <a:pt x="450" y="648"/>
                  <a:pt x="565" y="648"/>
                </a:cubicBezTo>
                <a:cubicBezTo>
                  <a:pt x="797" y="648"/>
                  <a:pt x="1013" y="525"/>
                  <a:pt x="1132" y="327"/>
                </a:cubicBezTo>
                <a:cubicBezTo>
                  <a:pt x="566" y="0"/>
                  <a:pt x="566" y="0"/>
                  <a:pt x="566" y="0"/>
                </a:cubicBezTo>
                <a:cubicBezTo>
                  <a:pt x="555" y="7"/>
                  <a:pt x="555" y="7"/>
                  <a:pt x="555" y="7"/>
                </a:cubicBezTo>
                <a:lnTo>
                  <a:pt x="0" y="327"/>
                </a:lnTo>
                <a:close/>
              </a:path>
            </a:pathLst>
          </a:custGeom>
          <a:solidFill>
            <a:srgbClr val="68217A">
              <a:lumMod val="75000"/>
            </a:srgbClr>
          </a:solidFill>
          <a:ln w="10795" cap="flat" cmpd="sng" algn="ctr">
            <a:noFill/>
            <a:prstDash val="solid"/>
          </a:ln>
          <a:effectLst/>
        </p:spPr>
        <p:txBody>
          <a:bodyPr lIns="137172" tIns="137172" rIns="137172" bIns="137172" anchor="ctr"/>
          <a:lstStyle/>
          <a:p>
            <a:pPr defTabSz="699585">
              <a:lnSpc>
                <a:spcPct val="90000"/>
              </a:lnSpc>
              <a:defRPr/>
            </a:pPr>
            <a:endParaRPr lang="en-US" sz="2101" kern="0">
              <a:solidFill>
                <a:srgbClr val="FFFFFF"/>
              </a:solidFill>
              <a:latin typeface="Segoe UI Light" panose="020B0502040204020203"/>
            </a:endParaRPr>
          </a:p>
        </p:txBody>
      </p:sp>
      <p:sp>
        <p:nvSpPr>
          <p:cNvPr id="12" name="Freeform 8"/>
          <p:cNvSpPr>
            <a:spLocks noEditPoints="1"/>
          </p:cNvSpPr>
          <p:nvPr/>
        </p:nvSpPr>
        <p:spPr bwMode="auto">
          <a:xfrm>
            <a:off x="243723" y="2099836"/>
            <a:ext cx="1439588" cy="2168313"/>
          </a:xfrm>
          <a:custGeom>
            <a:avLst/>
            <a:gdLst>
              <a:gd name="T0" fmla="*/ 202 w 649"/>
              <a:gd name="T1" fmla="*/ 487 h 977"/>
              <a:gd name="T2" fmla="*/ 646 w 649"/>
              <a:gd name="T3" fmla="*/ 60 h 977"/>
              <a:gd name="T4" fmla="*/ 88 w 649"/>
              <a:gd name="T5" fmla="*/ 497 h 977"/>
              <a:gd name="T6" fmla="*/ 219 w 649"/>
              <a:gd name="T7" fmla="*/ 513 h 977"/>
              <a:gd name="T8" fmla="*/ 435 w 649"/>
              <a:gd name="T9" fmla="*/ 455 h 977"/>
              <a:gd name="T10" fmla="*/ 607 w 649"/>
              <a:gd name="T11" fmla="*/ 499 h 977"/>
              <a:gd name="T12" fmla="*/ 408 w 649"/>
              <a:gd name="T13" fmla="*/ 350 h 977"/>
              <a:gd name="T14" fmla="*/ 227 w 649"/>
              <a:gd name="T15" fmla="*/ 163 h 977"/>
              <a:gd name="T16" fmla="*/ 51 w 649"/>
              <a:gd name="T17" fmla="*/ 852 h 977"/>
              <a:gd name="T18" fmla="*/ 422 w 649"/>
              <a:gd name="T19" fmla="*/ 323 h 977"/>
              <a:gd name="T20" fmla="*/ 347 w 649"/>
              <a:gd name="T21" fmla="*/ 205 h 977"/>
              <a:gd name="T22" fmla="*/ 493 w 649"/>
              <a:gd name="T23" fmla="*/ 136 h 977"/>
              <a:gd name="T24" fmla="*/ 6 w 649"/>
              <a:gd name="T25" fmla="*/ 583 h 977"/>
              <a:gd name="T26" fmla="*/ 134 w 649"/>
              <a:gd name="T27" fmla="*/ 616 h 977"/>
              <a:gd name="T28" fmla="*/ 267 w 649"/>
              <a:gd name="T29" fmla="*/ 593 h 977"/>
              <a:gd name="T30" fmla="*/ 337 w 649"/>
              <a:gd name="T31" fmla="*/ 143 h 977"/>
              <a:gd name="T32" fmla="*/ 231 w 649"/>
              <a:gd name="T33" fmla="*/ 811 h 977"/>
              <a:gd name="T34" fmla="*/ 647 w 649"/>
              <a:gd name="T35" fmla="*/ 180 h 977"/>
              <a:gd name="T36" fmla="*/ 193 w 649"/>
              <a:gd name="T37" fmla="*/ 576 h 977"/>
              <a:gd name="T38" fmla="*/ 174 w 649"/>
              <a:gd name="T39" fmla="*/ 599 h 977"/>
              <a:gd name="T40" fmla="*/ 643 w 649"/>
              <a:gd name="T41" fmla="*/ 362 h 977"/>
              <a:gd name="T42" fmla="*/ 244 w 649"/>
              <a:gd name="T43" fmla="*/ 610 h 977"/>
              <a:gd name="T44" fmla="*/ 219 w 649"/>
              <a:gd name="T45" fmla="*/ 721 h 977"/>
              <a:gd name="T46" fmla="*/ 438 w 649"/>
              <a:gd name="T47" fmla="*/ 280 h 977"/>
              <a:gd name="T48" fmla="*/ 86 w 649"/>
              <a:gd name="T49" fmla="*/ 714 h 977"/>
              <a:gd name="T50" fmla="*/ 476 w 649"/>
              <a:gd name="T51" fmla="*/ 232 h 977"/>
              <a:gd name="T52" fmla="*/ 473 w 649"/>
              <a:gd name="T53" fmla="*/ 300 h 977"/>
              <a:gd name="T54" fmla="*/ 424 w 649"/>
              <a:gd name="T55" fmla="*/ 397 h 977"/>
              <a:gd name="T56" fmla="*/ 531 w 649"/>
              <a:gd name="T57" fmla="*/ 363 h 977"/>
              <a:gd name="T58" fmla="*/ 156 w 649"/>
              <a:gd name="T59" fmla="*/ 507 h 977"/>
              <a:gd name="T60" fmla="*/ 547 w 649"/>
              <a:gd name="T61" fmla="*/ 507 h 977"/>
              <a:gd name="T62" fmla="*/ 275 w 649"/>
              <a:gd name="T63" fmla="*/ 260 h 977"/>
              <a:gd name="T64" fmla="*/ 371 w 649"/>
              <a:gd name="T65" fmla="*/ 428 h 977"/>
              <a:gd name="T66" fmla="*/ 462 w 649"/>
              <a:gd name="T67" fmla="*/ 549 h 977"/>
              <a:gd name="T68" fmla="*/ 111 w 649"/>
              <a:gd name="T69" fmla="*/ 350 h 977"/>
              <a:gd name="T70" fmla="*/ 127 w 649"/>
              <a:gd name="T71" fmla="*/ 401 h 977"/>
              <a:gd name="T72" fmla="*/ 63 w 649"/>
              <a:gd name="T73" fmla="*/ 938 h 977"/>
              <a:gd name="T74" fmla="*/ 249 w 649"/>
              <a:gd name="T75" fmla="*/ 869 h 977"/>
              <a:gd name="T76" fmla="*/ 133 w 649"/>
              <a:gd name="T77" fmla="*/ 641 h 977"/>
              <a:gd name="T78" fmla="*/ 581 w 649"/>
              <a:gd name="T79" fmla="*/ 15 h 977"/>
              <a:gd name="T80" fmla="*/ 593 w 649"/>
              <a:gd name="T81" fmla="*/ 280 h 977"/>
              <a:gd name="T82" fmla="*/ 640 w 649"/>
              <a:gd name="T83" fmla="*/ 260 h 977"/>
              <a:gd name="T84" fmla="*/ 12 w 649"/>
              <a:gd name="T85" fmla="*/ 714 h 977"/>
              <a:gd name="T86" fmla="*/ 32 w 649"/>
              <a:gd name="T87" fmla="*/ 806 h 977"/>
              <a:gd name="T88" fmla="*/ 64 w 649"/>
              <a:gd name="T89" fmla="*/ 501 h 977"/>
              <a:gd name="T90" fmla="*/ 351 w 649"/>
              <a:gd name="T91" fmla="*/ 335 h 977"/>
              <a:gd name="T92" fmla="*/ 227 w 649"/>
              <a:gd name="T93" fmla="*/ 288 h 977"/>
              <a:gd name="T94" fmla="*/ 450 w 649"/>
              <a:gd name="T95" fmla="*/ 581 h 977"/>
              <a:gd name="T96" fmla="*/ 352 w 649"/>
              <a:gd name="T97" fmla="*/ 464 h 977"/>
              <a:gd name="T98" fmla="*/ 275 w 649"/>
              <a:gd name="T99" fmla="*/ 503 h 977"/>
              <a:gd name="T100" fmla="*/ 347 w 649"/>
              <a:gd name="T101" fmla="*/ 619 h 977"/>
              <a:gd name="T102" fmla="*/ 323 w 649"/>
              <a:gd name="T103" fmla="*/ 695 h 977"/>
              <a:gd name="T104" fmla="*/ 168 w 649"/>
              <a:gd name="T105" fmla="*/ 365 h 977"/>
              <a:gd name="T106" fmla="*/ 128 w 649"/>
              <a:gd name="T107" fmla="*/ 268 h 977"/>
              <a:gd name="T108" fmla="*/ 210 w 649"/>
              <a:gd name="T109" fmla="*/ 323 h 977"/>
              <a:gd name="T110" fmla="*/ 341 w 649"/>
              <a:gd name="T111" fmla="*/ 419 h 977"/>
              <a:gd name="T112" fmla="*/ 300 w 649"/>
              <a:gd name="T113" fmla="*/ 497 h 977"/>
              <a:gd name="T114" fmla="*/ 185 w 649"/>
              <a:gd name="T115" fmla="*/ 332 h 977"/>
              <a:gd name="T116" fmla="*/ 615 w 649"/>
              <a:gd name="T117" fmla="*/ 507 h 977"/>
              <a:gd name="T118" fmla="*/ 564 w 649"/>
              <a:gd name="T119" fmla="*/ 660 h 977"/>
              <a:gd name="T120" fmla="*/ 645 w 649"/>
              <a:gd name="T121" fmla="*/ 627 h 977"/>
              <a:gd name="T122" fmla="*/ 403 w 649"/>
              <a:gd name="T123" fmla="*/ 576 h 977"/>
              <a:gd name="T124" fmla="*/ 472 w 649"/>
              <a:gd name="T125" fmla="*/ 660 h 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9" h="977">
                <a:moveTo>
                  <a:pt x="41" y="431"/>
                </a:moveTo>
                <a:cubicBezTo>
                  <a:pt x="46" y="416"/>
                  <a:pt x="53" y="401"/>
                  <a:pt x="59" y="387"/>
                </a:cubicBezTo>
                <a:cubicBezTo>
                  <a:pt x="63" y="387"/>
                  <a:pt x="63" y="387"/>
                  <a:pt x="63" y="387"/>
                </a:cubicBezTo>
                <a:cubicBezTo>
                  <a:pt x="64" y="387"/>
                  <a:pt x="65" y="387"/>
                  <a:pt x="65" y="389"/>
                </a:cubicBezTo>
                <a:cubicBezTo>
                  <a:pt x="66" y="395"/>
                  <a:pt x="66" y="395"/>
                  <a:pt x="66" y="395"/>
                </a:cubicBezTo>
                <a:cubicBezTo>
                  <a:pt x="66" y="396"/>
                  <a:pt x="66" y="397"/>
                  <a:pt x="65" y="397"/>
                </a:cubicBezTo>
                <a:cubicBezTo>
                  <a:pt x="57" y="401"/>
                  <a:pt x="57" y="401"/>
                  <a:pt x="57" y="401"/>
                </a:cubicBezTo>
                <a:cubicBezTo>
                  <a:pt x="56" y="402"/>
                  <a:pt x="56" y="403"/>
                  <a:pt x="56" y="403"/>
                </a:cubicBezTo>
                <a:cubicBezTo>
                  <a:pt x="63" y="409"/>
                  <a:pt x="63" y="409"/>
                  <a:pt x="63" y="409"/>
                </a:cubicBezTo>
                <a:cubicBezTo>
                  <a:pt x="64" y="410"/>
                  <a:pt x="64" y="411"/>
                  <a:pt x="63" y="412"/>
                </a:cubicBezTo>
                <a:cubicBezTo>
                  <a:pt x="61" y="418"/>
                  <a:pt x="61" y="418"/>
                  <a:pt x="61" y="418"/>
                </a:cubicBezTo>
                <a:cubicBezTo>
                  <a:pt x="60" y="419"/>
                  <a:pt x="59" y="419"/>
                  <a:pt x="58" y="419"/>
                </a:cubicBezTo>
                <a:cubicBezTo>
                  <a:pt x="49" y="416"/>
                  <a:pt x="49" y="416"/>
                  <a:pt x="49" y="416"/>
                </a:cubicBezTo>
                <a:cubicBezTo>
                  <a:pt x="49" y="416"/>
                  <a:pt x="48" y="417"/>
                  <a:pt x="48" y="417"/>
                </a:cubicBezTo>
                <a:cubicBezTo>
                  <a:pt x="50" y="426"/>
                  <a:pt x="50" y="426"/>
                  <a:pt x="50" y="426"/>
                </a:cubicBezTo>
                <a:cubicBezTo>
                  <a:pt x="50" y="427"/>
                  <a:pt x="49" y="428"/>
                  <a:pt x="48" y="429"/>
                </a:cubicBezTo>
                <a:cubicBezTo>
                  <a:pt x="43" y="431"/>
                  <a:pt x="43" y="431"/>
                  <a:pt x="43" y="431"/>
                </a:cubicBezTo>
                <a:cubicBezTo>
                  <a:pt x="42" y="431"/>
                  <a:pt x="41" y="431"/>
                  <a:pt x="41" y="431"/>
                </a:cubicBezTo>
                <a:close/>
                <a:moveTo>
                  <a:pt x="65" y="466"/>
                </a:moveTo>
                <a:cubicBezTo>
                  <a:pt x="66" y="466"/>
                  <a:pt x="66" y="465"/>
                  <a:pt x="66" y="463"/>
                </a:cubicBezTo>
                <a:cubicBezTo>
                  <a:pt x="65" y="458"/>
                  <a:pt x="65" y="458"/>
                  <a:pt x="65" y="458"/>
                </a:cubicBezTo>
                <a:cubicBezTo>
                  <a:pt x="65" y="456"/>
                  <a:pt x="64" y="455"/>
                  <a:pt x="63" y="455"/>
                </a:cubicBezTo>
                <a:cubicBezTo>
                  <a:pt x="63" y="455"/>
                  <a:pt x="63" y="455"/>
                  <a:pt x="54" y="455"/>
                </a:cubicBezTo>
                <a:cubicBezTo>
                  <a:pt x="54" y="455"/>
                  <a:pt x="53" y="454"/>
                  <a:pt x="53" y="453"/>
                </a:cubicBezTo>
                <a:cubicBezTo>
                  <a:pt x="53" y="453"/>
                  <a:pt x="53" y="453"/>
                  <a:pt x="57" y="445"/>
                </a:cubicBezTo>
                <a:cubicBezTo>
                  <a:pt x="58" y="444"/>
                  <a:pt x="57" y="443"/>
                  <a:pt x="56" y="442"/>
                </a:cubicBezTo>
                <a:cubicBezTo>
                  <a:pt x="56" y="442"/>
                  <a:pt x="56" y="442"/>
                  <a:pt x="52" y="438"/>
                </a:cubicBezTo>
                <a:cubicBezTo>
                  <a:pt x="51" y="438"/>
                  <a:pt x="49" y="438"/>
                  <a:pt x="49" y="438"/>
                </a:cubicBezTo>
                <a:cubicBezTo>
                  <a:pt x="49" y="438"/>
                  <a:pt x="49" y="438"/>
                  <a:pt x="42" y="444"/>
                </a:cubicBezTo>
                <a:cubicBezTo>
                  <a:pt x="41" y="443"/>
                  <a:pt x="40" y="443"/>
                  <a:pt x="39" y="443"/>
                </a:cubicBezTo>
                <a:cubicBezTo>
                  <a:pt x="39" y="443"/>
                  <a:pt x="39" y="443"/>
                  <a:pt x="38" y="439"/>
                </a:cubicBezTo>
                <a:cubicBezTo>
                  <a:pt x="36" y="444"/>
                  <a:pt x="35" y="449"/>
                  <a:pt x="33" y="454"/>
                </a:cubicBezTo>
                <a:cubicBezTo>
                  <a:pt x="40" y="454"/>
                  <a:pt x="45" y="460"/>
                  <a:pt x="45" y="467"/>
                </a:cubicBezTo>
                <a:cubicBezTo>
                  <a:pt x="45" y="474"/>
                  <a:pt x="39" y="480"/>
                  <a:pt x="32" y="480"/>
                </a:cubicBezTo>
                <a:cubicBezTo>
                  <a:pt x="30" y="480"/>
                  <a:pt x="27" y="479"/>
                  <a:pt x="26" y="479"/>
                </a:cubicBezTo>
                <a:cubicBezTo>
                  <a:pt x="24" y="486"/>
                  <a:pt x="22" y="493"/>
                  <a:pt x="20" y="500"/>
                </a:cubicBezTo>
                <a:cubicBezTo>
                  <a:pt x="21" y="500"/>
                  <a:pt x="22" y="500"/>
                  <a:pt x="24" y="501"/>
                </a:cubicBezTo>
                <a:cubicBezTo>
                  <a:pt x="25" y="501"/>
                  <a:pt x="27" y="501"/>
                  <a:pt x="27" y="500"/>
                </a:cubicBezTo>
                <a:cubicBezTo>
                  <a:pt x="27" y="500"/>
                  <a:pt x="27" y="500"/>
                  <a:pt x="31" y="492"/>
                </a:cubicBezTo>
                <a:cubicBezTo>
                  <a:pt x="31" y="492"/>
                  <a:pt x="31" y="492"/>
                  <a:pt x="32" y="492"/>
                </a:cubicBezTo>
                <a:cubicBezTo>
                  <a:pt x="33" y="492"/>
                  <a:pt x="34" y="492"/>
                  <a:pt x="35" y="492"/>
                </a:cubicBezTo>
                <a:cubicBezTo>
                  <a:pt x="35" y="492"/>
                  <a:pt x="35" y="492"/>
                  <a:pt x="40" y="499"/>
                </a:cubicBezTo>
                <a:cubicBezTo>
                  <a:pt x="40" y="500"/>
                  <a:pt x="42" y="501"/>
                  <a:pt x="43" y="500"/>
                </a:cubicBezTo>
                <a:cubicBezTo>
                  <a:pt x="43" y="500"/>
                  <a:pt x="43" y="500"/>
                  <a:pt x="48" y="498"/>
                </a:cubicBezTo>
                <a:cubicBezTo>
                  <a:pt x="49" y="497"/>
                  <a:pt x="50" y="496"/>
                  <a:pt x="50" y="495"/>
                </a:cubicBezTo>
                <a:cubicBezTo>
                  <a:pt x="50" y="495"/>
                  <a:pt x="50" y="495"/>
                  <a:pt x="48" y="486"/>
                </a:cubicBezTo>
                <a:cubicBezTo>
                  <a:pt x="48" y="486"/>
                  <a:pt x="49" y="485"/>
                  <a:pt x="49" y="485"/>
                </a:cubicBezTo>
                <a:cubicBezTo>
                  <a:pt x="49" y="485"/>
                  <a:pt x="49" y="485"/>
                  <a:pt x="58" y="488"/>
                </a:cubicBezTo>
                <a:cubicBezTo>
                  <a:pt x="59" y="488"/>
                  <a:pt x="60" y="487"/>
                  <a:pt x="61" y="487"/>
                </a:cubicBezTo>
                <a:cubicBezTo>
                  <a:pt x="61" y="487"/>
                  <a:pt x="61" y="487"/>
                  <a:pt x="63" y="481"/>
                </a:cubicBezTo>
                <a:cubicBezTo>
                  <a:pt x="64" y="480"/>
                  <a:pt x="64" y="479"/>
                  <a:pt x="63" y="478"/>
                </a:cubicBezTo>
                <a:cubicBezTo>
                  <a:pt x="63" y="478"/>
                  <a:pt x="63" y="478"/>
                  <a:pt x="56" y="472"/>
                </a:cubicBezTo>
                <a:cubicBezTo>
                  <a:pt x="56" y="471"/>
                  <a:pt x="56" y="471"/>
                  <a:pt x="57" y="470"/>
                </a:cubicBezTo>
                <a:cubicBezTo>
                  <a:pt x="57" y="470"/>
                  <a:pt x="57" y="470"/>
                  <a:pt x="65" y="466"/>
                </a:cubicBezTo>
                <a:close/>
                <a:moveTo>
                  <a:pt x="159" y="497"/>
                </a:moveTo>
                <a:cubicBezTo>
                  <a:pt x="159" y="488"/>
                  <a:pt x="159" y="488"/>
                  <a:pt x="159" y="488"/>
                </a:cubicBezTo>
                <a:cubicBezTo>
                  <a:pt x="159" y="487"/>
                  <a:pt x="158" y="487"/>
                  <a:pt x="157" y="486"/>
                </a:cubicBezTo>
                <a:cubicBezTo>
                  <a:pt x="148" y="489"/>
                  <a:pt x="148" y="489"/>
                  <a:pt x="148" y="489"/>
                </a:cubicBezTo>
                <a:cubicBezTo>
                  <a:pt x="148" y="489"/>
                  <a:pt x="146" y="489"/>
                  <a:pt x="146" y="488"/>
                </a:cubicBezTo>
                <a:cubicBezTo>
                  <a:pt x="142" y="483"/>
                  <a:pt x="142" y="483"/>
                  <a:pt x="142" y="483"/>
                </a:cubicBezTo>
                <a:cubicBezTo>
                  <a:pt x="142" y="482"/>
                  <a:pt x="142" y="481"/>
                  <a:pt x="143" y="480"/>
                </a:cubicBezTo>
                <a:cubicBezTo>
                  <a:pt x="149" y="474"/>
                  <a:pt x="149" y="474"/>
                  <a:pt x="149" y="474"/>
                </a:cubicBezTo>
                <a:cubicBezTo>
                  <a:pt x="149" y="472"/>
                  <a:pt x="149" y="471"/>
                  <a:pt x="149" y="470"/>
                </a:cubicBezTo>
                <a:cubicBezTo>
                  <a:pt x="140" y="466"/>
                  <a:pt x="140" y="466"/>
                  <a:pt x="140" y="466"/>
                </a:cubicBezTo>
                <a:cubicBezTo>
                  <a:pt x="139" y="466"/>
                  <a:pt x="139" y="465"/>
                  <a:pt x="139" y="464"/>
                </a:cubicBezTo>
                <a:cubicBezTo>
                  <a:pt x="140" y="458"/>
                  <a:pt x="140" y="458"/>
                  <a:pt x="140" y="458"/>
                </a:cubicBezTo>
                <a:cubicBezTo>
                  <a:pt x="140" y="456"/>
                  <a:pt x="141" y="455"/>
                  <a:pt x="142" y="455"/>
                </a:cubicBezTo>
                <a:cubicBezTo>
                  <a:pt x="151" y="455"/>
                  <a:pt x="151" y="455"/>
                  <a:pt x="151" y="455"/>
                </a:cubicBezTo>
                <a:cubicBezTo>
                  <a:pt x="151" y="455"/>
                  <a:pt x="152" y="454"/>
                  <a:pt x="152" y="453"/>
                </a:cubicBezTo>
                <a:cubicBezTo>
                  <a:pt x="148" y="445"/>
                  <a:pt x="148" y="445"/>
                  <a:pt x="148" y="445"/>
                </a:cubicBezTo>
                <a:cubicBezTo>
                  <a:pt x="148" y="444"/>
                  <a:pt x="148" y="443"/>
                  <a:pt x="149" y="442"/>
                </a:cubicBezTo>
                <a:cubicBezTo>
                  <a:pt x="153" y="438"/>
                  <a:pt x="153" y="438"/>
                  <a:pt x="153" y="438"/>
                </a:cubicBezTo>
                <a:cubicBezTo>
                  <a:pt x="154" y="438"/>
                  <a:pt x="155" y="438"/>
                  <a:pt x="156" y="438"/>
                </a:cubicBezTo>
                <a:cubicBezTo>
                  <a:pt x="163" y="444"/>
                  <a:pt x="163" y="444"/>
                  <a:pt x="163" y="444"/>
                </a:cubicBezTo>
                <a:cubicBezTo>
                  <a:pt x="164" y="443"/>
                  <a:pt x="165" y="443"/>
                  <a:pt x="166" y="443"/>
                </a:cubicBezTo>
                <a:cubicBezTo>
                  <a:pt x="168" y="434"/>
                  <a:pt x="168" y="434"/>
                  <a:pt x="168" y="434"/>
                </a:cubicBezTo>
                <a:cubicBezTo>
                  <a:pt x="168" y="433"/>
                  <a:pt x="169" y="432"/>
                  <a:pt x="170" y="432"/>
                </a:cubicBezTo>
                <a:cubicBezTo>
                  <a:pt x="177" y="432"/>
                  <a:pt x="177" y="432"/>
                  <a:pt x="177" y="432"/>
                </a:cubicBezTo>
                <a:cubicBezTo>
                  <a:pt x="178" y="432"/>
                  <a:pt x="179" y="433"/>
                  <a:pt x="179" y="434"/>
                </a:cubicBezTo>
                <a:cubicBezTo>
                  <a:pt x="181" y="443"/>
                  <a:pt x="181" y="443"/>
                  <a:pt x="181" y="443"/>
                </a:cubicBezTo>
                <a:cubicBezTo>
                  <a:pt x="182" y="443"/>
                  <a:pt x="182" y="443"/>
                  <a:pt x="183" y="444"/>
                </a:cubicBezTo>
                <a:cubicBezTo>
                  <a:pt x="190" y="438"/>
                  <a:pt x="190" y="438"/>
                  <a:pt x="190" y="438"/>
                </a:cubicBezTo>
                <a:cubicBezTo>
                  <a:pt x="191" y="438"/>
                  <a:pt x="193" y="438"/>
                  <a:pt x="193" y="438"/>
                </a:cubicBezTo>
                <a:cubicBezTo>
                  <a:pt x="198" y="442"/>
                  <a:pt x="198" y="442"/>
                  <a:pt x="198" y="442"/>
                </a:cubicBezTo>
                <a:cubicBezTo>
                  <a:pt x="199" y="443"/>
                  <a:pt x="199" y="444"/>
                  <a:pt x="199" y="445"/>
                </a:cubicBezTo>
                <a:cubicBezTo>
                  <a:pt x="194" y="453"/>
                  <a:pt x="194" y="453"/>
                  <a:pt x="194" y="453"/>
                </a:cubicBezTo>
                <a:cubicBezTo>
                  <a:pt x="195" y="454"/>
                  <a:pt x="195" y="455"/>
                  <a:pt x="196" y="455"/>
                </a:cubicBezTo>
                <a:cubicBezTo>
                  <a:pt x="205" y="455"/>
                  <a:pt x="205" y="455"/>
                  <a:pt x="205" y="455"/>
                </a:cubicBezTo>
                <a:cubicBezTo>
                  <a:pt x="206" y="455"/>
                  <a:pt x="207" y="456"/>
                  <a:pt x="207" y="458"/>
                </a:cubicBezTo>
                <a:cubicBezTo>
                  <a:pt x="208" y="463"/>
                  <a:pt x="208" y="463"/>
                  <a:pt x="208" y="463"/>
                </a:cubicBezTo>
                <a:cubicBezTo>
                  <a:pt x="208" y="465"/>
                  <a:pt x="208" y="466"/>
                  <a:pt x="207" y="466"/>
                </a:cubicBezTo>
                <a:cubicBezTo>
                  <a:pt x="198" y="470"/>
                  <a:pt x="198" y="470"/>
                  <a:pt x="198" y="470"/>
                </a:cubicBezTo>
                <a:cubicBezTo>
                  <a:pt x="198" y="471"/>
                  <a:pt x="198" y="471"/>
                  <a:pt x="198" y="472"/>
                </a:cubicBezTo>
                <a:cubicBezTo>
                  <a:pt x="205" y="478"/>
                  <a:pt x="205" y="478"/>
                  <a:pt x="205" y="478"/>
                </a:cubicBezTo>
                <a:cubicBezTo>
                  <a:pt x="205" y="479"/>
                  <a:pt x="206" y="480"/>
                  <a:pt x="205" y="481"/>
                </a:cubicBezTo>
                <a:cubicBezTo>
                  <a:pt x="202" y="487"/>
                  <a:pt x="202" y="487"/>
                  <a:pt x="202" y="487"/>
                </a:cubicBezTo>
                <a:cubicBezTo>
                  <a:pt x="202" y="487"/>
                  <a:pt x="201" y="488"/>
                  <a:pt x="199" y="488"/>
                </a:cubicBezTo>
                <a:cubicBezTo>
                  <a:pt x="191" y="485"/>
                  <a:pt x="191" y="485"/>
                  <a:pt x="191" y="485"/>
                </a:cubicBezTo>
                <a:cubicBezTo>
                  <a:pt x="190" y="485"/>
                  <a:pt x="190" y="486"/>
                  <a:pt x="190" y="486"/>
                </a:cubicBezTo>
                <a:cubicBezTo>
                  <a:pt x="191" y="495"/>
                  <a:pt x="191" y="495"/>
                  <a:pt x="191" y="495"/>
                </a:cubicBezTo>
                <a:cubicBezTo>
                  <a:pt x="192" y="496"/>
                  <a:pt x="191" y="497"/>
                  <a:pt x="190" y="498"/>
                </a:cubicBezTo>
                <a:cubicBezTo>
                  <a:pt x="184" y="500"/>
                  <a:pt x="184" y="500"/>
                  <a:pt x="184" y="500"/>
                </a:cubicBezTo>
                <a:cubicBezTo>
                  <a:pt x="183" y="501"/>
                  <a:pt x="182" y="500"/>
                  <a:pt x="182" y="499"/>
                </a:cubicBezTo>
                <a:cubicBezTo>
                  <a:pt x="176" y="492"/>
                  <a:pt x="176" y="492"/>
                  <a:pt x="176" y="492"/>
                </a:cubicBezTo>
                <a:cubicBezTo>
                  <a:pt x="175" y="492"/>
                  <a:pt x="174" y="492"/>
                  <a:pt x="174" y="492"/>
                </a:cubicBezTo>
                <a:cubicBezTo>
                  <a:pt x="173" y="492"/>
                  <a:pt x="173" y="492"/>
                  <a:pt x="173" y="492"/>
                </a:cubicBezTo>
                <a:cubicBezTo>
                  <a:pt x="169" y="500"/>
                  <a:pt x="169" y="500"/>
                  <a:pt x="169" y="500"/>
                </a:cubicBezTo>
                <a:cubicBezTo>
                  <a:pt x="168" y="501"/>
                  <a:pt x="167" y="501"/>
                  <a:pt x="166" y="501"/>
                </a:cubicBezTo>
                <a:cubicBezTo>
                  <a:pt x="160" y="499"/>
                  <a:pt x="160" y="499"/>
                  <a:pt x="160" y="499"/>
                </a:cubicBezTo>
                <a:cubicBezTo>
                  <a:pt x="159" y="499"/>
                  <a:pt x="159" y="498"/>
                  <a:pt x="159" y="497"/>
                </a:cubicBezTo>
                <a:close/>
                <a:moveTo>
                  <a:pt x="160" y="467"/>
                </a:moveTo>
                <a:cubicBezTo>
                  <a:pt x="160" y="474"/>
                  <a:pt x="166" y="480"/>
                  <a:pt x="174" y="480"/>
                </a:cubicBezTo>
                <a:cubicBezTo>
                  <a:pt x="181" y="480"/>
                  <a:pt x="187" y="474"/>
                  <a:pt x="187" y="467"/>
                </a:cubicBezTo>
                <a:cubicBezTo>
                  <a:pt x="187" y="459"/>
                  <a:pt x="181" y="454"/>
                  <a:pt x="174" y="454"/>
                </a:cubicBezTo>
                <a:cubicBezTo>
                  <a:pt x="166" y="454"/>
                  <a:pt x="160" y="459"/>
                  <a:pt x="160" y="467"/>
                </a:cubicBezTo>
                <a:close/>
                <a:moveTo>
                  <a:pt x="577" y="42"/>
                </a:moveTo>
                <a:cubicBezTo>
                  <a:pt x="577" y="41"/>
                  <a:pt x="577" y="41"/>
                  <a:pt x="578" y="40"/>
                </a:cubicBezTo>
                <a:cubicBezTo>
                  <a:pt x="573" y="32"/>
                  <a:pt x="573" y="32"/>
                  <a:pt x="573" y="32"/>
                </a:cubicBezTo>
                <a:cubicBezTo>
                  <a:pt x="573" y="31"/>
                  <a:pt x="573" y="30"/>
                  <a:pt x="574" y="29"/>
                </a:cubicBezTo>
                <a:cubicBezTo>
                  <a:pt x="579" y="25"/>
                  <a:pt x="579" y="25"/>
                  <a:pt x="579" y="25"/>
                </a:cubicBezTo>
                <a:cubicBezTo>
                  <a:pt x="580" y="24"/>
                  <a:pt x="581" y="24"/>
                  <a:pt x="582" y="25"/>
                </a:cubicBezTo>
                <a:cubicBezTo>
                  <a:pt x="589" y="30"/>
                  <a:pt x="589" y="30"/>
                  <a:pt x="589" y="30"/>
                </a:cubicBezTo>
                <a:cubicBezTo>
                  <a:pt x="590" y="30"/>
                  <a:pt x="591" y="30"/>
                  <a:pt x="592" y="29"/>
                </a:cubicBezTo>
                <a:cubicBezTo>
                  <a:pt x="593" y="21"/>
                  <a:pt x="593" y="21"/>
                  <a:pt x="593" y="21"/>
                </a:cubicBezTo>
                <a:cubicBezTo>
                  <a:pt x="594" y="20"/>
                  <a:pt x="595" y="19"/>
                  <a:pt x="596" y="19"/>
                </a:cubicBezTo>
                <a:cubicBezTo>
                  <a:pt x="602" y="19"/>
                  <a:pt x="602" y="19"/>
                  <a:pt x="602" y="19"/>
                </a:cubicBezTo>
                <a:cubicBezTo>
                  <a:pt x="603" y="19"/>
                  <a:pt x="604" y="20"/>
                  <a:pt x="604" y="21"/>
                </a:cubicBezTo>
                <a:cubicBezTo>
                  <a:pt x="606" y="29"/>
                  <a:pt x="606" y="29"/>
                  <a:pt x="606" y="29"/>
                </a:cubicBezTo>
                <a:cubicBezTo>
                  <a:pt x="607" y="30"/>
                  <a:pt x="608" y="30"/>
                  <a:pt x="609" y="30"/>
                </a:cubicBezTo>
                <a:cubicBezTo>
                  <a:pt x="616" y="25"/>
                  <a:pt x="616" y="25"/>
                  <a:pt x="616" y="25"/>
                </a:cubicBezTo>
                <a:cubicBezTo>
                  <a:pt x="616" y="24"/>
                  <a:pt x="618" y="24"/>
                  <a:pt x="619" y="25"/>
                </a:cubicBezTo>
                <a:cubicBezTo>
                  <a:pt x="623" y="29"/>
                  <a:pt x="623" y="29"/>
                  <a:pt x="623" y="29"/>
                </a:cubicBezTo>
                <a:cubicBezTo>
                  <a:pt x="624" y="29"/>
                  <a:pt x="625" y="31"/>
                  <a:pt x="624" y="32"/>
                </a:cubicBezTo>
                <a:cubicBezTo>
                  <a:pt x="620" y="40"/>
                  <a:pt x="620" y="40"/>
                  <a:pt x="620" y="40"/>
                </a:cubicBezTo>
                <a:cubicBezTo>
                  <a:pt x="620" y="41"/>
                  <a:pt x="621" y="41"/>
                  <a:pt x="621" y="42"/>
                </a:cubicBezTo>
                <a:cubicBezTo>
                  <a:pt x="630" y="42"/>
                  <a:pt x="630" y="42"/>
                  <a:pt x="630" y="42"/>
                </a:cubicBezTo>
                <a:cubicBezTo>
                  <a:pt x="631" y="42"/>
                  <a:pt x="632" y="43"/>
                  <a:pt x="632" y="44"/>
                </a:cubicBezTo>
                <a:cubicBezTo>
                  <a:pt x="634" y="50"/>
                  <a:pt x="634" y="50"/>
                  <a:pt x="634" y="50"/>
                </a:cubicBezTo>
                <a:cubicBezTo>
                  <a:pt x="634" y="51"/>
                  <a:pt x="633" y="52"/>
                  <a:pt x="632" y="53"/>
                </a:cubicBezTo>
                <a:cubicBezTo>
                  <a:pt x="624" y="56"/>
                  <a:pt x="624" y="56"/>
                  <a:pt x="624" y="56"/>
                </a:cubicBezTo>
                <a:cubicBezTo>
                  <a:pt x="623" y="57"/>
                  <a:pt x="623" y="58"/>
                  <a:pt x="623" y="59"/>
                </a:cubicBezTo>
                <a:cubicBezTo>
                  <a:pt x="630" y="65"/>
                  <a:pt x="630" y="65"/>
                  <a:pt x="630" y="65"/>
                </a:cubicBezTo>
                <a:cubicBezTo>
                  <a:pt x="631" y="65"/>
                  <a:pt x="631" y="67"/>
                  <a:pt x="631" y="68"/>
                </a:cubicBezTo>
                <a:cubicBezTo>
                  <a:pt x="628" y="73"/>
                  <a:pt x="628" y="73"/>
                  <a:pt x="628" y="73"/>
                </a:cubicBezTo>
                <a:cubicBezTo>
                  <a:pt x="627" y="74"/>
                  <a:pt x="626" y="75"/>
                  <a:pt x="625" y="74"/>
                </a:cubicBezTo>
                <a:cubicBezTo>
                  <a:pt x="616" y="72"/>
                  <a:pt x="616" y="72"/>
                  <a:pt x="616" y="72"/>
                </a:cubicBezTo>
                <a:cubicBezTo>
                  <a:pt x="616" y="72"/>
                  <a:pt x="615" y="72"/>
                  <a:pt x="615" y="73"/>
                </a:cubicBezTo>
                <a:cubicBezTo>
                  <a:pt x="617" y="82"/>
                  <a:pt x="617" y="82"/>
                  <a:pt x="617" y="82"/>
                </a:cubicBezTo>
                <a:cubicBezTo>
                  <a:pt x="617" y="83"/>
                  <a:pt x="616" y="84"/>
                  <a:pt x="615" y="84"/>
                </a:cubicBezTo>
                <a:cubicBezTo>
                  <a:pt x="610" y="87"/>
                  <a:pt x="610" y="87"/>
                  <a:pt x="610" y="87"/>
                </a:cubicBezTo>
                <a:cubicBezTo>
                  <a:pt x="609" y="87"/>
                  <a:pt x="608" y="87"/>
                  <a:pt x="607" y="86"/>
                </a:cubicBezTo>
                <a:cubicBezTo>
                  <a:pt x="602" y="78"/>
                  <a:pt x="602" y="78"/>
                  <a:pt x="602" y="78"/>
                </a:cubicBezTo>
                <a:cubicBezTo>
                  <a:pt x="601" y="79"/>
                  <a:pt x="600" y="79"/>
                  <a:pt x="599" y="79"/>
                </a:cubicBezTo>
                <a:cubicBezTo>
                  <a:pt x="599" y="79"/>
                  <a:pt x="599" y="79"/>
                  <a:pt x="599" y="79"/>
                </a:cubicBezTo>
                <a:cubicBezTo>
                  <a:pt x="594" y="87"/>
                  <a:pt x="594" y="87"/>
                  <a:pt x="594" y="87"/>
                </a:cubicBezTo>
                <a:cubicBezTo>
                  <a:pt x="594" y="88"/>
                  <a:pt x="593" y="88"/>
                  <a:pt x="592" y="88"/>
                </a:cubicBezTo>
                <a:cubicBezTo>
                  <a:pt x="585" y="86"/>
                  <a:pt x="585" y="86"/>
                  <a:pt x="585" y="86"/>
                </a:cubicBezTo>
                <a:cubicBezTo>
                  <a:pt x="585" y="85"/>
                  <a:pt x="584" y="84"/>
                  <a:pt x="584" y="83"/>
                </a:cubicBezTo>
                <a:cubicBezTo>
                  <a:pt x="585" y="74"/>
                  <a:pt x="585" y="74"/>
                  <a:pt x="585" y="74"/>
                </a:cubicBezTo>
                <a:cubicBezTo>
                  <a:pt x="584" y="74"/>
                  <a:pt x="583" y="73"/>
                  <a:pt x="582" y="72"/>
                </a:cubicBezTo>
                <a:cubicBezTo>
                  <a:pt x="574" y="76"/>
                  <a:pt x="574" y="76"/>
                  <a:pt x="574" y="76"/>
                </a:cubicBezTo>
                <a:cubicBezTo>
                  <a:pt x="573" y="76"/>
                  <a:pt x="572" y="76"/>
                  <a:pt x="571" y="75"/>
                </a:cubicBezTo>
                <a:cubicBezTo>
                  <a:pt x="568" y="69"/>
                  <a:pt x="568" y="69"/>
                  <a:pt x="568" y="69"/>
                </a:cubicBezTo>
                <a:cubicBezTo>
                  <a:pt x="567" y="68"/>
                  <a:pt x="567" y="67"/>
                  <a:pt x="568" y="66"/>
                </a:cubicBezTo>
                <a:cubicBezTo>
                  <a:pt x="575" y="60"/>
                  <a:pt x="575" y="60"/>
                  <a:pt x="575" y="60"/>
                </a:cubicBezTo>
                <a:cubicBezTo>
                  <a:pt x="574" y="59"/>
                  <a:pt x="574" y="57"/>
                  <a:pt x="574" y="56"/>
                </a:cubicBezTo>
                <a:cubicBezTo>
                  <a:pt x="566" y="53"/>
                  <a:pt x="566" y="53"/>
                  <a:pt x="566" y="53"/>
                </a:cubicBezTo>
                <a:cubicBezTo>
                  <a:pt x="565" y="52"/>
                  <a:pt x="564" y="51"/>
                  <a:pt x="564" y="50"/>
                </a:cubicBezTo>
                <a:cubicBezTo>
                  <a:pt x="565" y="44"/>
                  <a:pt x="565" y="44"/>
                  <a:pt x="565" y="44"/>
                </a:cubicBezTo>
                <a:cubicBezTo>
                  <a:pt x="566" y="43"/>
                  <a:pt x="566" y="42"/>
                  <a:pt x="568" y="42"/>
                </a:cubicBezTo>
                <a:cubicBezTo>
                  <a:pt x="577" y="42"/>
                  <a:pt x="577" y="42"/>
                  <a:pt x="577" y="42"/>
                </a:cubicBezTo>
                <a:close/>
                <a:moveTo>
                  <a:pt x="585" y="53"/>
                </a:moveTo>
                <a:cubicBezTo>
                  <a:pt x="585" y="61"/>
                  <a:pt x="592" y="67"/>
                  <a:pt x="599" y="67"/>
                </a:cubicBezTo>
                <a:cubicBezTo>
                  <a:pt x="606" y="67"/>
                  <a:pt x="612" y="61"/>
                  <a:pt x="612" y="53"/>
                </a:cubicBezTo>
                <a:cubicBezTo>
                  <a:pt x="612" y="46"/>
                  <a:pt x="606" y="40"/>
                  <a:pt x="599" y="40"/>
                </a:cubicBezTo>
                <a:cubicBezTo>
                  <a:pt x="592" y="40"/>
                  <a:pt x="585" y="46"/>
                  <a:pt x="585" y="53"/>
                </a:cubicBezTo>
                <a:close/>
                <a:moveTo>
                  <a:pt x="174" y="473"/>
                </a:moveTo>
                <a:cubicBezTo>
                  <a:pt x="177" y="473"/>
                  <a:pt x="179" y="470"/>
                  <a:pt x="179" y="467"/>
                </a:cubicBezTo>
                <a:cubicBezTo>
                  <a:pt x="179" y="464"/>
                  <a:pt x="177" y="461"/>
                  <a:pt x="174" y="461"/>
                </a:cubicBezTo>
                <a:cubicBezTo>
                  <a:pt x="170" y="461"/>
                  <a:pt x="168" y="464"/>
                  <a:pt x="168" y="467"/>
                </a:cubicBezTo>
                <a:cubicBezTo>
                  <a:pt x="168" y="470"/>
                  <a:pt x="170" y="473"/>
                  <a:pt x="174" y="473"/>
                </a:cubicBezTo>
                <a:close/>
                <a:moveTo>
                  <a:pt x="210" y="542"/>
                </a:moveTo>
                <a:cubicBezTo>
                  <a:pt x="213" y="542"/>
                  <a:pt x="215" y="539"/>
                  <a:pt x="215" y="536"/>
                </a:cubicBezTo>
                <a:cubicBezTo>
                  <a:pt x="215" y="533"/>
                  <a:pt x="213" y="530"/>
                  <a:pt x="210" y="530"/>
                </a:cubicBezTo>
                <a:cubicBezTo>
                  <a:pt x="206" y="530"/>
                  <a:pt x="204" y="533"/>
                  <a:pt x="204" y="536"/>
                </a:cubicBezTo>
                <a:cubicBezTo>
                  <a:pt x="204" y="539"/>
                  <a:pt x="206" y="542"/>
                  <a:pt x="210" y="542"/>
                </a:cubicBezTo>
                <a:close/>
                <a:moveTo>
                  <a:pt x="639" y="42"/>
                </a:moveTo>
                <a:cubicBezTo>
                  <a:pt x="637" y="42"/>
                  <a:pt x="636" y="43"/>
                  <a:pt x="636" y="44"/>
                </a:cubicBezTo>
                <a:cubicBezTo>
                  <a:pt x="636" y="44"/>
                  <a:pt x="636" y="44"/>
                  <a:pt x="635" y="50"/>
                </a:cubicBezTo>
                <a:cubicBezTo>
                  <a:pt x="635" y="51"/>
                  <a:pt x="636" y="52"/>
                  <a:pt x="636" y="53"/>
                </a:cubicBezTo>
                <a:cubicBezTo>
                  <a:pt x="636" y="53"/>
                  <a:pt x="636" y="53"/>
                  <a:pt x="645" y="56"/>
                </a:cubicBezTo>
                <a:cubicBezTo>
                  <a:pt x="645" y="57"/>
                  <a:pt x="645" y="59"/>
                  <a:pt x="646" y="60"/>
                </a:cubicBezTo>
                <a:cubicBezTo>
                  <a:pt x="646" y="60"/>
                  <a:pt x="646" y="60"/>
                  <a:pt x="639" y="66"/>
                </a:cubicBezTo>
                <a:cubicBezTo>
                  <a:pt x="638" y="67"/>
                  <a:pt x="638" y="68"/>
                  <a:pt x="639" y="69"/>
                </a:cubicBezTo>
                <a:cubicBezTo>
                  <a:pt x="639" y="69"/>
                  <a:pt x="639" y="69"/>
                  <a:pt x="642" y="75"/>
                </a:cubicBezTo>
                <a:cubicBezTo>
                  <a:pt x="643" y="76"/>
                  <a:pt x="644" y="76"/>
                  <a:pt x="645" y="76"/>
                </a:cubicBezTo>
                <a:cubicBezTo>
                  <a:pt x="645" y="76"/>
                  <a:pt x="645" y="76"/>
                  <a:pt x="649" y="74"/>
                </a:cubicBezTo>
                <a:cubicBezTo>
                  <a:pt x="649" y="25"/>
                  <a:pt x="649" y="25"/>
                  <a:pt x="649" y="25"/>
                </a:cubicBezTo>
                <a:cubicBezTo>
                  <a:pt x="649" y="26"/>
                  <a:pt x="647" y="27"/>
                  <a:pt x="645" y="29"/>
                </a:cubicBezTo>
                <a:cubicBezTo>
                  <a:pt x="644" y="30"/>
                  <a:pt x="644" y="31"/>
                  <a:pt x="644" y="32"/>
                </a:cubicBezTo>
                <a:cubicBezTo>
                  <a:pt x="644" y="32"/>
                  <a:pt x="644" y="32"/>
                  <a:pt x="649" y="40"/>
                </a:cubicBezTo>
                <a:cubicBezTo>
                  <a:pt x="648" y="41"/>
                  <a:pt x="648" y="41"/>
                  <a:pt x="647" y="42"/>
                </a:cubicBezTo>
                <a:cubicBezTo>
                  <a:pt x="647" y="42"/>
                  <a:pt x="647" y="42"/>
                  <a:pt x="639" y="42"/>
                </a:cubicBezTo>
                <a:close/>
                <a:moveTo>
                  <a:pt x="599" y="59"/>
                </a:moveTo>
                <a:cubicBezTo>
                  <a:pt x="602" y="59"/>
                  <a:pt x="604" y="56"/>
                  <a:pt x="604" y="53"/>
                </a:cubicBezTo>
                <a:cubicBezTo>
                  <a:pt x="604" y="50"/>
                  <a:pt x="602" y="48"/>
                  <a:pt x="599" y="48"/>
                </a:cubicBezTo>
                <a:cubicBezTo>
                  <a:pt x="596" y="48"/>
                  <a:pt x="593" y="50"/>
                  <a:pt x="593" y="53"/>
                </a:cubicBezTo>
                <a:cubicBezTo>
                  <a:pt x="593" y="56"/>
                  <a:pt x="596" y="59"/>
                  <a:pt x="599" y="59"/>
                </a:cubicBezTo>
                <a:close/>
                <a:moveTo>
                  <a:pt x="506" y="42"/>
                </a:moveTo>
                <a:cubicBezTo>
                  <a:pt x="506" y="41"/>
                  <a:pt x="507" y="41"/>
                  <a:pt x="507" y="40"/>
                </a:cubicBezTo>
                <a:cubicBezTo>
                  <a:pt x="503" y="32"/>
                  <a:pt x="503" y="32"/>
                  <a:pt x="503" y="32"/>
                </a:cubicBezTo>
                <a:cubicBezTo>
                  <a:pt x="502" y="31"/>
                  <a:pt x="502" y="30"/>
                  <a:pt x="503" y="29"/>
                </a:cubicBezTo>
                <a:cubicBezTo>
                  <a:pt x="508" y="25"/>
                  <a:pt x="508" y="25"/>
                  <a:pt x="508" y="25"/>
                </a:cubicBezTo>
                <a:cubicBezTo>
                  <a:pt x="509" y="24"/>
                  <a:pt x="510" y="24"/>
                  <a:pt x="511" y="25"/>
                </a:cubicBezTo>
                <a:cubicBezTo>
                  <a:pt x="518" y="30"/>
                  <a:pt x="518" y="30"/>
                  <a:pt x="518" y="30"/>
                </a:cubicBezTo>
                <a:cubicBezTo>
                  <a:pt x="519" y="30"/>
                  <a:pt x="520" y="30"/>
                  <a:pt x="521" y="29"/>
                </a:cubicBezTo>
                <a:cubicBezTo>
                  <a:pt x="523" y="21"/>
                  <a:pt x="523" y="21"/>
                  <a:pt x="523" y="21"/>
                </a:cubicBezTo>
                <a:cubicBezTo>
                  <a:pt x="523" y="20"/>
                  <a:pt x="524" y="19"/>
                  <a:pt x="525" y="19"/>
                </a:cubicBezTo>
                <a:cubicBezTo>
                  <a:pt x="531" y="19"/>
                  <a:pt x="531" y="19"/>
                  <a:pt x="531" y="19"/>
                </a:cubicBezTo>
                <a:cubicBezTo>
                  <a:pt x="532" y="19"/>
                  <a:pt x="533" y="20"/>
                  <a:pt x="533" y="21"/>
                </a:cubicBezTo>
                <a:cubicBezTo>
                  <a:pt x="535" y="29"/>
                  <a:pt x="535" y="29"/>
                  <a:pt x="535" y="29"/>
                </a:cubicBezTo>
                <a:cubicBezTo>
                  <a:pt x="536" y="30"/>
                  <a:pt x="537" y="30"/>
                  <a:pt x="538" y="30"/>
                </a:cubicBezTo>
                <a:cubicBezTo>
                  <a:pt x="545" y="25"/>
                  <a:pt x="545" y="25"/>
                  <a:pt x="545" y="25"/>
                </a:cubicBezTo>
                <a:cubicBezTo>
                  <a:pt x="546" y="24"/>
                  <a:pt x="547" y="24"/>
                  <a:pt x="548" y="25"/>
                </a:cubicBezTo>
                <a:cubicBezTo>
                  <a:pt x="553" y="29"/>
                  <a:pt x="553" y="29"/>
                  <a:pt x="553" y="29"/>
                </a:cubicBezTo>
                <a:cubicBezTo>
                  <a:pt x="553" y="29"/>
                  <a:pt x="554" y="31"/>
                  <a:pt x="553" y="32"/>
                </a:cubicBezTo>
                <a:cubicBezTo>
                  <a:pt x="549" y="40"/>
                  <a:pt x="549" y="40"/>
                  <a:pt x="549" y="40"/>
                </a:cubicBezTo>
                <a:cubicBezTo>
                  <a:pt x="549" y="41"/>
                  <a:pt x="550" y="41"/>
                  <a:pt x="550" y="42"/>
                </a:cubicBezTo>
                <a:cubicBezTo>
                  <a:pt x="559" y="42"/>
                  <a:pt x="559" y="42"/>
                  <a:pt x="559" y="42"/>
                </a:cubicBezTo>
                <a:cubicBezTo>
                  <a:pt x="560" y="42"/>
                  <a:pt x="561" y="43"/>
                  <a:pt x="561" y="44"/>
                </a:cubicBezTo>
                <a:cubicBezTo>
                  <a:pt x="563" y="50"/>
                  <a:pt x="563" y="50"/>
                  <a:pt x="563" y="50"/>
                </a:cubicBezTo>
                <a:cubicBezTo>
                  <a:pt x="563" y="51"/>
                  <a:pt x="562" y="52"/>
                  <a:pt x="561" y="53"/>
                </a:cubicBezTo>
                <a:cubicBezTo>
                  <a:pt x="553" y="56"/>
                  <a:pt x="553" y="56"/>
                  <a:pt x="553" y="56"/>
                </a:cubicBezTo>
                <a:cubicBezTo>
                  <a:pt x="553" y="57"/>
                  <a:pt x="553" y="58"/>
                  <a:pt x="552" y="59"/>
                </a:cubicBezTo>
                <a:cubicBezTo>
                  <a:pt x="559" y="65"/>
                  <a:pt x="559" y="65"/>
                  <a:pt x="559" y="65"/>
                </a:cubicBezTo>
                <a:cubicBezTo>
                  <a:pt x="560" y="65"/>
                  <a:pt x="560" y="67"/>
                  <a:pt x="560" y="68"/>
                </a:cubicBezTo>
                <a:cubicBezTo>
                  <a:pt x="557" y="73"/>
                  <a:pt x="557" y="73"/>
                  <a:pt x="557" y="73"/>
                </a:cubicBezTo>
                <a:cubicBezTo>
                  <a:pt x="556" y="74"/>
                  <a:pt x="555" y="75"/>
                  <a:pt x="554" y="74"/>
                </a:cubicBezTo>
                <a:cubicBezTo>
                  <a:pt x="545" y="72"/>
                  <a:pt x="545" y="72"/>
                  <a:pt x="545" y="72"/>
                </a:cubicBezTo>
                <a:cubicBezTo>
                  <a:pt x="545" y="72"/>
                  <a:pt x="545" y="72"/>
                  <a:pt x="544" y="73"/>
                </a:cubicBezTo>
                <a:cubicBezTo>
                  <a:pt x="546" y="82"/>
                  <a:pt x="546" y="82"/>
                  <a:pt x="546" y="82"/>
                </a:cubicBezTo>
                <a:cubicBezTo>
                  <a:pt x="546" y="83"/>
                  <a:pt x="546" y="84"/>
                  <a:pt x="545" y="84"/>
                </a:cubicBezTo>
                <a:cubicBezTo>
                  <a:pt x="539" y="87"/>
                  <a:pt x="539" y="87"/>
                  <a:pt x="539" y="87"/>
                </a:cubicBezTo>
                <a:cubicBezTo>
                  <a:pt x="538" y="87"/>
                  <a:pt x="537" y="87"/>
                  <a:pt x="536" y="86"/>
                </a:cubicBezTo>
                <a:cubicBezTo>
                  <a:pt x="531" y="78"/>
                  <a:pt x="531" y="78"/>
                  <a:pt x="531" y="78"/>
                </a:cubicBezTo>
                <a:cubicBezTo>
                  <a:pt x="530" y="79"/>
                  <a:pt x="529" y="79"/>
                  <a:pt x="528" y="79"/>
                </a:cubicBezTo>
                <a:cubicBezTo>
                  <a:pt x="528" y="79"/>
                  <a:pt x="528" y="79"/>
                  <a:pt x="528" y="79"/>
                </a:cubicBezTo>
                <a:cubicBezTo>
                  <a:pt x="523" y="87"/>
                  <a:pt x="523" y="87"/>
                  <a:pt x="523" y="87"/>
                </a:cubicBezTo>
                <a:cubicBezTo>
                  <a:pt x="523" y="88"/>
                  <a:pt x="522" y="88"/>
                  <a:pt x="521" y="88"/>
                </a:cubicBezTo>
                <a:cubicBezTo>
                  <a:pt x="515" y="86"/>
                  <a:pt x="515" y="86"/>
                  <a:pt x="515" y="86"/>
                </a:cubicBezTo>
                <a:cubicBezTo>
                  <a:pt x="514" y="85"/>
                  <a:pt x="513" y="84"/>
                  <a:pt x="513" y="83"/>
                </a:cubicBezTo>
                <a:cubicBezTo>
                  <a:pt x="514" y="74"/>
                  <a:pt x="514" y="74"/>
                  <a:pt x="514" y="74"/>
                </a:cubicBezTo>
                <a:cubicBezTo>
                  <a:pt x="513" y="74"/>
                  <a:pt x="512" y="73"/>
                  <a:pt x="511" y="72"/>
                </a:cubicBezTo>
                <a:cubicBezTo>
                  <a:pt x="503" y="76"/>
                  <a:pt x="503" y="76"/>
                  <a:pt x="503" y="76"/>
                </a:cubicBezTo>
                <a:cubicBezTo>
                  <a:pt x="502" y="76"/>
                  <a:pt x="501" y="76"/>
                  <a:pt x="500" y="75"/>
                </a:cubicBezTo>
                <a:cubicBezTo>
                  <a:pt x="497" y="69"/>
                  <a:pt x="497" y="69"/>
                  <a:pt x="497" y="69"/>
                </a:cubicBezTo>
                <a:cubicBezTo>
                  <a:pt x="496" y="68"/>
                  <a:pt x="496" y="67"/>
                  <a:pt x="497" y="66"/>
                </a:cubicBezTo>
                <a:cubicBezTo>
                  <a:pt x="504" y="60"/>
                  <a:pt x="504" y="60"/>
                  <a:pt x="504" y="60"/>
                </a:cubicBezTo>
                <a:cubicBezTo>
                  <a:pt x="504" y="59"/>
                  <a:pt x="503" y="57"/>
                  <a:pt x="503" y="56"/>
                </a:cubicBezTo>
                <a:cubicBezTo>
                  <a:pt x="495" y="53"/>
                  <a:pt x="495" y="53"/>
                  <a:pt x="495" y="53"/>
                </a:cubicBezTo>
                <a:cubicBezTo>
                  <a:pt x="494" y="52"/>
                  <a:pt x="493" y="51"/>
                  <a:pt x="493" y="50"/>
                </a:cubicBezTo>
                <a:cubicBezTo>
                  <a:pt x="494" y="44"/>
                  <a:pt x="494" y="44"/>
                  <a:pt x="494" y="44"/>
                </a:cubicBezTo>
                <a:cubicBezTo>
                  <a:pt x="495" y="43"/>
                  <a:pt x="496" y="42"/>
                  <a:pt x="497" y="42"/>
                </a:cubicBezTo>
                <a:cubicBezTo>
                  <a:pt x="506" y="42"/>
                  <a:pt x="506" y="42"/>
                  <a:pt x="506" y="42"/>
                </a:cubicBezTo>
                <a:close/>
                <a:moveTo>
                  <a:pt x="515" y="53"/>
                </a:moveTo>
                <a:cubicBezTo>
                  <a:pt x="515" y="61"/>
                  <a:pt x="521" y="67"/>
                  <a:pt x="528" y="67"/>
                </a:cubicBezTo>
                <a:cubicBezTo>
                  <a:pt x="535" y="67"/>
                  <a:pt x="541" y="61"/>
                  <a:pt x="541" y="53"/>
                </a:cubicBezTo>
                <a:cubicBezTo>
                  <a:pt x="541" y="46"/>
                  <a:pt x="535" y="40"/>
                  <a:pt x="528" y="40"/>
                </a:cubicBezTo>
                <a:cubicBezTo>
                  <a:pt x="521" y="40"/>
                  <a:pt x="515" y="46"/>
                  <a:pt x="515" y="53"/>
                </a:cubicBezTo>
                <a:close/>
                <a:moveTo>
                  <a:pt x="127" y="470"/>
                </a:moveTo>
                <a:cubicBezTo>
                  <a:pt x="127" y="471"/>
                  <a:pt x="127" y="471"/>
                  <a:pt x="127" y="472"/>
                </a:cubicBezTo>
                <a:cubicBezTo>
                  <a:pt x="134" y="478"/>
                  <a:pt x="134" y="478"/>
                  <a:pt x="134" y="478"/>
                </a:cubicBezTo>
                <a:cubicBezTo>
                  <a:pt x="135" y="479"/>
                  <a:pt x="135" y="480"/>
                  <a:pt x="134" y="481"/>
                </a:cubicBezTo>
                <a:cubicBezTo>
                  <a:pt x="131" y="487"/>
                  <a:pt x="131" y="487"/>
                  <a:pt x="131" y="487"/>
                </a:cubicBezTo>
                <a:cubicBezTo>
                  <a:pt x="131" y="487"/>
                  <a:pt x="130" y="488"/>
                  <a:pt x="128" y="488"/>
                </a:cubicBezTo>
                <a:cubicBezTo>
                  <a:pt x="120" y="485"/>
                  <a:pt x="120" y="485"/>
                  <a:pt x="120" y="485"/>
                </a:cubicBezTo>
                <a:cubicBezTo>
                  <a:pt x="120" y="485"/>
                  <a:pt x="119" y="486"/>
                  <a:pt x="119" y="486"/>
                </a:cubicBezTo>
                <a:cubicBezTo>
                  <a:pt x="120" y="495"/>
                  <a:pt x="120" y="495"/>
                  <a:pt x="120" y="495"/>
                </a:cubicBezTo>
                <a:cubicBezTo>
                  <a:pt x="121" y="496"/>
                  <a:pt x="120" y="497"/>
                  <a:pt x="119" y="498"/>
                </a:cubicBezTo>
                <a:cubicBezTo>
                  <a:pt x="113" y="500"/>
                  <a:pt x="113" y="500"/>
                  <a:pt x="113" y="500"/>
                </a:cubicBezTo>
                <a:cubicBezTo>
                  <a:pt x="112" y="501"/>
                  <a:pt x="111" y="500"/>
                  <a:pt x="111" y="499"/>
                </a:cubicBezTo>
                <a:cubicBezTo>
                  <a:pt x="105" y="492"/>
                  <a:pt x="105" y="492"/>
                  <a:pt x="105" y="492"/>
                </a:cubicBezTo>
                <a:cubicBezTo>
                  <a:pt x="105" y="492"/>
                  <a:pt x="104" y="492"/>
                  <a:pt x="103" y="492"/>
                </a:cubicBezTo>
                <a:cubicBezTo>
                  <a:pt x="102" y="492"/>
                  <a:pt x="102" y="492"/>
                  <a:pt x="102" y="492"/>
                </a:cubicBezTo>
                <a:cubicBezTo>
                  <a:pt x="98" y="500"/>
                  <a:pt x="98" y="500"/>
                  <a:pt x="98" y="500"/>
                </a:cubicBezTo>
                <a:cubicBezTo>
                  <a:pt x="97" y="501"/>
                  <a:pt x="96" y="501"/>
                  <a:pt x="95" y="501"/>
                </a:cubicBezTo>
                <a:cubicBezTo>
                  <a:pt x="89" y="499"/>
                  <a:pt x="89" y="499"/>
                  <a:pt x="89" y="499"/>
                </a:cubicBezTo>
                <a:cubicBezTo>
                  <a:pt x="88" y="499"/>
                  <a:pt x="88" y="498"/>
                  <a:pt x="88" y="497"/>
                </a:cubicBezTo>
                <a:cubicBezTo>
                  <a:pt x="89" y="488"/>
                  <a:pt x="89" y="488"/>
                  <a:pt x="89" y="488"/>
                </a:cubicBezTo>
                <a:cubicBezTo>
                  <a:pt x="88" y="487"/>
                  <a:pt x="87" y="487"/>
                  <a:pt x="86" y="486"/>
                </a:cubicBezTo>
                <a:cubicBezTo>
                  <a:pt x="78" y="489"/>
                  <a:pt x="78" y="489"/>
                  <a:pt x="78" y="489"/>
                </a:cubicBezTo>
                <a:cubicBezTo>
                  <a:pt x="77" y="489"/>
                  <a:pt x="75" y="489"/>
                  <a:pt x="75" y="488"/>
                </a:cubicBezTo>
                <a:cubicBezTo>
                  <a:pt x="71" y="483"/>
                  <a:pt x="71" y="483"/>
                  <a:pt x="71" y="483"/>
                </a:cubicBezTo>
                <a:cubicBezTo>
                  <a:pt x="71" y="482"/>
                  <a:pt x="71" y="481"/>
                  <a:pt x="72" y="480"/>
                </a:cubicBezTo>
                <a:cubicBezTo>
                  <a:pt x="78" y="474"/>
                  <a:pt x="78" y="474"/>
                  <a:pt x="78" y="474"/>
                </a:cubicBezTo>
                <a:cubicBezTo>
                  <a:pt x="78" y="472"/>
                  <a:pt x="78" y="471"/>
                  <a:pt x="78" y="470"/>
                </a:cubicBezTo>
                <a:cubicBezTo>
                  <a:pt x="69" y="466"/>
                  <a:pt x="69" y="466"/>
                  <a:pt x="69" y="466"/>
                </a:cubicBezTo>
                <a:cubicBezTo>
                  <a:pt x="68" y="466"/>
                  <a:pt x="68" y="465"/>
                  <a:pt x="68" y="464"/>
                </a:cubicBezTo>
                <a:cubicBezTo>
                  <a:pt x="69" y="458"/>
                  <a:pt x="69" y="458"/>
                  <a:pt x="69" y="458"/>
                </a:cubicBezTo>
                <a:cubicBezTo>
                  <a:pt x="69" y="456"/>
                  <a:pt x="70" y="455"/>
                  <a:pt x="71" y="455"/>
                </a:cubicBezTo>
                <a:cubicBezTo>
                  <a:pt x="80" y="455"/>
                  <a:pt x="80" y="455"/>
                  <a:pt x="80" y="455"/>
                </a:cubicBezTo>
                <a:cubicBezTo>
                  <a:pt x="81" y="455"/>
                  <a:pt x="81" y="454"/>
                  <a:pt x="82" y="453"/>
                </a:cubicBezTo>
                <a:cubicBezTo>
                  <a:pt x="77" y="445"/>
                  <a:pt x="77" y="445"/>
                  <a:pt x="77" y="445"/>
                </a:cubicBezTo>
                <a:cubicBezTo>
                  <a:pt x="77" y="444"/>
                  <a:pt x="77" y="443"/>
                  <a:pt x="78" y="442"/>
                </a:cubicBezTo>
                <a:cubicBezTo>
                  <a:pt x="82" y="438"/>
                  <a:pt x="82" y="438"/>
                  <a:pt x="82" y="438"/>
                </a:cubicBezTo>
                <a:cubicBezTo>
                  <a:pt x="83" y="438"/>
                  <a:pt x="85" y="438"/>
                  <a:pt x="86" y="438"/>
                </a:cubicBezTo>
                <a:cubicBezTo>
                  <a:pt x="93" y="444"/>
                  <a:pt x="93" y="444"/>
                  <a:pt x="93" y="444"/>
                </a:cubicBezTo>
                <a:cubicBezTo>
                  <a:pt x="93" y="443"/>
                  <a:pt x="94" y="443"/>
                  <a:pt x="95" y="443"/>
                </a:cubicBezTo>
                <a:cubicBezTo>
                  <a:pt x="97" y="434"/>
                  <a:pt x="97" y="434"/>
                  <a:pt x="97" y="434"/>
                </a:cubicBezTo>
                <a:cubicBezTo>
                  <a:pt x="97" y="433"/>
                  <a:pt x="98" y="432"/>
                  <a:pt x="99" y="432"/>
                </a:cubicBezTo>
                <a:cubicBezTo>
                  <a:pt x="106" y="432"/>
                  <a:pt x="106" y="432"/>
                  <a:pt x="106" y="432"/>
                </a:cubicBezTo>
                <a:cubicBezTo>
                  <a:pt x="107" y="432"/>
                  <a:pt x="108" y="433"/>
                  <a:pt x="108" y="434"/>
                </a:cubicBezTo>
                <a:cubicBezTo>
                  <a:pt x="110" y="443"/>
                  <a:pt x="110" y="443"/>
                  <a:pt x="110" y="443"/>
                </a:cubicBezTo>
                <a:cubicBezTo>
                  <a:pt x="111" y="443"/>
                  <a:pt x="112" y="443"/>
                  <a:pt x="112" y="444"/>
                </a:cubicBezTo>
                <a:cubicBezTo>
                  <a:pt x="120" y="438"/>
                  <a:pt x="120" y="438"/>
                  <a:pt x="120" y="438"/>
                </a:cubicBezTo>
                <a:cubicBezTo>
                  <a:pt x="120" y="438"/>
                  <a:pt x="122" y="438"/>
                  <a:pt x="123" y="438"/>
                </a:cubicBezTo>
                <a:cubicBezTo>
                  <a:pt x="127" y="442"/>
                  <a:pt x="127" y="442"/>
                  <a:pt x="127" y="442"/>
                </a:cubicBezTo>
                <a:cubicBezTo>
                  <a:pt x="128" y="443"/>
                  <a:pt x="128" y="444"/>
                  <a:pt x="128" y="445"/>
                </a:cubicBezTo>
                <a:cubicBezTo>
                  <a:pt x="124" y="453"/>
                  <a:pt x="124" y="453"/>
                  <a:pt x="124" y="453"/>
                </a:cubicBezTo>
                <a:cubicBezTo>
                  <a:pt x="124" y="454"/>
                  <a:pt x="124" y="455"/>
                  <a:pt x="125" y="455"/>
                </a:cubicBezTo>
                <a:cubicBezTo>
                  <a:pt x="134" y="455"/>
                  <a:pt x="134" y="455"/>
                  <a:pt x="134" y="455"/>
                </a:cubicBezTo>
                <a:cubicBezTo>
                  <a:pt x="135" y="455"/>
                  <a:pt x="136" y="456"/>
                  <a:pt x="136" y="458"/>
                </a:cubicBezTo>
                <a:cubicBezTo>
                  <a:pt x="137" y="463"/>
                  <a:pt x="137" y="463"/>
                  <a:pt x="137" y="463"/>
                </a:cubicBezTo>
                <a:cubicBezTo>
                  <a:pt x="137" y="465"/>
                  <a:pt x="137" y="466"/>
                  <a:pt x="136" y="466"/>
                </a:cubicBezTo>
                <a:cubicBezTo>
                  <a:pt x="127" y="470"/>
                  <a:pt x="127" y="470"/>
                  <a:pt x="127" y="470"/>
                </a:cubicBezTo>
                <a:close/>
                <a:moveTo>
                  <a:pt x="116" y="467"/>
                </a:moveTo>
                <a:cubicBezTo>
                  <a:pt x="116" y="459"/>
                  <a:pt x="110" y="454"/>
                  <a:pt x="103" y="454"/>
                </a:cubicBezTo>
                <a:cubicBezTo>
                  <a:pt x="95" y="454"/>
                  <a:pt x="89" y="459"/>
                  <a:pt x="89" y="467"/>
                </a:cubicBezTo>
                <a:cubicBezTo>
                  <a:pt x="89" y="474"/>
                  <a:pt x="95" y="480"/>
                  <a:pt x="103" y="480"/>
                </a:cubicBezTo>
                <a:cubicBezTo>
                  <a:pt x="110" y="480"/>
                  <a:pt x="116" y="474"/>
                  <a:pt x="116" y="467"/>
                </a:cubicBezTo>
                <a:close/>
                <a:moveTo>
                  <a:pt x="103" y="461"/>
                </a:moveTo>
                <a:cubicBezTo>
                  <a:pt x="99" y="461"/>
                  <a:pt x="97" y="464"/>
                  <a:pt x="97" y="467"/>
                </a:cubicBezTo>
                <a:cubicBezTo>
                  <a:pt x="97" y="470"/>
                  <a:pt x="99" y="473"/>
                  <a:pt x="103" y="473"/>
                </a:cubicBezTo>
                <a:cubicBezTo>
                  <a:pt x="106" y="473"/>
                  <a:pt x="108" y="470"/>
                  <a:pt x="108" y="467"/>
                </a:cubicBezTo>
                <a:cubicBezTo>
                  <a:pt x="108" y="464"/>
                  <a:pt x="106" y="461"/>
                  <a:pt x="103" y="461"/>
                </a:cubicBezTo>
                <a:close/>
                <a:moveTo>
                  <a:pt x="30" y="535"/>
                </a:moveTo>
                <a:cubicBezTo>
                  <a:pt x="31" y="535"/>
                  <a:pt x="32" y="534"/>
                  <a:pt x="32" y="532"/>
                </a:cubicBezTo>
                <a:cubicBezTo>
                  <a:pt x="30" y="527"/>
                  <a:pt x="30" y="527"/>
                  <a:pt x="30" y="527"/>
                </a:cubicBezTo>
                <a:cubicBezTo>
                  <a:pt x="30" y="525"/>
                  <a:pt x="29" y="524"/>
                  <a:pt x="28" y="524"/>
                </a:cubicBezTo>
                <a:cubicBezTo>
                  <a:pt x="28" y="524"/>
                  <a:pt x="28" y="524"/>
                  <a:pt x="19" y="524"/>
                </a:cubicBezTo>
                <a:cubicBezTo>
                  <a:pt x="19" y="523"/>
                  <a:pt x="18" y="523"/>
                  <a:pt x="18" y="522"/>
                </a:cubicBezTo>
                <a:cubicBezTo>
                  <a:pt x="18" y="522"/>
                  <a:pt x="18" y="522"/>
                  <a:pt x="22" y="514"/>
                </a:cubicBezTo>
                <a:cubicBezTo>
                  <a:pt x="23" y="513"/>
                  <a:pt x="22" y="512"/>
                  <a:pt x="21" y="511"/>
                </a:cubicBezTo>
                <a:cubicBezTo>
                  <a:pt x="21" y="511"/>
                  <a:pt x="21" y="511"/>
                  <a:pt x="18" y="508"/>
                </a:cubicBezTo>
                <a:cubicBezTo>
                  <a:pt x="13" y="528"/>
                  <a:pt x="9" y="549"/>
                  <a:pt x="7" y="569"/>
                </a:cubicBezTo>
                <a:cubicBezTo>
                  <a:pt x="7" y="569"/>
                  <a:pt x="7" y="569"/>
                  <a:pt x="8" y="569"/>
                </a:cubicBezTo>
                <a:cubicBezTo>
                  <a:pt x="8" y="569"/>
                  <a:pt x="8" y="569"/>
                  <a:pt x="13" y="566"/>
                </a:cubicBezTo>
                <a:cubicBezTo>
                  <a:pt x="14" y="566"/>
                  <a:pt x="15" y="565"/>
                  <a:pt x="15" y="564"/>
                </a:cubicBezTo>
                <a:cubicBezTo>
                  <a:pt x="15" y="564"/>
                  <a:pt x="15" y="564"/>
                  <a:pt x="13" y="555"/>
                </a:cubicBezTo>
                <a:cubicBezTo>
                  <a:pt x="13" y="555"/>
                  <a:pt x="14" y="554"/>
                  <a:pt x="14" y="554"/>
                </a:cubicBezTo>
                <a:cubicBezTo>
                  <a:pt x="14" y="554"/>
                  <a:pt x="14" y="554"/>
                  <a:pt x="23" y="557"/>
                </a:cubicBezTo>
                <a:cubicBezTo>
                  <a:pt x="24" y="557"/>
                  <a:pt x="25" y="556"/>
                  <a:pt x="26" y="555"/>
                </a:cubicBezTo>
                <a:cubicBezTo>
                  <a:pt x="26" y="555"/>
                  <a:pt x="26" y="555"/>
                  <a:pt x="28" y="550"/>
                </a:cubicBezTo>
                <a:cubicBezTo>
                  <a:pt x="29" y="549"/>
                  <a:pt x="29" y="548"/>
                  <a:pt x="28" y="547"/>
                </a:cubicBezTo>
                <a:cubicBezTo>
                  <a:pt x="28" y="547"/>
                  <a:pt x="28" y="547"/>
                  <a:pt x="21" y="541"/>
                </a:cubicBezTo>
                <a:cubicBezTo>
                  <a:pt x="21" y="540"/>
                  <a:pt x="21" y="539"/>
                  <a:pt x="22" y="539"/>
                </a:cubicBezTo>
                <a:cubicBezTo>
                  <a:pt x="22" y="539"/>
                  <a:pt x="22" y="539"/>
                  <a:pt x="30" y="535"/>
                </a:cubicBezTo>
                <a:close/>
                <a:moveTo>
                  <a:pt x="195" y="566"/>
                </a:moveTo>
                <a:cubicBezTo>
                  <a:pt x="195" y="557"/>
                  <a:pt x="195" y="557"/>
                  <a:pt x="195" y="557"/>
                </a:cubicBezTo>
                <a:cubicBezTo>
                  <a:pt x="195" y="556"/>
                  <a:pt x="194" y="555"/>
                  <a:pt x="193" y="555"/>
                </a:cubicBezTo>
                <a:cubicBezTo>
                  <a:pt x="184" y="558"/>
                  <a:pt x="184" y="558"/>
                  <a:pt x="184" y="558"/>
                </a:cubicBezTo>
                <a:cubicBezTo>
                  <a:pt x="184" y="558"/>
                  <a:pt x="182" y="558"/>
                  <a:pt x="182" y="557"/>
                </a:cubicBezTo>
                <a:cubicBezTo>
                  <a:pt x="178" y="552"/>
                  <a:pt x="178" y="552"/>
                  <a:pt x="178" y="552"/>
                </a:cubicBezTo>
                <a:cubicBezTo>
                  <a:pt x="178" y="551"/>
                  <a:pt x="178" y="550"/>
                  <a:pt x="179" y="549"/>
                </a:cubicBezTo>
                <a:cubicBezTo>
                  <a:pt x="185" y="542"/>
                  <a:pt x="185" y="543"/>
                  <a:pt x="185" y="543"/>
                </a:cubicBezTo>
                <a:cubicBezTo>
                  <a:pt x="185" y="541"/>
                  <a:pt x="185" y="540"/>
                  <a:pt x="185" y="539"/>
                </a:cubicBezTo>
                <a:cubicBezTo>
                  <a:pt x="176" y="535"/>
                  <a:pt x="176" y="535"/>
                  <a:pt x="176" y="535"/>
                </a:cubicBezTo>
                <a:cubicBezTo>
                  <a:pt x="175" y="535"/>
                  <a:pt x="175" y="534"/>
                  <a:pt x="175" y="533"/>
                </a:cubicBezTo>
                <a:cubicBezTo>
                  <a:pt x="176" y="527"/>
                  <a:pt x="176" y="527"/>
                  <a:pt x="176" y="527"/>
                </a:cubicBezTo>
                <a:cubicBezTo>
                  <a:pt x="176" y="525"/>
                  <a:pt x="177" y="524"/>
                  <a:pt x="178" y="524"/>
                </a:cubicBezTo>
                <a:cubicBezTo>
                  <a:pt x="187" y="524"/>
                  <a:pt x="187" y="524"/>
                  <a:pt x="187" y="524"/>
                </a:cubicBezTo>
                <a:cubicBezTo>
                  <a:pt x="187" y="523"/>
                  <a:pt x="188" y="523"/>
                  <a:pt x="188" y="522"/>
                </a:cubicBezTo>
                <a:cubicBezTo>
                  <a:pt x="184" y="514"/>
                  <a:pt x="184" y="514"/>
                  <a:pt x="184" y="514"/>
                </a:cubicBezTo>
                <a:cubicBezTo>
                  <a:pt x="184" y="513"/>
                  <a:pt x="184" y="512"/>
                  <a:pt x="185" y="511"/>
                </a:cubicBezTo>
                <a:cubicBezTo>
                  <a:pt x="189" y="507"/>
                  <a:pt x="189" y="507"/>
                  <a:pt x="189" y="507"/>
                </a:cubicBezTo>
                <a:cubicBezTo>
                  <a:pt x="190" y="507"/>
                  <a:pt x="191" y="507"/>
                  <a:pt x="192" y="507"/>
                </a:cubicBezTo>
                <a:cubicBezTo>
                  <a:pt x="199" y="513"/>
                  <a:pt x="199" y="513"/>
                  <a:pt x="199" y="513"/>
                </a:cubicBezTo>
                <a:cubicBezTo>
                  <a:pt x="200" y="512"/>
                  <a:pt x="201" y="512"/>
                  <a:pt x="202" y="512"/>
                </a:cubicBezTo>
                <a:cubicBezTo>
                  <a:pt x="204" y="503"/>
                  <a:pt x="204" y="503"/>
                  <a:pt x="204" y="503"/>
                </a:cubicBezTo>
                <a:cubicBezTo>
                  <a:pt x="204" y="502"/>
                  <a:pt x="205" y="501"/>
                  <a:pt x="206" y="501"/>
                </a:cubicBezTo>
                <a:cubicBezTo>
                  <a:pt x="213" y="501"/>
                  <a:pt x="213" y="501"/>
                  <a:pt x="213" y="501"/>
                </a:cubicBezTo>
                <a:cubicBezTo>
                  <a:pt x="214" y="501"/>
                  <a:pt x="215" y="502"/>
                  <a:pt x="215" y="503"/>
                </a:cubicBezTo>
                <a:cubicBezTo>
                  <a:pt x="217" y="512"/>
                  <a:pt x="217" y="512"/>
                  <a:pt x="217" y="512"/>
                </a:cubicBezTo>
                <a:cubicBezTo>
                  <a:pt x="218" y="512"/>
                  <a:pt x="218" y="512"/>
                  <a:pt x="219" y="513"/>
                </a:cubicBezTo>
                <a:cubicBezTo>
                  <a:pt x="226" y="507"/>
                  <a:pt x="226" y="507"/>
                  <a:pt x="226" y="507"/>
                </a:cubicBezTo>
                <a:cubicBezTo>
                  <a:pt x="227" y="507"/>
                  <a:pt x="229" y="507"/>
                  <a:pt x="229" y="507"/>
                </a:cubicBezTo>
                <a:cubicBezTo>
                  <a:pt x="234" y="511"/>
                  <a:pt x="234" y="511"/>
                  <a:pt x="234" y="511"/>
                </a:cubicBezTo>
                <a:cubicBezTo>
                  <a:pt x="235" y="512"/>
                  <a:pt x="235" y="513"/>
                  <a:pt x="235" y="514"/>
                </a:cubicBezTo>
                <a:cubicBezTo>
                  <a:pt x="230" y="522"/>
                  <a:pt x="230" y="522"/>
                  <a:pt x="230" y="522"/>
                </a:cubicBezTo>
                <a:cubicBezTo>
                  <a:pt x="231" y="523"/>
                  <a:pt x="231" y="523"/>
                  <a:pt x="232" y="524"/>
                </a:cubicBezTo>
                <a:cubicBezTo>
                  <a:pt x="241" y="524"/>
                  <a:pt x="241" y="524"/>
                  <a:pt x="241" y="524"/>
                </a:cubicBezTo>
                <a:cubicBezTo>
                  <a:pt x="242" y="524"/>
                  <a:pt x="243" y="525"/>
                  <a:pt x="243" y="527"/>
                </a:cubicBezTo>
                <a:cubicBezTo>
                  <a:pt x="244" y="532"/>
                  <a:pt x="244" y="532"/>
                  <a:pt x="244" y="532"/>
                </a:cubicBezTo>
                <a:cubicBezTo>
                  <a:pt x="244" y="534"/>
                  <a:pt x="244" y="535"/>
                  <a:pt x="243" y="535"/>
                </a:cubicBezTo>
                <a:cubicBezTo>
                  <a:pt x="234" y="539"/>
                  <a:pt x="234" y="539"/>
                  <a:pt x="234" y="539"/>
                </a:cubicBezTo>
                <a:cubicBezTo>
                  <a:pt x="234" y="539"/>
                  <a:pt x="234" y="540"/>
                  <a:pt x="234" y="541"/>
                </a:cubicBezTo>
                <a:cubicBezTo>
                  <a:pt x="241" y="547"/>
                  <a:pt x="241" y="547"/>
                  <a:pt x="241" y="547"/>
                </a:cubicBezTo>
                <a:cubicBezTo>
                  <a:pt x="241" y="548"/>
                  <a:pt x="242" y="549"/>
                  <a:pt x="241" y="550"/>
                </a:cubicBezTo>
                <a:cubicBezTo>
                  <a:pt x="238" y="555"/>
                  <a:pt x="238" y="555"/>
                  <a:pt x="238" y="555"/>
                </a:cubicBezTo>
                <a:cubicBezTo>
                  <a:pt x="238" y="556"/>
                  <a:pt x="237" y="557"/>
                  <a:pt x="235" y="557"/>
                </a:cubicBezTo>
                <a:cubicBezTo>
                  <a:pt x="227" y="554"/>
                  <a:pt x="227" y="554"/>
                  <a:pt x="227" y="554"/>
                </a:cubicBezTo>
                <a:cubicBezTo>
                  <a:pt x="226" y="554"/>
                  <a:pt x="226" y="555"/>
                  <a:pt x="226" y="555"/>
                </a:cubicBezTo>
                <a:cubicBezTo>
                  <a:pt x="227" y="564"/>
                  <a:pt x="227" y="564"/>
                  <a:pt x="227" y="564"/>
                </a:cubicBezTo>
                <a:cubicBezTo>
                  <a:pt x="228" y="565"/>
                  <a:pt x="227" y="566"/>
                  <a:pt x="226" y="566"/>
                </a:cubicBezTo>
                <a:cubicBezTo>
                  <a:pt x="220" y="569"/>
                  <a:pt x="220" y="569"/>
                  <a:pt x="220" y="569"/>
                </a:cubicBezTo>
                <a:cubicBezTo>
                  <a:pt x="219" y="570"/>
                  <a:pt x="218" y="569"/>
                  <a:pt x="218" y="568"/>
                </a:cubicBezTo>
                <a:cubicBezTo>
                  <a:pt x="212" y="561"/>
                  <a:pt x="212" y="561"/>
                  <a:pt x="212" y="561"/>
                </a:cubicBezTo>
                <a:cubicBezTo>
                  <a:pt x="211" y="561"/>
                  <a:pt x="210" y="561"/>
                  <a:pt x="210" y="561"/>
                </a:cubicBezTo>
                <a:cubicBezTo>
                  <a:pt x="209" y="561"/>
                  <a:pt x="209" y="561"/>
                  <a:pt x="209" y="561"/>
                </a:cubicBezTo>
                <a:cubicBezTo>
                  <a:pt x="205" y="569"/>
                  <a:pt x="205" y="569"/>
                  <a:pt x="205" y="569"/>
                </a:cubicBezTo>
                <a:cubicBezTo>
                  <a:pt x="204" y="570"/>
                  <a:pt x="203" y="570"/>
                  <a:pt x="202" y="570"/>
                </a:cubicBezTo>
                <a:cubicBezTo>
                  <a:pt x="196" y="568"/>
                  <a:pt x="196" y="568"/>
                  <a:pt x="196" y="568"/>
                </a:cubicBezTo>
                <a:cubicBezTo>
                  <a:pt x="195" y="568"/>
                  <a:pt x="195" y="567"/>
                  <a:pt x="195" y="566"/>
                </a:cubicBezTo>
                <a:close/>
                <a:moveTo>
                  <a:pt x="196" y="536"/>
                </a:moveTo>
                <a:cubicBezTo>
                  <a:pt x="196" y="543"/>
                  <a:pt x="202" y="549"/>
                  <a:pt x="210" y="549"/>
                </a:cubicBezTo>
                <a:cubicBezTo>
                  <a:pt x="217" y="549"/>
                  <a:pt x="223" y="543"/>
                  <a:pt x="223" y="536"/>
                </a:cubicBezTo>
                <a:cubicBezTo>
                  <a:pt x="223" y="528"/>
                  <a:pt x="217" y="523"/>
                  <a:pt x="210" y="523"/>
                </a:cubicBezTo>
                <a:cubicBezTo>
                  <a:pt x="202" y="523"/>
                  <a:pt x="196" y="528"/>
                  <a:pt x="196" y="536"/>
                </a:cubicBezTo>
                <a:close/>
                <a:moveTo>
                  <a:pt x="124" y="910"/>
                </a:moveTo>
                <a:cubicBezTo>
                  <a:pt x="125" y="901"/>
                  <a:pt x="125" y="901"/>
                  <a:pt x="125" y="901"/>
                </a:cubicBezTo>
                <a:cubicBezTo>
                  <a:pt x="124" y="901"/>
                  <a:pt x="123" y="900"/>
                  <a:pt x="122" y="899"/>
                </a:cubicBezTo>
                <a:cubicBezTo>
                  <a:pt x="114" y="902"/>
                  <a:pt x="114" y="902"/>
                  <a:pt x="114" y="902"/>
                </a:cubicBezTo>
                <a:cubicBezTo>
                  <a:pt x="113" y="903"/>
                  <a:pt x="111" y="902"/>
                  <a:pt x="111" y="901"/>
                </a:cubicBezTo>
                <a:cubicBezTo>
                  <a:pt x="107" y="896"/>
                  <a:pt x="107" y="896"/>
                  <a:pt x="107" y="896"/>
                </a:cubicBezTo>
                <a:cubicBezTo>
                  <a:pt x="107" y="895"/>
                  <a:pt x="107" y="894"/>
                  <a:pt x="108" y="893"/>
                </a:cubicBezTo>
                <a:cubicBezTo>
                  <a:pt x="114" y="887"/>
                  <a:pt x="114" y="887"/>
                  <a:pt x="114" y="887"/>
                </a:cubicBezTo>
                <a:cubicBezTo>
                  <a:pt x="114" y="886"/>
                  <a:pt x="114" y="884"/>
                  <a:pt x="114" y="883"/>
                </a:cubicBezTo>
                <a:cubicBezTo>
                  <a:pt x="105" y="880"/>
                  <a:pt x="105" y="880"/>
                  <a:pt x="105" y="880"/>
                </a:cubicBezTo>
                <a:cubicBezTo>
                  <a:pt x="104" y="879"/>
                  <a:pt x="104" y="878"/>
                  <a:pt x="104" y="877"/>
                </a:cubicBezTo>
                <a:cubicBezTo>
                  <a:pt x="105" y="871"/>
                  <a:pt x="105" y="871"/>
                  <a:pt x="105" y="871"/>
                </a:cubicBezTo>
                <a:cubicBezTo>
                  <a:pt x="105" y="870"/>
                  <a:pt x="106" y="869"/>
                  <a:pt x="107" y="869"/>
                </a:cubicBezTo>
                <a:cubicBezTo>
                  <a:pt x="116" y="869"/>
                  <a:pt x="116" y="869"/>
                  <a:pt x="116" y="869"/>
                </a:cubicBezTo>
                <a:cubicBezTo>
                  <a:pt x="117" y="868"/>
                  <a:pt x="117" y="867"/>
                  <a:pt x="118" y="867"/>
                </a:cubicBezTo>
                <a:cubicBezTo>
                  <a:pt x="113" y="859"/>
                  <a:pt x="113" y="859"/>
                  <a:pt x="113" y="859"/>
                </a:cubicBezTo>
                <a:cubicBezTo>
                  <a:pt x="113" y="858"/>
                  <a:pt x="113" y="857"/>
                  <a:pt x="114" y="856"/>
                </a:cubicBezTo>
                <a:cubicBezTo>
                  <a:pt x="118" y="852"/>
                  <a:pt x="118" y="852"/>
                  <a:pt x="118" y="852"/>
                </a:cubicBezTo>
                <a:cubicBezTo>
                  <a:pt x="119" y="851"/>
                  <a:pt x="121" y="851"/>
                  <a:pt x="122" y="852"/>
                </a:cubicBezTo>
                <a:cubicBezTo>
                  <a:pt x="129" y="857"/>
                  <a:pt x="129" y="857"/>
                  <a:pt x="129" y="857"/>
                </a:cubicBezTo>
                <a:cubicBezTo>
                  <a:pt x="129" y="857"/>
                  <a:pt x="130" y="857"/>
                  <a:pt x="131" y="856"/>
                </a:cubicBezTo>
                <a:cubicBezTo>
                  <a:pt x="133" y="847"/>
                  <a:pt x="133" y="847"/>
                  <a:pt x="133" y="847"/>
                </a:cubicBezTo>
                <a:cubicBezTo>
                  <a:pt x="133" y="846"/>
                  <a:pt x="134" y="845"/>
                  <a:pt x="135" y="845"/>
                </a:cubicBezTo>
                <a:cubicBezTo>
                  <a:pt x="142" y="845"/>
                  <a:pt x="142" y="845"/>
                  <a:pt x="142" y="845"/>
                </a:cubicBezTo>
                <a:cubicBezTo>
                  <a:pt x="143" y="845"/>
                  <a:pt x="144" y="846"/>
                  <a:pt x="144" y="847"/>
                </a:cubicBezTo>
                <a:cubicBezTo>
                  <a:pt x="146" y="856"/>
                  <a:pt x="146" y="856"/>
                  <a:pt x="146" y="856"/>
                </a:cubicBezTo>
                <a:cubicBezTo>
                  <a:pt x="147" y="857"/>
                  <a:pt x="148" y="857"/>
                  <a:pt x="148" y="857"/>
                </a:cubicBezTo>
                <a:cubicBezTo>
                  <a:pt x="156" y="852"/>
                  <a:pt x="156" y="852"/>
                  <a:pt x="156" y="852"/>
                </a:cubicBezTo>
                <a:cubicBezTo>
                  <a:pt x="156" y="851"/>
                  <a:pt x="158" y="851"/>
                  <a:pt x="159" y="852"/>
                </a:cubicBezTo>
                <a:cubicBezTo>
                  <a:pt x="163" y="856"/>
                  <a:pt x="163" y="856"/>
                  <a:pt x="163" y="856"/>
                </a:cubicBezTo>
                <a:cubicBezTo>
                  <a:pt x="164" y="856"/>
                  <a:pt x="164" y="858"/>
                  <a:pt x="164" y="859"/>
                </a:cubicBezTo>
                <a:cubicBezTo>
                  <a:pt x="160" y="867"/>
                  <a:pt x="160" y="867"/>
                  <a:pt x="160" y="867"/>
                </a:cubicBezTo>
                <a:cubicBezTo>
                  <a:pt x="160" y="867"/>
                  <a:pt x="160" y="868"/>
                  <a:pt x="161" y="869"/>
                </a:cubicBezTo>
                <a:cubicBezTo>
                  <a:pt x="170" y="869"/>
                  <a:pt x="170" y="869"/>
                  <a:pt x="170" y="869"/>
                </a:cubicBezTo>
                <a:cubicBezTo>
                  <a:pt x="171" y="869"/>
                  <a:pt x="172" y="870"/>
                  <a:pt x="172" y="871"/>
                </a:cubicBezTo>
                <a:cubicBezTo>
                  <a:pt x="173" y="877"/>
                  <a:pt x="173" y="877"/>
                  <a:pt x="173" y="877"/>
                </a:cubicBezTo>
                <a:cubicBezTo>
                  <a:pt x="173" y="878"/>
                  <a:pt x="173" y="879"/>
                  <a:pt x="172" y="880"/>
                </a:cubicBezTo>
                <a:cubicBezTo>
                  <a:pt x="163" y="883"/>
                  <a:pt x="163" y="883"/>
                  <a:pt x="163" y="883"/>
                </a:cubicBezTo>
                <a:cubicBezTo>
                  <a:pt x="163" y="884"/>
                  <a:pt x="163" y="885"/>
                  <a:pt x="163" y="886"/>
                </a:cubicBezTo>
                <a:cubicBezTo>
                  <a:pt x="170" y="892"/>
                  <a:pt x="170" y="892"/>
                  <a:pt x="170" y="892"/>
                </a:cubicBezTo>
                <a:cubicBezTo>
                  <a:pt x="171" y="892"/>
                  <a:pt x="171" y="893"/>
                  <a:pt x="170" y="894"/>
                </a:cubicBezTo>
                <a:cubicBezTo>
                  <a:pt x="167" y="900"/>
                  <a:pt x="167" y="900"/>
                  <a:pt x="167" y="900"/>
                </a:cubicBezTo>
                <a:cubicBezTo>
                  <a:pt x="167" y="901"/>
                  <a:pt x="166" y="901"/>
                  <a:pt x="164" y="901"/>
                </a:cubicBezTo>
                <a:cubicBezTo>
                  <a:pt x="156" y="898"/>
                  <a:pt x="156" y="898"/>
                  <a:pt x="156" y="898"/>
                </a:cubicBezTo>
                <a:cubicBezTo>
                  <a:pt x="156" y="899"/>
                  <a:pt x="155" y="899"/>
                  <a:pt x="155" y="900"/>
                </a:cubicBezTo>
                <a:cubicBezTo>
                  <a:pt x="156" y="909"/>
                  <a:pt x="156" y="909"/>
                  <a:pt x="156" y="909"/>
                </a:cubicBezTo>
                <a:cubicBezTo>
                  <a:pt x="157" y="909"/>
                  <a:pt x="156" y="911"/>
                  <a:pt x="155" y="911"/>
                </a:cubicBezTo>
                <a:cubicBezTo>
                  <a:pt x="149" y="913"/>
                  <a:pt x="149" y="913"/>
                  <a:pt x="149" y="913"/>
                </a:cubicBezTo>
                <a:cubicBezTo>
                  <a:pt x="148" y="914"/>
                  <a:pt x="147" y="913"/>
                  <a:pt x="147" y="913"/>
                </a:cubicBezTo>
                <a:cubicBezTo>
                  <a:pt x="141" y="905"/>
                  <a:pt x="141" y="905"/>
                  <a:pt x="141" y="905"/>
                </a:cubicBezTo>
                <a:cubicBezTo>
                  <a:pt x="141" y="905"/>
                  <a:pt x="140" y="905"/>
                  <a:pt x="139" y="905"/>
                </a:cubicBezTo>
                <a:cubicBezTo>
                  <a:pt x="138" y="905"/>
                  <a:pt x="138" y="905"/>
                  <a:pt x="138" y="905"/>
                </a:cubicBezTo>
                <a:cubicBezTo>
                  <a:pt x="134" y="913"/>
                  <a:pt x="134" y="913"/>
                  <a:pt x="134" y="913"/>
                </a:cubicBezTo>
                <a:cubicBezTo>
                  <a:pt x="133" y="914"/>
                  <a:pt x="132" y="915"/>
                  <a:pt x="131" y="914"/>
                </a:cubicBezTo>
                <a:cubicBezTo>
                  <a:pt x="125" y="912"/>
                  <a:pt x="125" y="913"/>
                  <a:pt x="125" y="913"/>
                </a:cubicBezTo>
                <a:cubicBezTo>
                  <a:pt x="124" y="912"/>
                  <a:pt x="124" y="911"/>
                  <a:pt x="124" y="910"/>
                </a:cubicBezTo>
                <a:close/>
                <a:moveTo>
                  <a:pt x="125" y="880"/>
                </a:moveTo>
                <a:cubicBezTo>
                  <a:pt x="125" y="888"/>
                  <a:pt x="131" y="893"/>
                  <a:pt x="139" y="893"/>
                </a:cubicBezTo>
                <a:cubicBezTo>
                  <a:pt x="146" y="893"/>
                  <a:pt x="152" y="888"/>
                  <a:pt x="152" y="880"/>
                </a:cubicBezTo>
                <a:cubicBezTo>
                  <a:pt x="152" y="873"/>
                  <a:pt x="146" y="867"/>
                  <a:pt x="139" y="867"/>
                </a:cubicBezTo>
                <a:cubicBezTo>
                  <a:pt x="131" y="867"/>
                  <a:pt x="125" y="873"/>
                  <a:pt x="125" y="880"/>
                </a:cubicBezTo>
                <a:close/>
                <a:moveTo>
                  <a:pt x="435" y="455"/>
                </a:moveTo>
                <a:cubicBezTo>
                  <a:pt x="435" y="455"/>
                  <a:pt x="436" y="454"/>
                  <a:pt x="436" y="453"/>
                </a:cubicBezTo>
                <a:cubicBezTo>
                  <a:pt x="432" y="445"/>
                  <a:pt x="432" y="445"/>
                  <a:pt x="432" y="445"/>
                </a:cubicBezTo>
                <a:cubicBezTo>
                  <a:pt x="431" y="444"/>
                  <a:pt x="431" y="443"/>
                  <a:pt x="432" y="442"/>
                </a:cubicBezTo>
                <a:cubicBezTo>
                  <a:pt x="437" y="438"/>
                  <a:pt x="437" y="438"/>
                  <a:pt x="437" y="438"/>
                </a:cubicBezTo>
                <a:cubicBezTo>
                  <a:pt x="438" y="438"/>
                  <a:pt x="439" y="438"/>
                  <a:pt x="440" y="438"/>
                </a:cubicBezTo>
                <a:cubicBezTo>
                  <a:pt x="447" y="444"/>
                  <a:pt x="447" y="444"/>
                  <a:pt x="447" y="444"/>
                </a:cubicBezTo>
                <a:cubicBezTo>
                  <a:pt x="448" y="443"/>
                  <a:pt x="449" y="443"/>
                  <a:pt x="450" y="443"/>
                </a:cubicBezTo>
                <a:cubicBezTo>
                  <a:pt x="452" y="434"/>
                  <a:pt x="452" y="434"/>
                  <a:pt x="452" y="434"/>
                </a:cubicBezTo>
                <a:cubicBezTo>
                  <a:pt x="452" y="433"/>
                  <a:pt x="453" y="432"/>
                  <a:pt x="454" y="432"/>
                </a:cubicBezTo>
                <a:cubicBezTo>
                  <a:pt x="460" y="432"/>
                  <a:pt x="460" y="432"/>
                  <a:pt x="460" y="432"/>
                </a:cubicBezTo>
                <a:cubicBezTo>
                  <a:pt x="461" y="432"/>
                  <a:pt x="462" y="433"/>
                  <a:pt x="462" y="434"/>
                </a:cubicBezTo>
                <a:cubicBezTo>
                  <a:pt x="464" y="443"/>
                  <a:pt x="464" y="443"/>
                  <a:pt x="464" y="443"/>
                </a:cubicBezTo>
                <a:cubicBezTo>
                  <a:pt x="465" y="443"/>
                  <a:pt x="466" y="443"/>
                  <a:pt x="467" y="444"/>
                </a:cubicBezTo>
                <a:cubicBezTo>
                  <a:pt x="474" y="438"/>
                  <a:pt x="474" y="438"/>
                  <a:pt x="474" y="438"/>
                </a:cubicBezTo>
                <a:cubicBezTo>
                  <a:pt x="475" y="438"/>
                  <a:pt x="476" y="438"/>
                  <a:pt x="477" y="438"/>
                </a:cubicBezTo>
                <a:cubicBezTo>
                  <a:pt x="482" y="442"/>
                  <a:pt x="482" y="442"/>
                  <a:pt x="482" y="442"/>
                </a:cubicBezTo>
                <a:cubicBezTo>
                  <a:pt x="483" y="443"/>
                  <a:pt x="483" y="444"/>
                  <a:pt x="482" y="445"/>
                </a:cubicBezTo>
                <a:cubicBezTo>
                  <a:pt x="478" y="453"/>
                  <a:pt x="478" y="453"/>
                  <a:pt x="478" y="453"/>
                </a:cubicBezTo>
                <a:cubicBezTo>
                  <a:pt x="478" y="454"/>
                  <a:pt x="479" y="455"/>
                  <a:pt x="479" y="455"/>
                </a:cubicBezTo>
                <a:cubicBezTo>
                  <a:pt x="488" y="455"/>
                  <a:pt x="488" y="455"/>
                  <a:pt x="488" y="455"/>
                </a:cubicBezTo>
                <a:cubicBezTo>
                  <a:pt x="489" y="455"/>
                  <a:pt x="490" y="456"/>
                  <a:pt x="491" y="458"/>
                </a:cubicBezTo>
                <a:cubicBezTo>
                  <a:pt x="492" y="463"/>
                  <a:pt x="492" y="463"/>
                  <a:pt x="492" y="463"/>
                </a:cubicBezTo>
                <a:cubicBezTo>
                  <a:pt x="492" y="465"/>
                  <a:pt x="491" y="466"/>
                  <a:pt x="490" y="466"/>
                </a:cubicBezTo>
                <a:cubicBezTo>
                  <a:pt x="482" y="470"/>
                  <a:pt x="482" y="470"/>
                  <a:pt x="482" y="470"/>
                </a:cubicBezTo>
                <a:cubicBezTo>
                  <a:pt x="482" y="471"/>
                  <a:pt x="482" y="471"/>
                  <a:pt x="481" y="472"/>
                </a:cubicBezTo>
                <a:cubicBezTo>
                  <a:pt x="488" y="478"/>
                  <a:pt x="488" y="478"/>
                  <a:pt x="488" y="478"/>
                </a:cubicBezTo>
                <a:cubicBezTo>
                  <a:pt x="489" y="479"/>
                  <a:pt x="489" y="480"/>
                  <a:pt x="489" y="481"/>
                </a:cubicBezTo>
                <a:cubicBezTo>
                  <a:pt x="486" y="487"/>
                  <a:pt x="486" y="487"/>
                  <a:pt x="486" y="487"/>
                </a:cubicBezTo>
                <a:cubicBezTo>
                  <a:pt x="485" y="487"/>
                  <a:pt x="484" y="488"/>
                  <a:pt x="483" y="488"/>
                </a:cubicBezTo>
                <a:cubicBezTo>
                  <a:pt x="474" y="485"/>
                  <a:pt x="474" y="485"/>
                  <a:pt x="474" y="485"/>
                </a:cubicBezTo>
                <a:cubicBezTo>
                  <a:pt x="474" y="485"/>
                  <a:pt x="474" y="486"/>
                  <a:pt x="473" y="486"/>
                </a:cubicBezTo>
                <a:cubicBezTo>
                  <a:pt x="475" y="495"/>
                  <a:pt x="475" y="495"/>
                  <a:pt x="475" y="495"/>
                </a:cubicBezTo>
                <a:cubicBezTo>
                  <a:pt x="475" y="496"/>
                  <a:pt x="475" y="497"/>
                  <a:pt x="474" y="498"/>
                </a:cubicBezTo>
                <a:cubicBezTo>
                  <a:pt x="468" y="500"/>
                  <a:pt x="468" y="500"/>
                  <a:pt x="468" y="500"/>
                </a:cubicBezTo>
                <a:cubicBezTo>
                  <a:pt x="467" y="501"/>
                  <a:pt x="466" y="500"/>
                  <a:pt x="465" y="499"/>
                </a:cubicBezTo>
                <a:cubicBezTo>
                  <a:pt x="460" y="492"/>
                  <a:pt x="460" y="492"/>
                  <a:pt x="460" y="492"/>
                </a:cubicBezTo>
                <a:cubicBezTo>
                  <a:pt x="459" y="492"/>
                  <a:pt x="458" y="492"/>
                  <a:pt x="457" y="492"/>
                </a:cubicBezTo>
                <a:cubicBezTo>
                  <a:pt x="457" y="492"/>
                  <a:pt x="457" y="492"/>
                  <a:pt x="457" y="492"/>
                </a:cubicBezTo>
                <a:cubicBezTo>
                  <a:pt x="453" y="500"/>
                  <a:pt x="453" y="500"/>
                  <a:pt x="453" y="500"/>
                </a:cubicBezTo>
                <a:cubicBezTo>
                  <a:pt x="452" y="501"/>
                  <a:pt x="451" y="501"/>
                  <a:pt x="450" y="501"/>
                </a:cubicBezTo>
                <a:cubicBezTo>
                  <a:pt x="444" y="499"/>
                  <a:pt x="444" y="499"/>
                  <a:pt x="444" y="499"/>
                </a:cubicBezTo>
                <a:cubicBezTo>
                  <a:pt x="443" y="499"/>
                  <a:pt x="442" y="498"/>
                  <a:pt x="442" y="497"/>
                </a:cubicBezTo>
                <a:cubicBezTo>
                  <a:pt x="443" y="488"/>
                  <a:pt x="443" y="488"/>
                  <a:pt x="443" y="488"/>
                </a:cubicBezTo>
                <a:cubicBezTo>
                  <a:pt x="442" y="487"/>
                  <a:pt x="442" y="487"/>
                  <a:pt x="441" y="486"/>
                </a:cubicBezTo>
                <a:cubicBezTo>
                  <a:pt x="432" y="489"/>
                  <a:pt x="432" y="489"/>
                  <a:pt x="432" y="489"/>
                </a:cubicBezTo>
                <a:cubicBezTo>
                  <a:pt x="431" y="489"/>
                  <a:pt x="430" y="489"/>
                  <a:pt x="429" y="488"/>
                </a:cubicBezTo>
                <a:cubicBezTo>
                  <a:pt x="426" y="483"/>
                  <a:pt x="426" y="483"/>
                  <a:pt x="426" y="483"/>
                </a:cubicBezTo>
                <a:cubicBezTo>
                  <a:pt x="426" y="482"/>
                  <a:pt x="426" y="481"/>
                  <a:pt x="426" y="480"/>
                </a:cubicBezTo>
                <a:cubicBezTo>
                  <a:pt x="433" y="474"/>
                  <a:pt x="433" y="474"/>
                  <a:pt x="433" y="474"/>
                </a:cubicBezTo>
                <a:cubicBezTo>
                  <a:pt x="433" y="472"/>
                  <a:pt x="432" y="471"/>
                  <a:pt x="432" y="470"/>
                </a:cubicBezTo>
                <a:cubicBezTo>
                  <a:pt x="424" y="466"/>
                  <a:pt x="424" y="466"/>
                  <a:pt x="424" y="466"/>
                </a:cubicBezTo>
                <a:cubicBezTo>
                  <a:pt x="423" y="466"/>
                  <a:pt x="422" y="465"/>
                  <a:pt x="423" y="464"/>
                </a:cubicBezTo>
                <a:cubicBezTo>
                  <a:pt x="423" y="458"/>
                  <a:pt x="423" y="458"/>
                  <a:pt x="423" y="458"/>
                </a:cubicBezTo>
                <a:cubicBezTo>
                  <a:pt x="424" y="456"/>
                  <a:pt x="425" y="455"/>
                  <a:pt x="426" y="455"/>
                </a:cubicBezTo>
                <a:cubicBezTo>
                  <a:pt x="435" y="455"/>
                  <a:pt x="435" y="455"/>
                  <a:pt x="435" y="455"/>
                </a:cubicBezTo>
                <a:close/>
                <a:moveTo>
                  <a:pt x="444" y="467"/>
                </a:moveTo>
                <a:cubicBezTo>
                  <a:pt x="444" y="474"/>
                  <a:pt x="450" y="480"/>
                  <a:pt x="457" y="480"/>
                </a:cubicBezTo>
                <a:cubicBezTo>
                  <a:pt x="464" y="480"/>
                  <a:pt x="470" y="474"/>
                  <a:pt x="470" y="467"/>
                </a:cubicBezTo>
                <a:cubicBezTo>
                  <a:pt x="470" y="459"/>
                  <a:pt x="464" y="454"/>
                  <a:pt x="457" y="454"/>
                </a:cubicBezTo>
                <a:cubicBezTo>
                  <a:pt x="450" y="454"/>
                  <a:pt x="444" y="459"/>
                  <a:pt x="444" y="467"/>
                </a:cubicBezTo>
                <a:close/>
                <a:moveTo>
                  <a:pt x="577" y="455"/>
                </a:moveTo>
                <a:cubicBezTo>
                  <a:pt x="577" y="455"/>
                  <a:pt x="577" y="454"/>
                  <a:pt x="578" y="453"/>
                </a:cubicBezTo>
                <a:cubicBezTo>
                  <a:pt x="573" y="445"/>
                  <a:pt x="573" y="445"/>
                  <a:pt x="573" y="445"/>
                </a:cubicBezTo>
                <a:cubicBezTo>
                  <a:pt x="573" y="444"/>
                  <a:pt x="573" y="443"/>
                  <a:pt x="574" y="442"/>
                </a:cubicBezTo>
                <a:cubicBezTo>
                  <a:pt x="579" y="438"/>
                  <a:pt x="579" y="438"/>
                  <a:pt x="579" y="438"/>
                </a:cubicBezTo>
                <a:cubicBezTo>
                  <a:pt x="580" y="438"/>
                  <a:pt x="581" y="438"/>
                  <a:pt x="582" y="438"/>
                </a:cubicBezTo>
                <a:cubicBezTo>
                  <a:pt x="589" y="444"/>
                  <a:pt x="589" y="444"/>
                  <a:pt x="589" y="444"/>
                </a:cubicBezTo>
                <a:cubicBezTo>
                  <a:pt x="590" y="443"/>
                  <a:pt x="591" y="443"/>
                  <a:pt x="592" y="443"/>
                </a:cubicBezTo>
                <a:cubicBezTo>
                  <a:pt x="593" y="434"/>
                  <a:pt x="593" y="434"/>
                  <a:pt x="593" y="434"/>
                </a:cubicBezTo>
                <a:cubicBezTo>
                  <a:pt x="594" y="433"/>
                  <a:pt x="595" y="432"/>
                  <a:pt x="596" y="432"/>
                </a:cubicBezTo>
                <a:cubicBezTo>
                  <a:pt x="602" y="432"/>
                  <a:pt x="602" y="432"/>
                  <a:pt x="602" y="432"/>
                </a:cubicBezTo>
                <a:cubicBezTo>
                  <a:pt x="603" y="432"/>
                  <a:pt x="604" y="433"/>
                  <a:pt x="604" y="434"/>
                </a:cubicBezTo>
                <a:cubicBezTo>
                  <a:pt x="606" y="443"/>
                  <a:pt x="606" y="443"/>
                  <a:pt x="606" y="443"/>
                </a:cubicBezTo>
                <a:cubicBezTo>
                  <a:pt x="607" y="443"/>
                  <a:pt x="608" y="443"/>
                  <a:pt x="609" y="444"/>
                </a:cubicBezTo>
                <a:cubicBezTo>
                  <a:pt x="616" y="438"/>
                  <a:pt x="616" y="438"/>
                  <a:pt x="616" y="438"/>
                </a:cubicBezTo>
                <a:cubicBezTo>
                  <a:pt x="616" y="438"/>
                  <a:pt x="618" y="438"/>
                  <a:pt x="619" y="438"/>
                </a:cubicBezTo>
                <a:cubicBezTo>
                  <a:pt x="623" y="442"/>
                  <a:pt x="623" y="442"/>
                  <a:pt x="623" y="442"/>
                </a:cubicBezTo>
                <a:cubicBezTo>
                  <a:pt x="624" y="443"/>
                  <a:pt x="625" y="444"/>
                  <a:pt x="624" y="445"/>
                </a:cubicBezTo>
                <a:cubicBezTo>
                  <a:pt x="620" y="453"/>
                  <a:pt x="620" y="453"/>
                  <a:pt x="620" y="453"/>
                </a:cubicBezTo>
                <a:cubicBezTo>
                  <a:pt x="620" y="454"/>
                  <a:pt x="621" y="455"/>
                  <a:pt x="621" y="455"/>
                </a:cubicBezTo>
                <a:cubicBezTo>
                  <a:pt x="630" y="455"/>
                  <a:pt x="630" y="455"/>
                  <a:pt x="630" y="455"/>
                </a:cubicBezTo>
                <a:cubicBezTo>
                  <a:pt x="631" y="455"/>
                  <a:pt x="632" y="456"/>
                  <a:pt x="632" y="458"/>
                </a:cubicBezTo>
                <a:cubicBezTo>
                  <a:pt x="634" y="463"/>
                  <a:pt x="634" y="463"/>
                  <a:pt x="634" y="463"/>
                </a:cubicBezTo>
                <a:cubicBezTo>
                  <a:pt x="634" y="465"/>
                  <a:pt x="633" y="466"/>
                  <a:pt x="632" y="466"/>
                </a:cubicBezTo>
                <a:cubicBezTo>
                  <a:pt x="624" y="470"/>
                  <a:pt x="624" y="470"/>
                  <a:pt x="624" y="470"/>
                </a:cubicBezTo>
                <a:cubicBezTo>
                  <a:pt x="623" y="471"/>
                  <a:pt x="623" y="471"/>
                  <a:pt x="623" y="472"/>
                </a:cubicBezTo>
                <a:cubicBezTo>
                  <a:pt x="630" y="478"/>
                  <a:pt x="630" y="478"/>
                  <a:pt x="630" y="478"/>
                </a:cubicBezTo>
                <a:cubicBezTo>
                  <a:pt x="631" y="479"/>
                  <a:pt x="631" y="480"/>
                  <a:pt x="631" y="481"/>
                </a:cubicBezTo>
                <a:cubicBezTo>
                  <a:pt x="628" y="487"/>
                  <a:pt x="628" y="487"/>
                  <a:pt x="628" y="487"/>
                </a:cubicBezTo>
                <a:cubicBezTo>
                  <a:pt x="627" y="487"/>
                  <a:pt x="626" y="488"/>
                  <a:pt x="625" y="488"/>
                </a:cubicBezTo>
                <a:cubicBezTo>
                  <a:pt x="616" y="485"/>
                  <a:pt x="616" y="485"/>
                  <a:pt x="616" y="485"/>
                </a:cubicBezTo>
                <a:cubicBezTo>
                  <a:pt x="616" y="485"/>
                  <a:pt x="615" y="486"/>
                  <a:pt x="615" y="486"/>
                </a:cubicBezTo>
                <a:cubicBezTo>
                  <a:pt x="617" y="495"/>
                  <a:pt x="617" y="495"/>
                  <a:pt x="617" y="495"/>
                </a:cubicBezTo>
                <a:cubicBezTo>
                  <a:pt x="617" y="496"/>
                  <a:pt x="616" y="497"/>
                  <a:pt x="615" y="498"/>
                </a:cubicBezTo>
                <a:cubicBezTo>
                  <a:pt x="610" y="500"/>
                  <a:pt x="610" y="500"/>
                  <a:pt x="610" y="500"/>
                </a:cubicBezTo>
                <a:cubicBezTo>
                  <a:pt x="609" y="501"/>
                  <a:pt x="608" y="500"/>
                  <a:pt x="607" y="499"/>
                </a:cubicBezTo>
                <a:cubicBezTo>
                  <a:pt x="602" y="492"/>
                  <a:pt x="602" y="492"/>
                  <a:pt x="602" y="492"/>
                </a:cubicBezTo>
                <a:cubicBezTo>
                  <a:pt x="601" y="492"/>
                  <a:pt x="600" y="492"/>
                  <a:pt x="599" y="492"/>
                </a:cubicBezTo>
                <a:cubicBezTo>
                  <a:pt x="599" y="492"/>
                  <a:pt x="599" y="492"/>
                  <a:pt x="599" y="492"/>
                </a:cubicBezTo>
                <a:cubicBezTo>
                  <a:pt x="594" y="500"/>
                  <a:pt x="594" y="500"/>
                  <a:pt x="594" y="500"/>
                </a:cubicBezTo>
                <a:cubicBezTo>
                  <a:pt x="594" y="501"/>
                  <a:pt x="593" y="501"/>
                  <a:pt x="592" y="501"/>
                </a:cubicBezTo>
                <a:cubicBezTo>
                  <a:pt x="585" y="499"/>
                  <a:pt x="585" y="499"/>
                  <a:pt x="585" y="499"/>
                </a:cubicBezTo>
                <a:cubicBezTo>
                  <a:pt x="585" y="499"/>
                  <a:pt x="584" y="498"/>
                  <a:pt x="584" y="497"/>
                </a:cubicBezTo>
                <a:cubicBezTo>
                  <a:pt x="585" y="488"/>
                  <a:pt x="585" y="488"/>
                  <a:pt x="585" y="488"/>
                </a:cubicBezTo>
                <a:cubicBezTo>
                  <a:pt x="584" y="487"/>
                  <a:pt x="583" y="487"/>
                  <a:pt x="582" y="486"/>
                </a:cubicBezTo>
                <a:cubicBezTo>
                  <a:pt x="574" y="489"/>
                  <a:pt x="574" y="489"/>
                  <a:pt x="574" y="489"/>
                </a:cubicBezTo>
                <a:cubicBezTo>
                  <a:pt x="573" y="489"/>
                  <a:pt x="572" y="489"/>
                  <a:pt x="571" y="488"/>
                </a:cubicBezTo>
                <a:cubicBezTo>
                  <a:pt x="568" y="483"/>
                  <a:pt x="568" y="483"/>
                  <a:pt x="568" y="483"/>
                </a:cubicBezTo>
                <a:cubicBezTo>
                  <a:pt x="567" y="482"/>
                  <a:pt x="567" y="481"/>
                  <a:pt x="568" y="480"/>
                </a:cubicBezTo>
                <a:cubicBezTo>
                  <a:pt x="575" y="474"/>
                  <a:pt x="575" y="474"/>
                  <a:pt x="575" y="474"/>
                </a:cubicBezTo>
                <a:cubicBezTo>
                  <a:pt x="574" y="472"/>
                  <a:pt x="574" y="471"/>
                  <a:pt x="574" y="470"/>
                </a:cubicBezTo>
                <a:cubicBezTo>
                  <a:pt x="566" y="466"/>
                  <a:pt x="566" y="466"/>
                  <a:pt x="566" y="466"/>
                </a:cubicBezTo>
                <a:cubicBezTo>
                  <a:pt x="565" y="466"/>
                  <a:pt x="564" y="465"/>
                  <a:pt x="564" y="464"/>
                </a:cubicBezTo>
                <a:cubicBezTo>
                  <a:pt x="565" y="458"/>
                  <a:pt x="565" y="458"/>
                  <a:pt x="565" y="458"/>
                </a:cubicBezTo>
                <a:cubicBezTo>
                  <a:pt x="566" y="456"/>
                  <a:pt x="566" y="455"/>
                  <a:pt x="568" y="455"/>
                </a:cubicBezTo>
                <a:cubicBezTo>
                  <a:pt x="577" y="455"/>
                  <a:pt x="577" y="455"/>
                  <a:pt x="577" y="455"/>
                </a:cubicBezTo>
                <a:close/>
                <a:moveTo>
                  <a:pt x="585" y="467"/>
                </a:moveTo>
                <a:cubicBezTo>
                  <a:pt x="585" y="474"/>
                  <a:pt x="592" y="480"/>
                  <a:pt x="599" y="480"/>
                </a:cubicBezTo>
                <a:cubicBezTo>
                  <a:pt x="606" y="480"/>
                  <a:pt x="612" y="474"/>
                  <a:pt x="612" y="467"/>
                </a:cubicBezTo>
                <a:cubicBezTo>
                  <a:pt x="612" y="459"/>
                  <a:pt x="606" y="454"/>
                  <a:pt x="599" y="454"/>
                </a:cubicBezTo>
                <a:cubicBezTo>
                  <a:pt x="592" y="454"/>
                  <a:pt x="585" y="459"/>
                  <a:pt x="585" y="467"/>
                </a:cubicBezTo>
                <a:close/>
                <a:moveTo>
                  <a:pt x="68" y="875"/>
                </a:moveTo>
                <a:cubicBezTo>
                  <a:pt x="64" y="875"/>
                  <a:pt x="62" y="877"/>
                  <a:pt x="62" y="880"/>
                </a:cubicBezTo>
                <a:cubicBezTo>
                  <a:pt x="62" y="883"/>
                  <a:pt x="64" y="886"/>
                  <a:pt x="68" y="886"/>
                </a:cubicBezTo>
                <a:cubicBezTo>
                  <a:pt x="71" y="886"/>
                  <a:pt x="73" y="883"/>
                  <a:pt x="73" y="880"/>
                </a:cubicBezTo>
                <a:cubicBezTo>
                  <a:pt x="73" y="877"/>
                  <a:pt x="71" y="875"/>
                  <a:pt x="68" y="875"/>
                </a:cubicBezTo>
                <a:close/>
                <a:moveTo>
                  <a:pt x="457" y="473"/>
                </a:moveTo>
                <a:cubicBezTo>
                  <a:pt x="460" y="473"/>
                  <a:pt x="463" y="470"/>
                  <a:pt x="463" y="467"/>
                </a:cubicBezTo>
                <a:cubicBezTo>
                  <a:pt x="463" y="464"/>
                  <a:pt x="460" y="461"/>
                  <a:pt x="457" y="461"/>
                </a:cubicBezTo>
                <a:cubicBezTo>
                  <a:pt x="454" y="461"/>
                  <a:pt x="451" y="464"/>
                  <a:pt x="451" y="467"/>
                </a:cubicBezTo>
                <a:cubicBezTo>
                  <a:pt x="451" y="470"/>
                  <a:pt x="454" y="473"/>
                  <a:pt x="457" y="473"/>
                </a:cubicBezTo>
                <a:close/>
                <a:moveTo>
                  <a:pt x="610" y="7"/>
                </a:moveTo>
                <a:cubicBezTo>
                  <a:pt x="610" y="7"/>
                  <a:pt x="610" y="7"/>
                  <a:pt x="618" y="4"/>
                </a:cubicBezTo>
                <a:cubicBezTo>
                  <a:pt x="619" y="4"/>
                  <a:pt x="620" y="5"/>
                  <a:pt x="621" y="5"/>
                </a:cubicBezTo>
                <a:cubicBezTo>
                  <a:pt x="621" y="5"/>
                  <a:pt x="621" y="5"/>
                  <a:pt x="620" y="14"/>
                </a:cubicBezTo>
                <a:cubicBezTo>
                  <a:pt x="620" y="16"/>
                  <a:pt x="621" y="17"/>
                  <a:pt x="621" y="17"/>
                </a:cubicBezTo>
                <a:cubicBezTo>
                  <a:pt x="621" y="17"/>
                  <a:pt x="621" y="17"/>
                  <a:pt x="628" y="19"/>
                </a:cubicBezTo>
                <a:cubicBezTo>
                  <a:pt x="629" y="19"/>
                  <a:pt x="630" y="19"/>
                  <a:pt x="630" y="18"/>
                </a:cubicBezTo>
                <a:cubicBezTo>
                  <a:pt x="630" y="18"/>
                  <a:pt x="630" y="18"/>
                  <a:pt x="635" y="10"/>
                </a:cubicBezTo>
                <a:cubicBezTo>
                  <a:pt x="635" y="10"/>
                  <a:pt x="635" y="10"/>
                  <a:pt x="635" y="10"/>
                </a:cubicBezTo>
                <a:cubicBezTo>
                  <a:pt x="636" y="10"/>
                  <a:pt x="637" y="10"/>
                  <a:pt x="638" y="9"/>
                </a:cubicBezTo>
                <a:cubicBezTo>
                  <a:pt x="638" y="9"/>
                  <a:pt x="638" y="9"/>
                  <a:pt x="643" y="17"/>
                </a:cubicBezTo>
                <a:cubicBezTo>
                  <a:pt x="644" y="18"/>
                  <a:pt x="645" y="18"/>
                  <a:pt x="646" y="18"/>
                </a:cubicBezTo>
                <a:cubicBezTo>
                  <a:pt x="646" y="18"/>
                  <a:pt x="646" y="18"/>
                  <a:pt x="649" y="16"/>
                </a:cubicBezTo>
                <a:cubicBezTo>
                  <a:pt x="649" y="0"/>
                  <a:pt x="649" y="0"/>
                  <a:pt x="649" y="0"/>
                </a:cubicBezTo>
                <a:cubicBezTo>
                  <a:pt x="634" y="0"/>
                  <a:pt x="619" y="1"/>
                  <a:pt x="604" y="2"/>
                </a:cubicBezTo>
                <a:cubicBezTo>
                  <a:pt x="605" y="2"/>
                  <a:pt x="606" y="4"/>
                  <a:pt x="607" y="6"/>
                </a:cubicBezTo>
                <a:cubicBezTo>
                  <a:pt x="608" y="7"/>
                  <a:pt x="609" y="7"/>
                  <a:pt x="610" y="7"/>
                </a:cubicBezTo>
                <a:close/>
                <a:moveTo>
                  <a:pt x="400" y="318"/>
                </a:moveTo>
                <a:cubicBezTo>
                  <a:pt x="400" y="317"/>
                  <a:pt x="401" y="316"/>
                  <a:pt x="401" y="315"/>
                </a:cubicBezTo>
                <a:cubicBezTo>
                  <a:pt x="397" y="307"/>
                  <a:pt x="397" y="307"/>
                  <a:pt x="397" y="307"/>
                </a:cubicBezTo>
                <a:cubicBezTo>
                  <a:pt x="396" y="307"/>
                  <a:pt x="397" y="305"/>
                  <a:pt x="397" y="304"/>
                </a:cubicBezTo>
                <a:cubicBezTo>
                  <a:pt x="402" y="300"/>
                  <a:pt x="402" y="300"/>
                  <a:pt x="402" y="300"/>
                </a:cubicBezTo>
                <a:cubicBezTo>
                  <a:pt x="403" y="300"/>
                  <a:pt x="404" y="300"/>
                  <a:pt x="405" y="300"/>
                </a:cubicBezTo>
                <a:cubicBezTo>
                  <a:pt x="412" y="306"/>
                  <a:pt x="412" y="306"/>
                  <a:pt x="412" y="306"/>
                </a:cubicBezTo>
                <a:cubicBezTo>
                  <a:pt x="413" y="306"/>
                  <a:pt x="414" y="305"/>
                  <a:pt x="415" y="305"/>
                </a:cubicBezTo>
                <a:cubicBezTo>
                  <a:pt x="417" y="296"/>
                  <a:pt x="417" y="296"/>
                  <a:pt x="417" y="296"/>
                </a:cubicBezTo>
                <a:cubicBezTo>
                  <a:pt x="417" y="295"/>
                  <a:pt x="418" y="294"/>
                  <a:pt x="419" y="294"/>
                </a:cubicBezTo>
                <a:cubicBezTo>
                  <a:pt x="425" y="294"/>
                  <a:pt x="425" y="294"/>
                  <a:pt x="425" y="294"/>
                </a:cubicBezTo>
                <a:cubicBezTo>
                  <a:pt x="426" y="294"/>
                  <a:pt x="427" y="295"/>
                  <a:pt x="427" y="296"/>
                </a:cubicBezTo>
                <a:cubicBezTo>
                  <a:pt x="429" y="305"/>
                  <a:pt x="429" y="305"/>
                  <a:pt x="429" y="305"/>
                </a:cubicBezTo>
                <a:cubicBezTo>
                  <a:pt x="430" y="305"/>
                  <a:pt x="431" y="306"/>
                  <a:pt x="432" y="306"/>
                </a:cubicBezTo>
                <a:cubicBezTo>
                  <a:pt x="439" y="300"/>
                  <a:pt x="439" y="300"/>
                  <a:pt x="439" y="300"/>
                </a:cubicBezTo>
                <a:cubicBezTo>
                  <a:pt x="440" y="300"/>
                  <a:pt x="441" y="300"/>
                  <a:pt x="442" y="300"/>
                </a:cubicBezTo>
                <a:cubicBezTo>
                  <a:pt x="447" y="304"/>
                  <a:pt x="447" y="304"/>
                  <a:pt x="447" y="304"/>
                </a:cubicBezTo>
                <a:cubicBezTo>
                  <a:pt x="448" y="305"/>
                  <a:pt x="448" y="307"/>
                  <a:pt x="447" y="307"/>
                </a:cubicBezTo>
                <a:cubicBezTo>
                  <a:pt x="443" y="315"/>
                  <a:pt x="443" y="315"/>
                  <a:pt x="443" y="315"/>
                </a:cubicBezTo>
                <a:cubicBezTo>
                  <a:pt x="443" y="316"/>
                  <a:pt x="444" y="317"/>
                  <a:pt x="444" y="318"/>
                </a:cubicBezTo>
                <a:cubicBezTo>
                  <a:pt x="454" y="318"/>
                  <a:pt x="454" y="318"/>
                  <a:pt x="454" y="318"/>
                </a:cubicBezTo>
                <a:cubicBezTo>
                  <a:pt x="454" y="318"/>
                  <a:pt x="455" y="319"/>
                  <a:pt x="456" y="320"/>
                </a:cubicBezTo>
                <a:cubicBezTo>
                  <a:pt x="457" y="326"/>
                  <a:pt x="457" y="326"/>
                  <a:pt x="457" y="326"/>
                </a:cubicBezTo>
                <a:cubicBezTo>
                  <a:pt x="457" y="327"/>
                  <a:pt x="456" y="328"/>
                  <a:pt x="455" y="328"/>
                </a:cubicBezTo>
                <a:cubicBezTo>
                  <a:pt x="447" y="332"/>
                  <a:pt x="447" y="332"/>
                  <a:pt x="447" y="332"/>
                </a:cubicBezTo>
                <a:cubicBezTo>
                  <a:pt x="447" y="333"/>
                  <a:pt x="447" y="334"/>
                  <a:pt x="446" y="335"/>
                </a:cubicBezTo>
                <a:cubicBezTo>
                  <a:pt x="454" y="340"/>
                  <a:pt x="454" y="340"/>
                  <a:pt x="454" y="340"/>
                </a:cubicBezTo>
                <a:cubicBezTo>
                  <a:pt x="454" y="341"/>
                  <a:pt x="454" y="342"/>
                  <a:pt x="454" y="343"/>
                </a:cubicBezTo>
                <a:cubicBezTo>
                  <a:pt x="451" y="349"/>
                  <a:pt x="451" y="349"/>
                  <a:pt x="451" y="349"/>
                </a:cubicBezTo>
                <a:cubicBezTo>
                  <a:pt x="450" y="350"/>
                  <a:pt x="449" y="350"/>
                  <a:pt x="448" y="350"/>
                </a:cubicBezTo>
                <a:cubicBezTo>
                  <a:pt x="439" y="347"/>
                  <a:pt x="439" y="347"/>
                  <a:pt x="439" y="347"/>
                </a:cubicBezTo>
                <a:cubicBezTo>
                  <a:pt x="439" y="347"/>
                  <a:pt x="439" y="348"/>
                  <a:pt x="438" y="348"/>
                </a:cubicBezTo>
                <a:cubicBezTo>
                  <a:pt x="440" y="357"/>
                  <a:pt x="440" y="357"/>
                  <a:pt x="440" y="357"/>
                </a:cubicBezTo>
                <a:cubicBezTo>
                  <a:pt x="440" y="358"/>
                  <a:pt x="440" y="359"/>
                  <a:pt x="439" y="360"/>
                </a:cubicBezTo>
                <a:cubicBezTo>
                  <a:pt x="433" y="362"/>
                  <a:pt x="433" y="362"/>
                  <a:pt x="433" y="362"/>
                </a:cubicBezTo>
                <a:cubicBezTo>
                  <a:pt x="432" y="363"/>
                  <a:pt x="431" y="362"/>
                  <a:pt x="430" y="362"/>
                </a:cubicBezTo>
                <a:cubicBezTo>
                  <a:pt x="425" y="354"/>
                  <a:pt x="425" y="354"/>
                  <a:pt x="425" y="354"/>
                </a:cubicBezTo>
                <a:cubicBezTo>
                  <a:pt x="424" y="354"/>
                  <a:pt x="423" y="354"/>
                  <a:pt x="422" y="354"/>
                </a:cubicBezTo>
                <a:cubicBezTo>
                  <a:pt x="422" y="354"/>
                  <a:pt x="422" y="354"/>
                  <a:pt x="422" y="354"/>
                </a:cubicBezTo>
                <a:cubicBezTo>
                  <a:pt x="418" y="362"/>
                  <a:pt x="418" y="362"/>
                  <a:pt x="418" y="362"/>
                </a:cubicBezTo>
                <a:cubicBezTo>
                  <a:pt x="417" y="363"/>
                  <a:pt x="416" y="363"/>
                  <a:pt x="415" y="363"/>
                </a:cubicBezTo>
                <a:cubicBezTo>
                  <a:pt x="409" y="361"/>
                  <a:pt x="409" y="361"/>
                  <a:pt x="409" y="361"/>
                </a:cubicBezTo>
                <a:cubicBezTo>
                  <a:pt x="408" y="361"/>
                  <a:pt x="407" y="360"/>
                  <a:pt x="407" y="359"/>
                </a:cubicBezTo>
                <a:cubicBezTo>
                  <a:pt x="408" y="350"/>
                  <a:pt x="408" y="350"/>
                  <a:pt x="408" y="350"/>
                </a:cubicBezTo>
                <a:cubicBezTo>
                  <a:pt x="407" y="349"/>
                  <a:pt x="407" y="349"/>
                  <a:pt x="406" y="348"/>
                </a:cubicBezTo>
                <a:cubicBezTo>
                  <a:pt x="397" y="351"/>
                  <a:pt x="397" y="351"/>
                  <a:pt x="397" y="351"/>
                </a:cubicBezTo>
                <a:cubicBezTo>
                  <a:pt x="396" y="351"/>
                  <a:pt x="395" y="351"/>
                  <a:pt x="394" y="350"/>
                </a:cubicBezTo>
                <a:cubicBezTo>
                  <a:pt x="391" y="345"/>
                  <a:pt x="391" y="345"/>
                  <a:pt x="391" y="345"/>
                </a:cubicBezTo>
                <a:cubicBezTo>
                  <a:pt x="391" y="344"/>
                  <a:pt x="391" y="343"/>
                  <a:pt x="392" y="342"/>
                </a:cubicBezTo>
                <a:cubicBezTo>
                  <a:pt x="398" y="336"/>
                  <a:pt x="398" y="336"/>
                  <a:pt x="398" y="336"/>
                </a:cubicBezTo>
                <a:cubicBezTo>
                  <a:pt x="398" y="335"/>
                  <a:pt x="397" y="333"/>
                  <a:pt x="397" y="332"/>
                </a:cubicBezTo>
                <a:cubicBezTo>
                  <a:pt x="389" y="328"/>
                  <a:pt x="389" y="328"/>
                  <a:pt x="389" y="328"/>
                </a:cubicBezTo>
                <a:cubicBezTo>
                  <a:pt x="388" y="328"/>
                  <a:pt x="387" y="327"/>
                  <a:pt x="388" y="326"/>
                </a:cubicBezTo>
                <a:cubicBezTo>
                  <a:pt x="389" y="320"/>
                  <a:pt x="389" y="320"/>
                  <a:pt x="389" y="320"/>
                </a:cubicBezTo>
                <a:cubicBezTo>
                  <a:pt x="389" y="319"/>
                  <a:pt x="390" y="318"/>
                  <a:pt x="391" y="318"/>
                </a:cubicBezTo>
                <a:cubicBezTo>
                  <a:pt x="400" y="318"/>
                  <a:pt x="400" y="318"/>
                  <a:pt x="400" y="318"/>
                </a:cubicBezTo>
                <a:close/>
                <a:moveTo>
                  <a:pt x="409" y="329"/>
                </a:moveTo>
                <a:cubicBezTo>
                  <a:pt x="409" y="336"/>
                  <a:pt x="415" y="342"/>
                  <a:pt x="422" y="342"/>
                </a:cubicBezTo>
                <a:cubicBezTo>
                  <a:pt x="429" y="342"/>
                  <a:pt x="435" y="336"/>
                  <a:pt x="435" y="329"/>
                </a:cubicBezTo>
                <a:cubicBezTo>
                  <a:pt x="435" y="322"/>
                  <a:pt x="429" y="316"/>
                  <a:pt x="422" y="316"/>
                </a:cubicBezTo>
                <a:cubicBezTo>
                  <a:pt x="415" y="316"/>
                  <a:pt x="409" y="322"/>
                  <a:pt x="409" y="329"/>
                </a:cubicBezTo>
                <a:close/>
                <a:moveTo>
                  <a:pt x="599" y="473"/>
                </a:moveTo>
                <a:cubicBezTo>
                  <a:pt x="602" y="473"/>
                  <a:pt x="604" y="470"/>
                  <a:pt x="604" y="467"/>
                </a:cubicBezTo>
                <a:cubicBezTo>
                  <a:pt x="604" y="464"/>
                  <a:pt x="602" y="461"/>
                  <a:pt x="599" y="461"/>
                </a:cubicBezTo>
                <a:cubicBezTo>
                  <a:pt x="596" y="461"/>
                  <a:pt x="593" y="464"/>
                  <a:pt x="593" y="467"/>
                </a:cubicBezTo>
                <a:cubicBezTo>
                  <a:pt x="593" y="470"/>
                  <a:pt x="596" y="473"/>
                  <a:pt x="599" y="473"/>
                </a:cubicBezTo>
                <a:close/>
                <a:moveTo>
                  <a:pt x="506" y="455"/>
                </a:moveTo>
                <a:cubicBezTo>
                  <a:pt x="506" y="455"/>
                  <a:pt x="507" y="454"/>
                  <a:pt x="507" y="453"/>
                </a:cubicBezTo>
                <a:cubicBezTo>
                  <a:pt x="503" y="445"/>
                  <a:pt x="503" y="445"/>
                  <a:pt x="503" y="445"/>
                </a:cubicBezTo>
                <a:cubicBezTo>
                  <a:pt x="502" y="444"/>
                  <a:pt x="502" y="443"/>
                  <a:pt x="503" y="442"/>
                </a:cubicBezTo>
                <a:cubicBezTo>
                  <a:pt x="508" y="438"/>
                  <a:pt x="508" y="438"/>
                  <a:pt x="508" y="438"/>
                </a:cubicBezTo>
                <a:cubicBezTo>
                  <a:pt x="509" y="438"/>
                  <a:pt x="510" y="438"/>
                  <a:pt x="511" y="438"/>
                </a:cubicBezTo>
                <a:cubicBezTo>
                  <a:pt x="518" y="444"/>
                  <a:pt x="518" y="444"/>
                  <a:pt x="518" y="444"/>
                </a:cubicBezTo>
                <a:cubicBezTo>
                  <a:pt x="519" y="443"/>
                  <a:pt x="520" y="443"/>
                  <a:pt x="521" y="443"/>
                </a:cubicBezTo>
                <a:cubicBezTo>
                  <a:pt x="523" y="434"/>
                  <a:pt x="523" y="434"/>
                  <a:pt x="523" y="434"/>
                </a:cubicBezTo>
                <a:cubicBezTo>
                  <a:pt x="523" y="433"/>
                  <a:pt x="524" y="432"/>
                  <a:pt x="525" y="432"/>
                </a:cubicBezTo>
                <a:cubicBezTo>
                  <a:pt x="531" y="432"/>
                  <a:pt x="531" y="432"/>
                  <a:pt x="531" y="432"/>
                </a:cubicBezTo>
                <a:cubicBezTo>
                  <a:pt x="532" y="432"/>
                  <a:pt x="533" y="433"/>
                  <a:pt x="533" y="434"/>
                </a:cubicBezTo>
                <a:cubicBezTo>
                  <a:pt x="535" y="443"/>
                  <a:pt x="535" y="443"/>
                  <a:pt x="535" y="443"/>
                </a:cubicBezTo>
                <a:cubicBezTo>
                  <a:pt x="536" y="443"/>
                  <a:pt x="537" y="443"/>
                  <a:pt x="538" y="444"/>
                </a:cubicBezTo>
                <a:cubicBezTo>
                  <a:pt x="545" y="438"/>
                  <a:pt x="545" y="438"/>
                  <a:pt x="545" y="438"/>
                </a:cubicBezTo>
                <a:cubicBezTo>
                  <a:pt x="546" y="438"/>
                  <a:pt x="547" y="438"/>
                  <a:pt x="548" y="438"/>
                </a:cubicBezTo>
                <a:cubicBezTo>
                  <a:pt x="553" y="442"/>
                  <a:pt x="553" y="442"/>
                  <a:pt x="553" y="442"/>
                </a:cubicBezTo>
                <a:cubicBezTo>
                  <a:pt x="553" y="443"/>
                  <a:pt x="554" y="444"/>
                  <a:pt x="553" y="445"/>
                </a:cubicBezTo>
                <a:cubicBezTo>
                  <a:pt x="549" y="453"/>
                  <a:pt x="549" y="453"/>
                  <a:pt x="549" y="453"/>
                </a:cubicBezTo>
                <a:cubicBezTo>
                  <a:pt x="549" y="454"/>
                  <a:pt x="550" y="455"/>
                  <a:pt x="550" y="455"/>
                </a:cubicBezTo>
                <a:cubicBezTo>
                  <a:pt x="559" y="455"/>
                  <a:pt x="559" y="455"/>
                  <a:pt x="559" y="455"/>
                </a:cubicBezTo>
                <a:cubicBezTo>
                  <a:pt x="560" y="455"/>
                  <a:pt x="561" y="456"/>
                  <a:pt x="561" y="458"/>
                </a:cubicBezTo>
                <a:cubicBezTo>
                  <a:pt x="563" y="463"/>
                  <a:pt x="563" y="463"/>
                  <a:pt x="563" y="463"/>
                </a:cubicBezTo>
                <a:cubicBezTo>
                  <a:pt x="563" y="465"/>
                  <a:pt x="562" y="466"/>
                  <a:pt x="561" y="466"/>
                </a:cubicBezTo>
                <a:cubicBezTo>
                  <a:pt x="553" y="470"/>
                  <a:pt x="553" y="470"/>
                  <a:pt x="553" y="470"/>
                </a:cubicBezTo>
                <a:cubicBezTo>
                  <a:pt x="553" y="471"/>
                  <a:pt x="553" y="471"/>
                  <a:pt x="552" y="472"/>
                </a:cubicBezTo>
                <a:cubicBezTo>
                  <a:pt x="559" y="478"/>
                  <a:pt x="559" y="478"/>
                  <a:pt x="559" y="478"/>
                </a:cubicBezTo>
                <a:cubicBezTo>
                  <a:pt x="560" y="479"/>
                  <a:pt x="560" y="480"/>
                  <a:pt x="560" y="481"/>
                </a:cubicBezTo>
                <a:cubicBezTo>
                  <a:pt x="557" y="487"/>
                  <a:pt x="557" y="487"/>
                  <a:pt x="557" y="487"/>
                </a:cubicBezTo>
                <a:cubicBezTo>
                  <a:pt x="556" y="487"/>
                  <a:pt x="555" y="488"/>
                  <a:pt x="554" y="488"/>
                </a:cubicBezTo>
                <a:cubicBezTo>
                  <a:pt x="545" y="485"/>
                  <a:pt x="545" y="485"/>
                  <a:pt x="545" y="485"/>
                </a:cubicBezTo>
                <a:cubicBezTo>
                  <a:pt x="545" y="485"/>
                  <a:pt x="545" y="486"/>
                  <a:pt x="544" y="486"/>
                </a:cubicBezTo>
                <a:cubicBezTo>
                  <a:pt x="546" y="495"/>
                  <a:pt x="546" y="495"/>
                  <a:pt x="546" y="495"/>
                </a:cubicBezTo>
                <a:cubicBezTo>
                  <a:pt x="546" y="496"/>
                  <a:pt x="546" y="497"/>
                  <a:pt x="545" y="498"/>
                </a:cubicBezTo>
                <a:cubicBezTo>
                  <a:pt x="539" y="500"/>
                  <a:pt x="539" y="500"/>
                  <a:pt x="539" y="500"/>
                </a:cubicBezTo>
                <a:cubicBezTo>
                  <a:pt x="538" y="501"/>
                  <a:pt x="537" y="500"/>
                  <a:pt x="536" y="499"/>
                </a:cubicBezTo>
                <a:cubicBezTo>
                  <a:pt x="531" y="492"/>
                  <a:pt x="531" y="492"/>
                  <a:pt x="531" y="492"/>
                </a:cubicBezTo>
                <a:cubicBezTo>
                  <a:pt x="530" y="492"/>
                  <a:pt x="529" y="492"/>
                  <a:pt x="528" y="492"/>
                </a:cubicBezTo>
                <a:cubicBezTo>
                  <a:pt x="528" y="492"/>
                  <a:pt x="528" y="492"/>
                  <a:pt x="528" y="492"/>
                </a:cubicBezTo>
                <a:cubicBezTo>
                  <a:pt x="523" y="500"/>
                  <a:pt x="523" y="500"/>
                  <a:pt x="523" y="500"/>
                </a:cubicBezTo>
                <a:cubicBezTo>
                  <a:pt x="523" y="501"/>
                  <a:pt x="522" y="501"/>
                  <a:pt x="521" y="501"/>
                </a:cubicBezTo>
                <a:cubicBezTo>
                  <a:pt x="515" y="499"/>
                  <a:pt x="515" y="499"/>
                  <a:pt x="515" y="499"/>
                </a:cubicBezTo>
                <a:cubicBezTo>
                  <a:pt x="514" y="499"/>
                  <a:pt x="513" y="498"/>
                  <a:pt x="513" y="497"/>
                </a:cubicBezTo>
                <a:cubicBezTo>
                  <a:pt x="514" y="488"/>
                  <a:pt x="514" y="488"/>
                  <a:pt x="514" y="488"/>
                </a:cubicBezTo>
                <a:cubicBezTo>
                  <a:pt x="513" y="487"/>
                  <a:pt x="512" y="487"/>
                  <a:pt x="511" y="486"/>
                </a:cubicBezTo>
                <a:cubicBezTo>
                  <a:pt x="503" y="489"/>
                  <a:pt x="503" y="489"/>
                  <a:pt x="503" y="489"/>
                </a:cubicBezTo>
                <a:cubicBezTo>
                  <a:pt x="502" y="489"/>
                  <a:pt x="501" y="489"/>
                  <a:pt x="500" y="488"/>
                </a:cubicBezTo>
                <a:cubicBezTo>
                  <a:pt x="497" y="483"/>
                  <a:pt x="497" y="483"/>
                  <a:pt x="497" y="483"/>
                </a:cubicBezTo>
                <a:cubicBezTo>
                  <a:pt x="496" y="482"/>
                  <a:pt x="496" y="481"/>
                  <a:pt x="497" y="480"/>
                </a:cubicBezTo>
                <a:cubicBezTo>
                  <a:pt x="504" y="474"/>
                  <a:pt x="504" y="474"/>
                  <a:pt x="504" y="474"/>
                </a:cubicBezTo>
                <a:cubicBezTo>
                  <a:pt x="504" y="472"/>
                  <a:pt x="503" y="471"/>
                  <a:pt x="503" y="470"/>
                </a:cubicBezTo>
                <a:cubicBezTo>
                  <a:pt x="495" y="466"/>
                  <a:pt x="495" y="466"/>
                  <a:pt x="495" y="466"/>
                </a:cubicBezTo>
                <a:cubicBezTo>
                  <a:pt x="494" y="466"/>
                  <a:pt x="493" y="465"/>
                  <a:pt x="493" y="464"/>
                </a:cubicBezTo>
                <a:cubicBezTo>
                  <a:pt x="494" y="458"/>
                  <a:pt x="494" y="458"/>
                  <a:pt x="494" y="458"/>
                </a:cubicBezTo>
                <a:cubicBezTo>
                  <a:pt x="495" y="456"/>
                  <a:pt x="496" y="455"/>
                  <a:pt x="497" y="455"/>
                </a:cubicBezTo>
                <a:cubicBezTo>
                  <a:pt x="506" y="455"/>
                  <a:pt x="506" y="455"/>
                  <a:pt x="506" y="455"/>
                </a:cubicBezTo>
                <a:close/>
                <a:moveTo>
                  <a:pt x="515" y="467"/>
                </a:moveTo>
                <a:cubicBezTo>
                  <a:pt x="515" y="474"/>
                  <a:pt x="521" y="480"/>
                  <a:pt x="528" y="480"/>
                </a:cubicBezTo>
                <a:cubicBezTo>
                  <a:pt x="535" y="480"/>
                  <a:pt x="541" y="474"/>
                  <a:pt x="541" y="467"/>
                </a:cubicBezTo>
                <a:cubicBezTo>
                  <a:pt x="541" y="459"/>
                  <a:pt x="535" y="454"/>
                  <a:pt x="528" y="454"/>
                </a:cubicBezTo>
                <a:cubicBezTo>
                  <a:pt x="521" y="454"/>
                  <a:pt x="515" y="459"/>
                  <a:pt x="515" y="467"/>
                </a:cubicBezTo>
                <a:close/>
                <a:moveTo>
                  <a:pt x="528" y="473"/>
                </a:moveTo>
                <a:cubicBezTo>
                  <a:pt x="531" y="473"/>
                  <a:pt x="534" y="470"/>
                  <a:pt x="534" y="467"/>
                </a:cubicBezTo>
                <a:cubicBezTo>
                  <a:pt x="534" y="464"/>
                  <a:pt x="531" y="461"/>
                  <a:pt x="528" y="461"/>
                </a:cubicBezTo>
                <a:cubicBezTo>
                  <a:pt x="525" y="461"/>
                  <a:pt x="522" y="464"/>
                  <a:pt x="522" y="467"/>
                </a:cubicBezTo>
                <a:cubicBezTo>
                  <a:pt x="522" y="470"/>
                  <a:pt x="525" y="473"/>
                  <a:pt x="528" y="473"/>
                </a:cubicBezTo>
                <a:close/>
                <a:moveTo>
                  <a:pt x="139" y="886"/>
                </a:moveTo>
                <a:cubicBezTo>
                  <a:pt x="142" y="886"/>
                  <a:pt x="144" y="883"/>
                  <a:pt x="144" y="880"/>
                </a:cubicBezTo>
                <a:cubicBezTo>
                  <a:pt x="144" y="877"/>
                  <a:pt x="142" y="875"/>
                  <a:pt x="139" y="875"/>
                </a:cubicBezTo>
                <a:cubicBezTo>
                  <a:pt x="135" y="875"/>
                  <a:pt x="133" y="877"/>
                  <a:pt x="133" y="880"/>
                </a:cubicBezTo>
                <a:cubicBezTo>
                  <a:pt x="133" y="883"/>
                  <a:pt x="135" y="886"/>
                  <a:pt x="139" y="886"/>
                </a:cubicBezTo>
                <a:close/>
                <a:moveTo>
                  <a:pt x="219" y="168"/>
                </a:moveTo>
                <a:cubicBezTo>
                  <a:pt x="221" y="166"/>
                  <a:pt x="223" y="164"/>
                  <a:pt x="226" y="162"/>
                </a:cubicBezTo>
                <a:cubicBezTo>
                  <a:pt x="226" y="162"/>
                  <a:pt x="227" y="162"/>
                  <a:pt x="227" y="163"/>
                </a:cubicBezTo>
                <a:cubicBezTo>
                  <a:pt x="234" y="168"/>
                  <a:pt x="234" y="168"/>
                  <a:pt x="234" y="168"/>
                </a:cubicBezTo>
                <a:cubicBezTo>
                  <a:pt x="235" y="168"/>
                  <a:pt x="236" y="168"/>
                  <a:pt x="237" y="167"/>
                </a:cubicBezTo>
                <a:cubicBezTo>
                  <a:pt x="239" y="158"/>
                  <a:pt x="239" y="158"/>
                  <a:pt x="239" y="158"/>
                </a:cubicBezTo>
                <a:cubicBezTo>
                  <a:pt x="239" y="157"/>
                  <a:pt x="240" y="156"/>
                  <a:pt x="241" y="156"/>
                </a:cubicBezTo>
                <a:cubicBezTo>
                  <a:pt x="248" y="156"/>
                  <a:pt x="248" y="156"/>
                  <a:pt x="248" y="156"/>
                </a:cubicBezTo>
                <a:cubicBezTo>
                  <a:pt x="248" y="156"/>
                  <a:pt x="250" y="157"/>
                  <a:pt x="250" y="158"/>
                </a:cubicBezTo>
                <a:cubicBezTo>
                  <a:pt x="252" y="167"/>
                  <a:pt x="252" y="167"/>
                  <a:pt x="252" y="167"/>
                </a:cubicBezTo>
                <a:cubicBezTo>
                  <a:pt x="252" y="168"/>
                  <a:pt x="253" y="168"/>
                  <a:pt x="254" y="168"/>
                </a:cubicBezTo>
                <a:cubicBezTo>
                  <a:pt x="261" y="163"/>
                  <a:pt x="261" y="163"/>
                  <a:pt x="261" y="163"/>
                </a:cubicBezTo>
                <a:cubicBezTo>
                  <a:pt x="262" y="162"/>
                  <a:pt x="263" y="162"/>
                  <a:pt x="264" y="163"/>
                </a:cubicBezTo>
                <a:cubicBezTo>
                  <a:pt x="269" y="167"/>
                  <a:pt x="269" y="167"/>
                  <a:pt x="269" y="167"/>
                </a:cubicBezTo>
                <a:cubicBezTo>
                  <a:pt x="270" y="167"/>
                  <a:pt x="270" y="169"/>
                  <a:pt x="270" y="170"/>
                </a:cubicBezTo>
                <a:cubicBezTo>
                  <a:pt x="265" y="178"/>
                  <a:pt x="265" y="178"/>
                  <a:pt x="265" y="178"/>
                </a:cubicBezTo>
                <a:cubicBezTo>
                  <a:pt x="266" y="178"/>
                  <a:pt x="266" y="179"/>
                  <a:pt x="267" y="180"/>
                </a:cubicBezTo>
                <a:cubicBezTo>
                  <a:pt x="276" y="180"/>
                  <a:pt x="276" y="180"/>
                  <a:pt x="276" y="180"/>
                </a:cubicBezTo>
                <a:cubicBezTo>
                  <a:pt x="277" y="180"/>
                  <a:pt x="278" y="181"/>
                  <a:pt x="278" y="182"/>
                </a:cubicBezTo>
                <a:cubicBezTo>
                  <a:pt x="279" y="188"/>
                  <a:pt x="279" y="188"/>
                  <a:pt x="279" y="188"/>
                </a:cubicBezTo>
                <a:cubicBezTo>
                  <a:pt x="279" y="189"/>
                  <a:pt x="278" y="190"/>
                  <a:pt x="278" y="191"/>
                </a:cubicBezTo>
                <a:cubicBezTo>
                  <a:pt x="269" y="194"/>
                  <a:pt x="269" y="194"/>
                  <a:pt x="269" y="194"/>
                </a:cubicBezTo>
                <a:cubicBezTo>
                  <a:pt x="269" y="195"/>
                  <a:pt x="269" y="196"/>
                  <a:pt x="269" y="197"/>
                </a:cubicBezTo>
                <a:cubicBezTo>
                  <a:pt x="276" y="203"/>
                  <a:pt x="276" y="203"/>
                  <a:pt x="276" y="203"/>
                </a:cubicBezTo>
                <a:cubicBezTo>
                  <a:pt x="276" y="203"/>
                  <a:pt x="277" y="204"/>
                  <a:pt x="276" y="205"/>
                </a:cubicBezTo>
                <a:cubicBezTo>
                  <a:pt x="273" y="211"/>
                  <a:pt x="273" y="211"/>
                  <a:pt x="273" y="211"/>
                </a:cubicBezTo>
                <a:cubicBezTo>
                  <a:pt x="273" y="212"/>
                  <a:pt x="271" y="212"/>
                  <a:pt x="270" y="212"/>
                </a:cubicBezTo>
                <a:cubicBezTo>
                  <a:pt x="262" y="209"/>
                  <a:pt x="262" y="209"/>
                  <a:pt x="262" y="209"/>
                </a:cubicBezTo>
                <a:cubicBezTo>
                  <a:pt x="261" y="210"/>
                  <a:pt x="261" y="210"/>
                  <a:pt x="260" y="211"/>
                </a:cubicBezTo>
                <a:cubicBezTo>
                  <a:pt x="262" y="220"/>
                  <a:pt x="262" y="220"/>
                  <a:pt x="262" y="220"/>
                </a:cubicBezTo>
                <a:cubicBezTo>
                  <a:pt x="263" y="220"/>
                  <a:pt x="262" y="222"/>
                  <a:pt x="261" y="222"/>
                </a:cubicBezTo>
                <a:cubicBezTo>
                  <a:pt x="255" y="224"/>
                  <a:pt x="255" y="224"/>
                  <a:pt x="255" y="224"/>
                </a:cubicBezTo>
                <a:cubicBezTo>
                  <a:pt x="254" y="225"/>
                  <a:pt x="253" y="224"/>
                  <a:pt x="252" y="224"/>
                </a:cubicBezTo>
                <a:cubicBezTo>
                  <a:pt x="247" y="216"/>
                  <a:pt x="247" y="216"/>
                  <a:pt x="247" y="216"/>
                </a:cubicBezTo>
                <a:cubicBezTo>
                  <a:pt x="246" y="216"/>
                  <a:pt x="245" y="216"/>
                  <a:pt x="244" y="216"/>
                </a:cubicBezTo>
                <a:cubicBezTo>
                  <a:pt x="244" y="216"/>
                  <a:pt x="244" y="216"/>
                  <a:pt x="244" y="216"/>
                </a:cubicBezTo>
                <a:cubicBezTo>
                  <a:pt x="240" y="224"/>
                  <a:pt x="240" y="224"/>
                  <a:pt x="240" y="224"/>
                </a:cubicBezTo>
                <a:cubicBezTo>
                  <a:pt x="239" y="225"/>
                  <a:pt x="238" y="226"/>
                  <a:pt x="237" y="225"/>
                </a:cubicBezTo>
                <a:cubicBezTo>
                  <a:pt x="231" y="223"/>
                  <a:pt x="231" y="224"/>
                  <a:pt x="231" y="224"/>
                </a:cubicBezTo>
                <a:cubicBezTo>
                  <a:pt x="230" y="223"/>
                  <a:pt x="229" y="222"/>
                  <a:pt x="229" y="221"/>
                </a:cubicBezTo>
                <a:cubicBezTo>
                  <a:pt x="230" y="212"/>
                  <a:pt x="230" y="212"/>
                  <a:pt x="230" y="212"/>
                </a:cubicBezTo>
                <a:cubicBezTo>
                  <a:pt x="229" y="212"/>
                  <a:pt x="229" y="211"/>
                  <a:pt x="228" y="210"/>
                </a:cubicBezTo>
                <a:cubicBezTo>
                  <a:pt x="219" y="213"/>
                  <a:pt x="219" y="213"/>
                  <a:pt x="219" y="213"/>
                </a:cubicBezTo>
                <a:cubicBezTo>
                  <a:pt x="218" y="214"/>
                  <a:pt x="217" y="213"/>
                  <a:pt x="217" y="212"/>
                </a:cubicBezTo>
                <a:cubicBezTo>
                  <a:pt x="213" y="207"/>
                  <a:pt x="213" y="207"/>
                  <a:pt x="213" y="207"/>
                </a:cubicBezTo>
                <a:cubicBezTo>
                  <a:pt x="213" y="206"/>
                  <a:pt x="213" y="205"/>
                  <a:pt x="214" y="204"/>
                </a:cubicBezTo>
                <a:cubicBezTo>
                  <a:pt x="220" y="198"/>
                  <a:pt x="220" y="198"/>
                  <a:pt x="220" y="198"/>
                </a:cubicBezTo>
                <a:cubicBezTo>
                  <a:pt x="220" y="197"/>
                  <a:pt x="220" y="195"/>
                  <a:pt x="220" y="194"/>
                </a:cubicBezTo>
                <a:cubicBezTo>
                  <a:pt x="211" y="191"/>
                  <a:pt x="211" y="191"/>
                  <a:pt x="211" y="191"/>
                </a:cubicBezTo>
                <a:cubicBezTo>
                  <a:pt x="210" y="190"/>
                  <a:pt x="210" y="189"/>
                  <a:pt x="210" y="188"/>
                </a:cubicBezTo>
                <a:cubicBezTo>
                  <a:pt x="211" y="182"/>
                  <a:pt x="211" y="182"/>
                  <a:pt x="211" y="182"/>
                </a:cubicBezTo>
                <a:cubicBezTo>
                  <a:pt x="211" y="181"/>
                  <a:pt x="212" y="180"/>
                  <a:pt x="213" y="180"/>
                </a:cubicBezTo>
                <a:cubicBezTo>
                  <a:pt x="222" y="180"/>
                  <a:pt x="222" y="180"/>
                  <a:pt x="222" y="180"/>
                </a:cubicBezTo>
                <a:cubicBezTo>
                  <a:pt x="222" y="179"/>
                  <a:pt x="223" y="178"/>
                  <a:pt x="223" y="178"/>
                </a:cubicBezTo>
                <a:cubicBezTo>
                  <a:pt x="219" y="170"/>
                  <a:pt x="219" y="170"/>
                  <a:pt x="219" y="170"/>
                </a:cubicBezTo>
                <a:cubicBezTo>
                  <a:pt x="219" y="169"/>
                  <a:pt x="219" y="169"/>
                  <a:pt x="219" y="168"/>
                </a:cubicBezTo>
                <a:close/>
                <a:moveTo>
                  <a:pt x="231" y="191"/>
                </a:moveTo>
                <a:cubicBezTo>
                  <a:pt x="231" y="199"/>
                  <a:pt x="237" y="204"/>
                  <a:pt x="244" y="204"/>
                </a:cubicBezTo>
                <a:cubicBezTo>
                  <a:pt x="252" y="204"/>
                  <a:pt x="258" y="199"/>
                  <a:pt x="258" y="191"/>
                </a:cubicBezTo>
                <a:cubicBezTo>
                  <a:pt x="258" y="184"/>
                  <a:pt x="252" y="178"/>
                  <a:pt x="244" y="178"/>
                </a:cubicBezTo>
                <a:cubicBezTo>
                  <a:pt x="237" y="178"/>
                  <a:pt x="231" y="184"/>
                  <a:pt x="231" y="191"/>
                </a:cubicBezTo>
                <a:close/>
                <a:moveTo>
                  <a:pt x="0" y="669"/>
                </a:moveTo>
                <a:cubicBezTo>
                  <a:pt x="0" y="672"/>
                  <a:pt x="1" y="675"/>
                  <a:pt x="1" y="678"/>
                </a:cubicBezTo>
                <a:cubicBezTo>
                  <a:pt x="2" y="677"/>
                  <a:pt x="2" y="675"/>
                  <a:pt x="2" y="674"/>
                </a:cubicBezTo>
                <a:cubicBezTo>
                  <a:pt x="2" y="672"/>
                  <a:pt x="2" y="670"/>
                  <a:pt x="0" y="669"/>
                </a:cubicBezTo>
                <a:close/>
                <a:moveTo>
                  <a:pt x="93" y="883"/>
                </a:moveTo>
                <a:cubicBezTo>
                  <a:pt x="92" y="884"/>
                  <a:pt x="92" y="885"/>
                  <a:pt x="92" y="886"/>
                </a:cubicBezTo>
                <a:cubicBezTo>
                  <a:pt x="99" y="892"/>
                  <a:pt x="99" y="892"/>
                  <a:pt x="99" y="892"/>
                </a:cubicBezTo>
                <a:cubicBezTo>
                  <a:pt x="100" y="892"/>
                  <a:pt x="100" y="893"/>
                  <a:pt x="99" y="894"/>
                </a:cubicBezTo>
                <a:cubicBezTo>
                  <a:pt x="97" y="900"/>
                  <a:pt x="97" y="900"/>
                  <a:pt x="97" y="900"/>
                </a:cubicBezTo>
                <a:cubicBezTo>
                  <a:pt x="96" y="901"/>
                  <a:pt x="95" y="901"/>
                  <a:pt x="94" y="901"/>
                </a:cubicBezTo>
                <a:cubicBezTo>
                  <a:pt x="85" y="898"/>
                  <a:pt x="85" y="898"/>
                  <a:pt x="85" y="898"/>
                </a:cubicBezTo>
                <a:cubicBezTo>
                  <a:pt x="85" y="899"/>
                  <a:pt x="84" y="899"/>
                  <a:pt x="84" y="900"/>
                </a:cubicBezTo>
                <a:cubicBezTo>
                  <a:pt x="86" y="909"/>
                  <a:pt x="86" y="909"/>
                  <a:pt x="86" y="909"/>
                </a:cubicBezTo>
                <a:cubicBezTo>
                  <a:pt x="86" y="909"/>
                  <a:pt x="85" y="911"/>
                  <a:pt x="84" y="911"/>
                </a:cubicBezTo>
                <a:cubicBezTo>
                  <a:pt x="79" y="913"/>
                  <a:pt x="79" y="913"/>
                  <a:pt x="79" y="913"/>
                </a:cubicBezTo>
                <a:cubicBezTo>
                  <a:pt x="78" y="914"/>
                  <a:pt x="76" y="913"/>
                  <a:pt x="76" y="913"/>
                </a:cubicBezTo>
                <a:cubicBezTo>
                  <a:pt x="71" y="905"/>
                  <a:pt x="71" y="905"/>
                  <a:pt x="71" y="905"/>
                </a:cubicBezTo>
                <a:cubicBezTo>
                  <a:pt x="70" y="905"/>
                  <a:pt x="69" y="905"/>
                  <a:pt x="68" y="905"/>
                </a:cubicBezTo>
                <a:cubicBezTo>
                  <a:pt x="67" y="905"/>
                  <a:pt x="67" y="905"/>
                  <a:pt x="67" y="905"/>
                </a:cubicBezTo>
                <a:cubicBezTo>
                  <a:pt x="63" y="913"/>
                  <a:pt x="63" y="913"/>
                  <a:pt x="63" y="913"/>
                </a:cubicBezTo>
                <a:cubicBezTo>
                  <a:pt x="63" y="914"/>
                  <a:pt x="61" y="915"/>
                  <a:pt x="60" y="914"/>
                </a:cubicBezTo>
                <a:cubicBezTo>
                  <a:pt x="54" y="912"/>
                  <a:pt x="54" y="913"/>
                  <a:pt x="54" y="913"/>
                </a:cubicBezTo>
                <a:cubicBezTo>
                  <a:pt x="53" y="912"/>
                  <a:pt x="53" y="911"/>
                  <a:pt x="53" y="910"/>
                </a:cubicBezTo>
                <a:cubicBezTo>
                  <a:pt x="54" y="901"/>
                  <a:pt x="54" y="901"/>
                  <a:pt x="54" y="901"/>
                </a:cubicBezTo>
                <a:cubicBezTo>
                  <a:pt x="53" y="901"/>
                  <a:pt x="52" y="900"/>
                  <a:pt x="51" y="899"/>
                </a:cubicBezTo>
                <a:cubicBezTo>
                  <a:pt x="49" y="900"/>
                  <a:pt x="48" y="901"/>
                  <a:pt x="46" y="901"/>
                </a:cubicBezTo>
                <a:cubicBezTo>
                  <a:pt x="45" y="897"/>
                  <a:pt x="43" y="893"/>
                  <a:pt x="42" y="889"/>
                </a:cubicBezTo>
                <a:cubicBezTo>
                  <a:pt x="43" y="887"/>
                  <a:pt x="44" y="887"/>
                  <a:pt x="44" y="887"/>
                </a:cubicBezTo>
                <a:cubicBezTo>
                  <a:pt x="43" y="886"/>
                  <a:pt x="43" y="884"/>
                  <a:pt x="43" y="883"/>
                </a:cubicBezTo>
                <a:cubicBezTo>
                  <a:pt x="41" y="882"/>
                  <a:pt x="40" y="882"/>
                  <a:pt x="39" y="881"/>
                </a:cubicBezTo>
                <a:cubicBezTo>
                  <a:pt x="38" y="878"/>
                  <a:pt x="36" y="874"/>
                  <a:pt x="35" y="870"/>
                </a:cubicBezTo>
                <a:cubicBezTo>
                  <a:pt x="35" y="869"/>
                  <a:pt x="36" y="869"/>
                  <a:pt x="37" y="869"/>
                </a:cubicBezTo>
                <a:cubicBezTo>
                  <a:pt x="45" y="869"/>
                  <a:pt x="45" y="869"/>
                  <a:pt x="45" y="869"/>
                </a:cubicBezTo>
                <a:cubicBezTo>
                  <a:pt x="46" y="868"/>
                  <a:pt x="46" y="867"/>
                  <a:pt x="47" y="867"/>
                </a:cubicBezTo>
                <a:cubicBezTo>
                  <a:pt x="42" y="859"/>
                  <a:pt x="42" y="859"/>
                  <a:pt x="42" y="859"/>
                </a:cubicBezTo>
                <a:cubicBezTo>
                  <a:pt x="42" y="858"/>
                  <a:pt x="42" y="857"/>
                  <a:pt x="43" y="856"/>
                </a:cubicBezTo>
                <a:cubicBezTo>
                  <a:pt x="48" y="852"/>
                  <a:pt x="48" y="852"/>
                  <a:pt x="48" y="852"/>
                </a:cubicBezTo>
                <a:cubicBezTo>
                  <a:pt x="48" y="851"/>
                  <a:pt x="50" y="851"/>
                  <a:pt x="51" y="852"/>
                </a:cubicBezTo>
                <a:cubicBezTo>
                  <a:pt x="58" y="857"/>
                  <a:pt x="58" y="857"/>
                  <a:pt x="58" y="857"/>
                </a:cubicBezTo>
                <a:cubicBezTo>
                  <a:pt x="59" y="857"/>
                  <a:pt x="60" y="857"/>
                  <a:pt x="60" y="856"/>
                </a:cubicBezTo>
                <a:cubicBezTo>
                  <a:pt x="62" y="847"/>
                  <a:pt x="62" y="847"/>
                  <a:pt x="62" y="847"/>
                </a:cubicBezTo>
                <a:cubicBezTo>
                  <a:pt x="63" y="846"/>
                  <a:pt x="63" y="845"/>
                  <a:pt x="64" y="845"/>
                </a:cubicBezTo>
                <a:cubicBezTo>
                  <a:pt x="71" y="845"/>
                  <a:pt x="71" y="845"/>
                  <a:pt x="71" y="845"/>
                </a:cubicBezTo>
                <a:cubicBezTo>
                  <a:pt x="72" y="845"/>
                  <a:pt x="73" y="846"/>
                  <a:pt x="73" y="847"/>
                </a:cubicBezTo>
                <a:cubicBezTo>
                  <a:pt x="75" y="856"/>
                  <a:pt x="75" y="856"/>
                  <a:pt x="75" y="856"/>
                </a:cubicBezTo>
                <a:cubicBezTo>
                  <a:pt x="76" y="857"/>
                  <a:pt x="77" y="857"/>
                  <a:pt x="78" y="857"/>
                </a:cubicBezTo>
                <a:cubicBezTo>
                  <a:pt x="85" y="852"/>
                  <a:pt x="85" y="852"/>
                  <a:pt x="85" y="852"/>
                </a:cubicBezTo>
                <a:cubicBezTo>
                  <a:pt x="85" y="851"/>
                  <a:pt x="87" y="851"/>
                  <a:pt x="88" y="852"/>
                </a:cubicBezTo>
                <a:cubicBezTo>
                  <a:pt x="92" y="856"/>
                  <a:pt x="92" y="856"/>
                  <a:pt x="92" y="856"/>
                </a:cubicBezTo>
                <a:cubicBezTo>
                  <a:pt x="93" y="856"/>
                  <a:pt x="94" y="858"/>
                  <a:pt x="93" y="859"/>
                </a:cubicBezTo>
                <a:cubicBezTo>
                  <a:pt x="89" y="867"/>
                  <a:pt x="89" y="867"/>
                  <a:pt x="89" y="867"/>
                </a:cubicBezTo>
                <a:cubicBezTo>
                  <a:pt x="89" y="867"/>
                  <a:pt x="90" y="868"/>
                  <a:pt x="90" y="869"/>
                </a:cubicBezTo>
                <a:cubicBezTo>
                  <a:pt x="99" y="869"/>
                  <a:pt x="99" y="869"/>
                  <a:pt x="99" y="869"/>
                </a:cubicBezTo>
                <a:cubicBezTo>
                  <a:pt x="100" y="869"/>
                  <a:pt x="101" y="870"/>
                  <a:pt x="101" y="871"/>
                </a:cubicBezTo>
                <a:cubicBezTo>
                  <a:pt x="102" y="877"/>
                  <a:pt x="102" y="877"/>
                  <a:pt x="102" y="877"/>
                </a:cubicBezTo>
                <a:cubicBezTo>
                  <a:pt x="102" y="878"/>
                  <a:pt x="102" y="879"/>
                  <a:pt x="101" y="880"/>
                </a:cubicBezTo>
                <a:cubicBezTo>
                  <a:pt x="93" y="883"/>
                  <a:pt x="93" y="883"/>
                  <a:pt x="93" y="883"/>
                </a:cubicBezTo>
                <a:close/>
                <a:moveTo>
                  <a:pt x="81" y="880"/>
                </a:moveTo>
                <a:cubicBezTo>
                  <a:pt x="81" y="873"/>
                  <a:pt x="75" y="867"/>
                  <a:pt x="68" y="867"/>
                </a:cubicBezTo>
                <a:cubicBezTo>
                  <a:pt x="60" y="867"/>
                  <a:pt x="54" y="873"/>
                  <a:pt x="54" y="880"/>
                </a:cubicBezTo>
                <a:cubicBezTo>
                  <a:pt x="54" y="888"/>
                  <a:pt x="60" y="893"/>
                  <a:pt x="68" y="893"/>
                </a:cubicBezTo>
                <a:cubicBezTo>
                  <a:pt x="75" y="893"/>
                  <a:pt x="81" y="888"/>
                  <a:pt x="81" y="880"/>
                </a:cubicBezTo>
                <a:close/>
                <a:moveTo>
                  <a:pt x="435" y="38"/>
                </a:moveTo>
                <a:cubicBezTo>
                  <a:pt x="445" y="35"/>
                  <a:pt x="454" y="31"/>
                  <a:pt x="464" y="28"/>
                </a:cubicBezTo>
                <a:cubicBezTo>
                  <a:pt x="464" y="29"/>
                  <a:pt x="464" y="29"/>
                  <a:pt x="464" y="29"/>
                </a:cubicBezTo>
                <a:cubicBezTo>
                  <a:pt x="465" y="30"/>
                  <a:pt x="466" y="30"/>
                  <a:pt x="467" y="30"/>
                </a:cubicBezTo>
                <a:cubicBezTo>
                  <a:pt x="470" y="28"/>
                  <a:pt x="472" y="26"/>
                  <a:pt x="473" y="26"/>
                </a:cubicBezTo>
                <a:cubicBezTo>
                  <a:pt x="474" y="25"/>
                  <a:pt x="475" y="25"/>
                  <a:pt x="477" y="25"/>
                </a:cubicBezTo>
                <a:cubicBezTo>
                  <a:pt x="477" y="25"/>
                  <a:pt x="477" y="25"/>
                  <a:pt x="477" y="25"/>
                </a:cubicBezTo>
                <a:cubicBezTo>
                  <a:pt x="482" y="29"/>
                  <a:pt x="482" y="29"/>
                  <a:pt x="482" y="29"/>
                </a:cubicBezTo>
                <a:cubicBezTo>
                  <a:pt x="483" y="29"/>
                  <a:pt x="483" y="31"/>
                  <a:pt x="482" y="32"/>
                </a:cubicBezTo>
                <a:cubicBezTo>
                  <a:pt x="478" y="40"/>
                  <a:pt x="478" y="40"/>
                  <a:pt x="478" y="40"/>
                </a:cubicBezTo>
                <a:cubicBezTo>
                  <a:pt x="478" y="41"/>
                  <a:pt x="479" y="41"/>
                  <a:pt x="479" y="42"/>
                </a:cubicBezTo>
                <a:cubicBezTo>
                  <a:pt x="488" y="42"/>
                  <a:pt x="488" y="42"/>
                  <a:pt x="488" y="42"/>
                </a:cubicBezTo>
                <a:cubicBezTo>
                  <a:pt x="489" y="42"/>
                  <a:pt x="490" y="43"/>
                  <a:pt x="491" y="44"/>
                </a:cubicBezTo>
                <a:cubicBezTo>
                  <a:pt x="492" y="50"/>
                  <a:pt x="492" y="50"/>
                  <a:pt x="492" y="50"/>
                </a:cubicBezTo>
                <a:cubicBezTo>
                  <a:pt x="492" y="51"/>
                  <a:pt x="491" y="52"/>
                  <a:pt x="490" y="53"/>
                </a:cubicBezTo>
                <a:cubicBezTo>
                  <a:pt x="482" y="56"/>
                  <a:pt x="482" y="56"/>
                  <a:pt x="482" y="56"/>
                </a:cubicBezTo>
                <a:cubicBezTo>
                  <a:pt x="482" y="57"/>
                  <a:pt x="482" y="58"/>
                  <a:pt x="481" y="59"/>
                </a:cubicBezTo>
                <a:cubicBezTo>
                  <a:pt x="488" y="65"/>
                  <a:pt x="488" y="65"/>
                  <a:pt x="488" y="65"/>
                </a:cubicBezTo>
                <a:cubicBezTo>
                  <a:pt x="489" y="65"/>
                  <a:pt x="489" y="67"/>
                  <a:pt x="489" y="68"/>
                </a:cubicBezTo>
                <a:cubicBezTo>
                  <a:pt x="486" y="73"/>
                  <a:pt x="486" y="73"/>
                  <a:pt x="486" y="73"/>
                </a:cubicBezTo>
                <a:cubicBezTo>
                  <a:pt x="485" y="74"/>
                  <a:pt x="484" y="75"/>
                  <a:pt x="483" y="74"/>
                </a:cubicBezTo>
                <a:cubicBezTo>
                  <a:pt x="474" y="72"/>
                  <a:pt x="474" y="72"/>
                  <a:pt x="474" y="72"/>
                </a:cubicBezTo>
                <a:cubicBezTo>
                  <a:pt x="474" y="72"/>
                  <a:pt x="474" y="72"/>
                  <a:pt x="473" y="73"/>
                </a:cubicBezTo>
                <a:cubicBezTo>
                  <a:pt x="475" y="82"/>
                  <a:pt x="475" y="82"/>
                  <a:pt x="475" y="82"/>
                </a:cubicBezTo>
                <a:cubicBezTo>
                  <a:pt x="475" y="83"/>
                  <a:pt x="475" y="84"/>
                  <a:pt x="474" y="84"/>
                </a:cubicBezTo>
                <a:cubicBezTo>
                  <a:pt x="468" y="87"/>
                  <a:pt x="468" y="87"/>
                  <a:pt x="468" y="87"/>
                </a:cubicBezTo>
                <a:cubicBezTo>
                  <a:pt x="467" y="87"/>
                  <a:pt x="466" y="87"/>
                  <a:pt x="465" y="86"/>
                </a:cubicBezTo>
                <a:cubicBezTo>
                  <a:pt x="460" y="78"/>
                  <a:pt x="460" y="78"/>
                  <a:pt x="460" y="78"/>
                </a:cubicBezTo>
                <a:cubicBezTo>
                  <a:pt x="459" y="79"/>
                  <a:pt x="458" y="79"/>
                  <a:pt x="457" y="79"/>
                </a:cubicBezTo>
                <a:cubicBezTo>
                  <a:pt x="457" y="79"/>
                  <a:pt x="457" y="79"/>
                  <a:pt x="457" y="79"/>
                </a:cubicBezTo>
                <a:cubicBezTo>
                  <a:pt x="453" y="87"/>
                  <a:pt x="453" y="87"/>
                  <a:pt x="453" y="87"/>
                </a:cubicBezTo>
                <a:cubicBezTo>
                  <a:pt x="452" y="88"/>
                  <a:pt x="451" y="88"/>
                  <a:pt x="450" y="88"/>
                </a:cubicBezTo>
                <a:cubicBezTo>
                  <a:pt x="444" y="86"/>
                  <a:pt x="444" y="86"/>
                  <a:pt x="444" y="86"/>
                </a:cubicBezTo>
                <a:cubicBezTo>
                  <a:pt x="443" y="85"/>
                  <a:pt x="442" y="84"/>
                  <a:pt x="442" y="83"/>
                </a:cubicBezTo>
                <a:cubicBezTo>
                  <a:pt x="443" y="74"/>
                  <a:pt x="443" y="74"/>
                  <a:pt x="443" y="74"/>
                </a:cubicBezTo>
                <a:cubicBezTo>
                  <a:pt x="442" y="74"/>
                  <a:pt x="442" y="73"/>
                  <a:pt x="441" y="72"/>
                </a:cubicBezTo>
                <a:cubicBezTo>
                  <a:pt x="432" y="76"/>
                  <a:pt x="432" y="76"/>
                  <a:pt x="432" y="76"/>
                </a:cubicBezTo>
                <a:cubicBezTo>
                  <a:pt x="431" y="76"/>
                  <a:pt x="430" y="76"/>
                  <a:pt x="429" y="75"/>
                </a:cubicBezTo>
                <a:cubicBezTo>
                  <a:pt x="426" y="69"/>
                  <a:pt x="426" y="69"/>
                  <a:pt x="426" y="69"/>
                </a:cubicBezTo>
                <a:cubicBezTo>
                  <a:pt x="426" y="68"/>
                  <a:pt x="426" y="67"/>
                  <a:pt x="426" y="66"/>
                </a:cubicBezTo>
                <a:cubicBezTo>
                  <a:pt x="433" y="60"/>
                  <a:pt x="433" y="60"/>
                  <a:pt x="433" y="60"/>
                </a:cubicBezTo>
                <a:cubicBezTo>
                  <a:pt x="433" y="59"/>
                  <a:pt x="432" y="57"/>
                  <a:pt x="432" y="56"/>
                </a:cubicBezTo>
                <a:cubicBezTo>
                  <a:pt x="424" y="53"/>
                  <a:pt x="424" y="53"/>
                  <a:pt x="424" y="53"/>
                </a:cubicBezTo>
                <a:cubicBezTo>
                  <a:pt x="423" y="52"/>
                  <a:pt x="422" y="51"/>
                  <a:pt x="423" y="50"/>
                </a:cubicBezTo>
                <a:cubicBezTo>
                  <a:pt x="423" y="44"/>
                  <a:pt x="423" y="44"/>
                  <a:pt x="423" y="44"/>
                </a:cubicBezTo>
                <a:cubicBezTo>
                  <a:pt x="424" y="43"/>
                  <a:pt x="425" y="42"/>
                  <a:pt x="426" y="42"/>
                </a:cubicBezTo>
                <a:cubicBezTo>
                  <a:pt x="435" y="42"/>
                  <a:pt x="435" y="42"/>
                  <a:pt x="435" y="42"/>
                </a:cubicBezTo>
                <a:cubicBezTo>
                  <a:pt x="435" y="41"/>
                  <a:pt x="436" y="41"/>
                  <a:pt x="436" y="40"/>
                </a:cubicBezTo>
                <a:cubicBezTo>
                  <a:pt x="436" y="39"/>
                  <a:pt x="435" y="39"/>
                  <a:pt x="435" y="38"/>
                </a:cubicBezTo>
                <a:close/>
                <a:moveTo>
                  <a:pt x="444" y="53"/>
                </a:moveTo>
                <a:cubicBezTo>
                  <a:pt x="444" y="61"/>
                  <a:pt x="450" y="67"/>
                  <a:pt x="457" y="67"/>
                </a:cubicBezTo>
                <a:cubicBezTo>
                  <a:pt x="464" y="67"/>
                  <a:pt x="470" y="61"/>
                  <a:pt x="470" y="53"/>
                </a:cubicBezTo>
                <a:cubicBezTo>
                  <a:pt x="470" y="46"/>
                  <a:pt x="464" y="40"/>
                  <a:pt x="457" y="40"/>
                </a:cubicBezTo>
                <a:cubicBezTo>
                  <a:pt x="450" y="40"/>
                  <a:pt x="444" y="46"/>
                  <a:pt x="444" y="53"/>
                </a:cubicBezTo>
                <a:close/>
                <a:moveTo>
                  <a:pt x="244" y="197"/>
                </a:moveTo>
                <a:cubicBezTo>
                  <a:pt x="248" y="197"/>
                  <a:pt x="250" y="194"/>
                  <a:pt x="250" y="191"/>
                </a:cubicBezTo>
                <a:cubicBezTo>
                  <a:pt x="250" y="188"/>
                  <a:pt x="248" y="186"/>
                  <a:pt x="244" y="186"/>
                </a:cubicBezTo>
                <a:cubicBezTo>
                  <a:pt x="241" y="186"/>
                  <a:pt x="239" y="188"/>
                  <a:pt x="239" y="191"/>
                </a:cubicBezTo>
                <a:cubicBezTo>
                  <a:pt x="239" y="194"/>
                  <a:pt x="241" y="197"/>
                  <a:pt x="244" y="197"/>
                </a:cubicBezTo>
                <a:close/>
                <a:moveTo>
                  <a:pt x="528" y="59"/>
                </a:moveTo>
                <a:cubicBezTo>
                  <a:pt x="531" y="59"/>
                  <a:pt x="534" y="56"/>
                  <a:pt x="534" y="53"/>
                </a:cubicBezTo>
                <a:cubicBezTo>
                  <a:pt x="534" y="50"/>
                  <a:pt x="531" y="48"/>
                  <a:pt x="528" y="48"/>
                </a:cubicBezTo>
                <a:cubicBezTo>
                  <a:pt x="525" y="48"/>
                  <a:pt x="522" y="50"/>
                  <a:pt x="522" y="53"/>
                </a:cubicBezTo>
                <a:cubicBezTo>
                  <a:pt x="522" y="56"/>
                  <a:pt x="525" y="59"/>
                  <a:pt x="528" y="59"/>
                </a:cubicBezTo>
                <a:close/>
                <a:moveTo>
                  <a:pt x="315" y="197"/>
                </a:moveTo>
                <a:cubicBezTo>
                  <a:pt x="318" y="197"/>
                  <a:pt x="321" y="194"/>
                  <a:pt x="321" y="191"/>
                </a:cubicBezTo>
                <a:cubicBezTo>
                  <a:pt x="321" y="188"/>
                  <a:pt x="318" y="186"/>
                  <a:pt x="315" y="186"/>
                </a:cubicBezTo>
                <a:cubicBezTo>
                  <a:pt x="312" y="186"/>
                  <a:pt x="310" y="188"/>
                  <a:pt x="310" y="191"/>
                </a:cubicBezTo>
                <a:cubicBezTo>
                  <a:pt x="310" y="194"/>
                  <a:pt x="312" y="197"/>
                  <a:pt x="315" y="197"/>
                </a:cubicBezTo>
                <a:close/>
                <a:moveTo>
                  <a:pt x="422" y="335"/>
                </a:moveTo>
                <a:cubicBezTo>
                  <a:pt x="425" y="335"/>
                  <a:pt x="428" y="332"/>
                  <a:pt x="428" y="329"/>
                </a:cubicBezTo>
                <a:cubicBezTo>
                  <a:pt x="428" y="326"/>
                  <a:pt x="425" y="323"/>
                  <a:pt x="422" y="323"/>
                </a:cubicBezTo>
                <a:cubicBezTo>
                  <a:pt x="419" y="323"/>
                  <a:pt x="416" y="326"/>
                  <a:pt x="416" y="329"/>
                </a:cubicBezTo>
                <a:cubicBezTo>
                  <a:pt x="416" y="332"/>
                  <a:pt x="419" y="335"/>
                  <a:pt x="422" y="335"/>
                </a:cubicBezTo>
                <a:close/>
                <a:moveTo>
                  <a:pt x="376" y="239"/>
                </a:moveTo>
                <a:cubicBezTo>
                  <a:pt x="372" y="247"/>
                  <a:pt x="372" y="247"/>
                  <a:pt x="372" y="247"/>
                </a:cubicBezTo>
                <a:cubicBezTo>
                  <a:pt x="373" y="247"/>
                  <a:pt x="373" y="248"/>
                  <a:pt x="373" y="249"/>
                </a:cubicBezTo>
                <a:cubicBezTo>
                  <a:pt x="383" y="249"/>
                  <a:pt x="383" y="249"/>
                  <a:pt x="383" y="249"/>
                </a:cubicBezTo>
                <a:cubicBezTo>
                  <a:pt x="384" y="249"/>
                  <a:pt x="384" y="250"/>
                  <a:pt x="385" y="251"/>
                </a:cubicBezTo>
                <a:cubicBezTo>
                  <a:pt x="386" y="257"/>
                  <a:pt x="386" y="257"/>
                  <a:pt x="386" y="257"/>
                </a:cubicBezTo>
                <a:cubicBezTo>
                  <a:pt x="386" y="258"/>
                  <a:pt x="385" y="259"/>
                  <a:pt x="384" y="260"/>
                </a:cubicBezTo>
                <a:cubicBezTo>
                  <a:pt x="376" y="263"/>
                  <a:pt x="376" y="263"/>
                  <a:pt x="376" y="263"/>
                </a:cubicBezTo>
                <a:cubicBezTo>
                  <a:pt x="376" y="264"/>
                  <a:pt x="376" y="265"/>
                  <a:pt x="376" y="266"/>
                </a:cubicBezTo>
                <a:cubicBezTo>
                  <a:pt x="383" y="272"/>
                  <a:pt x="383" y="272"/>
                  <a:pt x="383" y="272"/>
                </a:cubicBezTo>
                <a:cubicBezTo>
                  <a:pt x="383" y="272"/>
                  <a:pt x="384" y="273"/>
                  <a:pt x="383" y="274"/>
                </a:cubicBezTo>
                <a:cubicBezTo>
                  <a:pt x="380" y="280"/>
                  <a:pt x="380" y="280"/>
                  <a:pt x="380" y="280"/>
                </a:cubicBezTo>
                <a:cubicBezTo>
                  <a:pt x="380" y="281"/>
                  <a:pt x="378" y="281"/>
                  <a:pt x="377" y="281"/>
                </a:cubicBezTo>
                <a:cubicBezTo>
                  <a:pt x="369" y="278"/>
                  <a:pt x="369" y="278"/>
                  <a:pt x="369" y="278"/>
                </a:cubicBezTo>
                <a:cubicBezTo>
                  <a:pt x="368" y="279"/>
                  <a:pt x="368" y="279"/>
                  <a:pt x="367" y="280"/>
                </a:cubicBezTo>
                <a:cubicBezTo>
                  <a:pt x="369" y="288"/>
                  <a:pt x="369" y="288"/>
                  <a:pt x="369" y="288"/>
                </a:cubicBezTo>
                <a:cubicBezTo>
                  <a:pt x="369" y="289"/>
                  <a:pt x="369" y="291"/>
                  <a:pt x="368" y="291"/>
                </a:cubicBezTo>
                <a:cubicBezTo>
                  <a:pt x="362" y="293"/>
                  <a:pt x="362" y="293"/>
                  <a:pt x="362" y="293"/>
                </a:cubicBezTo>
                <a:cubicBezTo>
                  <a:pt x="361" y="294"/>
                  <a:pt x="360" y="293"/>
                  <a:pt x="359" y="293"/>
                </a:cubicBezTo>
                <a:cubicBezTo>
                  <a:pt x="354" y="285"/>
                  <a:pt x="354" y="285"/>
                  <a:pt x="354" y="285"/>
                </a:cubicBezTo>
                <a:cubicBezTo>
                  <a:pt x="353" y="285"/>
                  <a:pt x="352" y="285"/>
                  <a:pt x="351" y="285"/>
                </a:cubicBezTo>
                <a:cubicBezTo>
                  <a:pt x="351" y="285"/>
                  <a:pt x="351" y="285"/>
                  <a:pt x="351" y="285"/>
                </a:cubicBezTo>
                <a:cubicBezTo>
                  <a:pt x="347" y="293"/>
                  <a:pt x="347" y="293"/>
                  <a:pt x="347" y="293"/>
                </a:cubicBezTo>
                <a:cubicBezTo>
                  <a:pt x="346" y="294"/>
                  <a:pt x="345" y="295"/>
                  <a:pt x="344" y="294"/>
                </a:cubicBezTo>
                <a:cubicBezTo>
                  <a:pt x="338" y="292"/>
                  <a:pt x="338" y="292"/>
                  <a:pt x="338" y="292"/>
                </a:cubicBezTo>
                <a:cubicBezTo>
                  <a:pt x="337" y="292"/>
                  <a:pt x="336" y="291"/>
                  <a:pt x="336" y="290"/>
                </a:cubicBezTo>
                <a:cubicBezTo>
                  <a:pt x="337" y="281"/>
                  <a:pt x="337" y="281"/>
                  <a:pt x="337" y="281"/>
                </a:cubicBezTo>
                <a:cubicBezTo>
                  <a:pt x="336" y="280"/>
                  <a:pt x="336" y="280"/>
                  <a:pt x="335" y="279"/>
                </a:cubicBezTo>
                <a:cubicBezTo>
                  <a:pt x="326" y="282"/>
                  <a:pt x="326" y="282"/>
                  <a:pt x="326" y="282"/>
                </a:cubicBezTo>
                <a:cubicBezTo>
                  <a:pt x="325" y="283"/>
                  <a:pt x="324" y="282"/>
                  <a:pt x="323" y="281"/>
                </a:cubicBezTo>
                <a:cubicBezTo>
                  <a:pt x="320" y="276"/>
                  <a:pt x="320" y="276"/>
                  <a:pt x="320" y="276"/>
                </a:cubicBezTo>
                <a:cubicBezTo>
                  <a:pt x="320" y="275"/>
                  <a:pt x="320" y="274"/>
                  <a:pt x="321" y="273"/>
                </a:cubicBezTo>
                <a:cubicBezTo>
                  <a:pt x="327" y="267"/>
                  <a:pt x="327" y="267"/>
                  <a:pt x="327" y="267"/>
                </a:cubicBezTo>
                <a:cubicBezTo>
                  <a:pt x="327" y="266"/>
                  <a:pt x="327" y="264"/>
                  <a:pt x="327" y="263"/>
                </a:cubicBezTo>
                <a:cubicBezTo>
                  <a:pt x="318" y="260"/>
                  <a:pt x="318" y="260"/>
                  <a:pt x="318" y="260"/>
                </a:cubicBezTo>
                <a:cubicBezTo>
                  <a:pt x="317" y="259"/>
                  <a:pt x="316" y="258"/>
                  <a:pt x="317" y="257"/>
                </a:cubicBezTo>
                <a:cubicBezTo>
                  <a:pt x="318" y="251"/>
                  <a:pt x="318" y="251"/>
                  <a:pt x="318" y="251"/>
                </a:cubicBezTo>
                <a:cubicBezTo>
                  <a:pt x="318" y="250"/>
                  <a:pt x="319" y="249"/>
                  <a:pt x="320" y="249"/>
                </a:cubicBezTo>
                <a:cubicBezTo>
                  <a:pt x="329" y="249"/>
                  <a:pt x="329" y="249"/>
                  <a:pt x="329" y="249"/>
                </a:cubicBezTo>
                <a:cubicBezTo>
                  <a:pt x="329" y="248"/>
                  <a:pt x="330" y="247"/>
                  <a:pt x="330" y="247"/>
                </a:cubicBezTo>
                <a:cubicBezTo>
                  <a:pt x="326" y="239"/>
                  <a:pt x="326" y="239"/>
                  <a:pt x="326" y="239"/>
                </a:cubicBezTo>
                <a:cubicBezTo>
                  <a:pt x="325" y="238"/>
                  <a:pt x="326" y="236"/>
                  <a:pt x="327" y="236"/>
                </a:cubicBezTo>
                <a:cubicBezTo>
                  <a:pt x="331" y="232"/>
                  <a:pt x="331" y="232"/>
                  <a:pt x="331" y="232"/>
                </a:cubicBezTo>
                <a:cubicBezTo>
                  <a:pt x="332" y="231"/>
                  <a:pt x="333" y="231"/>
                  <a:pt x="334" y="232"/>
                </a:cubicBezTo>
                <a:cubicBezTo>
                  <a:pt x="341" y="237"/>
                  <a:pt x="341" y="237"/>
                  <a:pt x="341" y="237"/>
                </a:cubicBezTo>
                <a:cubicBezTo>
                  <a:pt x="342" y="237"/>
                  <a:pt x="343" y="236"/>
                  <a:pt x="344" y="236"/>
                </a:cubicBezTo>
                <a:cubicBezTo>
                  <a:pt x="346" y="227"/>
                  <a:pt x="346" y="227"/>
                  <a:pt x="346" y="227"/>
                </a:cubicBezTo>
                <a:cubicBezTo>
                  <a:pt x="346" y="226"/>
                  <a:pt x="347" y="225"/>
                  <a:pt x="348" y="225"/>
                </a:cubicBezTo>
                <a:cubicBezTo>
                  <a:pt x="354" y="225"/>
                  <a:pt x="354" y="225"/>
                  <a:pt x="354" y="225"/>
                </a:cubicBezTo>
                <a:cubicBezTo>
                  <a:pt x="355" y="225"/>
                  <a:pt x="357" y="226"/>
                  <a:pt x="357" y="227"/>
                </a:cubicBezTo>
                <a:cubicBezTo>
                  <a:pt x="358" y="236"/>
                  <a:pt x="358" y="236"/>
                  <a:pt x="358" y="236"/>
                </a:cubicBezTo>
                <a:cubicBezTo>
                  <a:pt x="359" y="236"/>
                  <a:pt x="360" y="237"/>
                  <a:pt x="361" y="237"/>
                </a:cubicBezTo>
                <a:cubicBezTo>
                  <a:pt x="368" y="232"/>
                  <a:pt x="368" y="232"/>
                  <a:pt x="368" y="232"/>
                </a:cubicBezTo>
                <a:cubicBezTo>
                  <a:pt x="369" y="231"/>
                  <a:pt x="370" y="231"/>
                  <a:pt x="371" y="232"/>
                </a:cubicBezTo>
                <a:cubicBezTo>
                  <a:pt x="376" y="236"/>
                  <a:pt x="376" y="236"/>
                  <a:pt x="376" y="236"/>
                </a:cubicBezTo>
                <a:cubicBezTo>
                  <a:pt x="377" y="236"/>
                  <a:pt x="377" y="238"/>
                  <a:pt x="376" y="239"/>
                </a:cubicBezTo>
                <a:close/>
                <a:moveTo>
                  <a:pt x="365" y="260"/>
                </a:moveTo>
                <a:cubicBezTo>
                  <a:pt x="365" y="253"/>
                  <a:pt x="358" y="247"/>
                  <a:pt x="351" y="247"/>
                </a:cubicBezTo>
                <a:cubicBezTo>
                  <a:pt x="344" y="247"/>
                  <a:pt x="338" y="253"/>
                  <a:pt x="338" y="260"/>
                </a:cubicBezTo>
                <a:cubicBezTo>
                  <a:pt x="338" y="268"/>
                  <a:pt x="344" y="273"/>
                  <a:pt x="351" y="273"/>
                </a:cubicBezTo>
                <a:cubicBezTo>
                  <a:pt x="358" y="273"/>
                  <a:pt x="365" y="268"/>
                  <a:pt x="365" y="260"/>
                </a:cubicBezTo>
                <a:close/>
                <a:moveTo>
                  <a:pt x="351" y="255"/>
                </a:moveTo>
                <a:cubicBezTo>
                  <a:pt x="348" y="255"/>
                  <a:pt x="346" y="257"/>
                  <a:pt x="346" y="260"/>
                </a:cubicBezTo>
                <a:cubicBezTo>
                  <a:pt x="346" y="263"/>
                  <a:pt x="348" y="266"/>
                  <a:pt x="351" y="266"/>
                </a:cubicBezTo>
                <a:cubicBezTo>
                  <a:pt x="354" y="266"/>
                  <a:pt x="357" y="263"/>
                  <a:pt x="357" y="260"/>
                </a:cubicBezTo>
                <a:cubicBezTo>
                  <a:pt x="357" y="257"/>
                  <a:pt x="354" y="255"/>
                  <a:pt x="351" y="255"/>
                </a:cubicBezTo>
                <a:close/>
                <a:moveTo>
                  <a:pt x="293" y="180"/>
                </a:moveTo>
                <a:cubicBezTo>
                  <a:pt x="293" y="179"/>
                  <a:pt x="294" y="178"/>
                  <a:pt x="294" y="178"/>
                </a:cubicBezTo>
                <a:cubicBezTo>
                  <a:pt x="290" y="170"/>
                  <a:pt x="290" y="170"/>
                  <a:pt x="290" y="170"/>
                </a:cubicBezTo>
                <a:cubicBezTo>
                  <a:pt x="289" y="169"/>
                  <a:pt x="290" y="168"/>
                  <a:pt x="291" y="167"/>
                </a:cubicBezTo>
                <a:cubicBezTo>
                  <a:pt x="295" y="163"/>
                  <a:pt x="295" y="163"/>
                  <a:pt x="295" y="163"/>
                </a:cubicBezTo>
                <a:cubicBezTo>
                  <a:pt x="296" y="162"/>
                  <a:pt x="297" y="162"/>
                  <a:pt x="298" y="163"/>
                </a:cubicBezTo>
                <a:cubicBezTo>
                  <a:pt x="305" y="168"/>
                  <a:pt x="305" y="168"/>
                  <a:pt x="305" y="168"/>
                </a:cubicBezTo>
                <a:cubicBezTo>
                  <a:pt x="306" y="168"/>
                  <a:pt x="307" y="168"/>
                  <a:pt x="308" y="167"/>
                </a:cubicBezTo>
                <a:cubicBezTo>
                  <a:pt x="310" y="158"/>
                  <a:pt x="310" y="158"/>
                  <a:pt x="310" y="158"/>
                </a:cubicBezTo>
                <a:cubicBezTo>
                  <a:pt x="310" y="157"/>
                  <a:pt x="311" y="156"/>
                  <a:pt x="312" y="156"/>
                </a:cubicBezTo>
                <a:cubicBezTo>
                  <a:pt x="318" y="156"/>
                  <a:pt x="318" y="156"/>
                  <a:pt x="318" y="156"/>
                </a:cubicBezTo>
                <a:cubicBezTo>
                  <a:pt x="319" y="156"/>
                  <a:pt x="321" y="157"/>
                  <a:pt x="321" y="158"/>
                </a:cubicBezTo>
                <a:cubicBezTo>
                  <a:pt x="322" y="167"/>
                  <a:pt x="322" y="167"/>
                  <a:pt x="322" y="167"/>
                </a:cubicBezTo>
                <a:cubicBezTo>
                  <a:pt x="323" y="168"/>
                  <a:pt x="324" y="168"/>
                  <a:pt x="325" y="168"/>
                </a:cubicBezTo>
                <a:cubicBezTo>
                  <a:pt x="332" y="163"/>
                  <a:pt x="332" y="163"/>
                  <a:pt x="332" y="163"/>
                </a:cubicBezTo>
                <a:cubicBezTo>
                  <a:pt x="333" y="162"/>
                  <a:pt x="334" y="162"/>
                  <a:pt x="335" y="163"/>
                </a:cubicBezTo>
                <a:cubicBezTo>
                  <a:pt x="340" y="167"/>
                  <a:pt x="340" y="167"/>
                  <a:pt x="340" y="167"/>
                </a:cubicBezTo>
                <a:cubicBezTo>
                  <a:pt x="341" y="167"/>
                  <a:pt x="341" y="169"/>
                  <a:pt x="340" y="170"/>
                </a:cubicBezTo>
                <a:cubicBezTo>
                  <a:pt x="336" y="178"/>
                  <a:pt x="336" y="178"/>
                  <a:pt x="336" y="178"/>
                </a:cubicBezTo>
                <a:cubicBezTo>
                  <a:pt x="337" y="178"/>
                  <a:pt x="337" y="179"/>
                  <a:pt x="337" y="180"/>
                </a:cubicBezTo>
                <a:cubicBezTo>
                  <a:pt x="347" y="180"/>
                  <a:pt x="347" y="180"/>
                  <a:pt x="347" y="180"/>
                </a:cubicBezTo>
                <a:cubicBezTo>
                  <a:pt x="348" y="180"/>
                  <a:pt x="348" y="181"/>
                  <a:pt x="349" y="182"/>
                </a:cubicBezTo>
                <a:cubicBezTo>
                  <a:pt x="350" y="188"/>
                  <a:pt x="350" y="188"/>
                  <a:pt x="350" y="188"/>
                </a:cubicBezTo>
                <a:cubicBezTo>
                  <a:pt x="350" y="189"/>
                  <a:pt x="349" y="190"/>
                  <a:pt x="348" y="191"/>
                </a:cubicBezTo>
                <a:cubicBezTo>
                  <a:pt x="340" y="194"/>
                  <a:pt x="340" y="194"/>
                  <a:pt x="340" y="194"/>
                </a:cubicBezTo>
                <a:cubicBezTo>
                  <a:pt x="340" y="195"/>
                  <a:pt x="340" y="196"/>
                  <a:pt x="340" y="197"/>
                </a:cubicBezTo>
                <a:cubicBezTo>
                  <a:pt x="347" y="203"/>
                  <a:pt x="347" y="203"/>
                  <a:pt x="347" y="203"/>
                </a:cubicBezTo>
                <a:cubicBezTo>
                  <a:pt x="347" y="203"/>
                  <a:pt x="348" y="204"/>
                  <a:pt x="347" y="205"/>
                </a:cubicBezTo>
                <a:cubicBezTo>
                  <a:pt x="344" y="211"/>
                  <a:pt x="344" y="211"/>
                  <a:pt x="344" y="211"/>
                </a:cubicBezTo>
                <a:cubicBezTo>
                  <a:pt x="344" y="212"/>
                  <a:pt x="342" y="212"/>
                  <a:pt x="341" y="212"/>
                </a:cubicBezTo>
                <a:cubicBezTo>
                  <a:pt x="333" y="209"/>
                  <a:pt x="333" y="209"/>
                  <a:pt x="333" y="209"/>
                </a:cubicBezTo>
                <a:cubicBezTo>
                  <a:pt x="332" y="210"/>
                  <a:pt x="332" y="210"/>
                  <a:pt x="331" y="211"/>
                </a:cubicBezTo>
                <a:cubicBezTo>
                  <a:pt x="333" y="220"/>
                  <a:pt x="333" y="220"/>
                  <a:pt x="333" y="220"/>
                </a:cubicBezTo>
                <a:cubicBezTo>
                  <a:pt x="333" y="220"/>
                  <a:pt x="333" y="222"/>
                  <a:pt x="332" y="222"/>
                </a:cubicBezTo>
                <a:cubicBezTo>
                  <a:pt x="326" y="224"/>
                  <a:pt x="326" y="224"/>
                  <a:pt x="326" y="224"/>
                </a:cubicBezTo>
                <a:cubicBezTo>
                  <a:pt x="325" y="225"/>
                  <a:pt x="324" y="224"/>
                  <a:pt x="323" y="224"/>
                </a:cubicBezTo>
                <a:cubicBezTo>
                  <a:pt x="318" y="216"/>
                  <a:pt x="318" y="216"/>
                  <a:pt x="318" y="216"/>
                </a:cubicBezTo>
                <a:cubicBezTo>
                  <a:pt x="317" y="216"/>
                  <a:pt x="316" y="216"/>
                  <a:pt x="315" y="216"/>
                </a:cubicBezTo>
                <a:cubicBezTo>
                  <a:pt x="315" y="216"/>
                  <a:pt x="315" y="216"/>
                  <a:pt x="315" y="216"/>
                </a:cubicBezTo>
                <a:cubicBezTo>
                  <a:pt x="311" y="224"/>
                  <a:pt x="311" y="224"/>
                  <a:pt x="311" y="224"/>
                </a:cubicBezTo>
                <a:cubicBezTo>
                  <a:pt x="310" y="225"/>
                  <a:pt x="309" y="226"/>
                  <a:pt x="308" y="225"/>
                </a:cubicBezTo>
                <a:cubicBezTo>
                  <a:pt x="302" y="223"/>
                  <a:pt x="302" y="224"/>
                  <a:pt x="302" y="224"/>
                </a:cubicBezTo>
                <a:cubicBezTo>
                  <a:pt x="301" y="223"/>
                  <a:pt x="300" y="222"/>
                  <a:pt x="300" y="221"/>
                </a:cubicBezTo>
                <a:cubicBezTo>
                  <a:pt x="301" y="212"/>
                  <a:pt x="301" y="212"/>
                  <a:pt x="301" y="212"/>
                </a:cubicBezTo>
                <a:cubicBezTo>
                  <a:pt x="300" y="212"/>
                  <a:pt x="300" y="211"/>
                  <a:pt x="299" y="210"/>
                </a:cubicBezTo>
                <a:cubicBezTo>
                  <a:pt x="290" y="213"/>
                  <a:pt x="290" y="213"/>
                  <a:pt x="290" y="213"/>
                </a:cubicBezTo>
                <a:cubicBezTo>
                  <a:pt x="289" y="214"/>
                  <a:pt x="288" y="213"/>
                  <a:pt x="287" y="212"/>
                </a:cubicBezTo>
                <a:cubicBezTo>
                  <a:pt x="284" y="207"/>
                  <a:pt x="284" y="207"/>
                  <a:pt x="284" y="207"/>
                </a:cubicBezTo>
                <a:cubicBezTo>
                  <a:pt x="284" y="206"/>
                  <a:pt x="284" y="205"/>
                  <a:pt x="285" y="204"/>
                </a:cubicBezTo>
                <a:cubicBezTo>
                  <a:pt x="291" y="198"/>
                  <a:pt x="291" y="198"/>
                  <a:pt x="291" y="198"/>
                </a:cubicBezTo>
                <a:cubicBezTo>
                  <a:pt x="291" y="197"/>
                  <a:pt x="291" y="195"/>
                  <a:pt x="291" y="194"/>
                </a:cubicBezTo>
                <a:cubicBezTo>
                  <a:pt x="282" y="191"/>
                  <a:pt x="282" y="191"/>
                  <a:pt x="282" y="191"/>
                </a:cubicBezTo>
                <a:cubicBezTo>
                  <a:pt x="281" y="190"/>
                  <a:pt x="280" y="189"/>
                  <a:pt x="281" y="188"/>
                </a:cubicBezTo>
                <a:cubicBezTo>
                  <a:pt x="282" y="182"/>
                  <a:pt x="282" y="182"/>
                  <a:pt x="282" y="182"/>
                </a:cubicBezTo>
                <a:cubicBezTo>
                  <a:pt x="282" y="181"/>
                  <a:pt x="283" y="180"/>
                  <a:pt x="284" y="180"/>
                </a:cubicBezTo>
                <a:cubicBezTo>
                  <a:pt x="293" y="180"/>
                  <a:pt x="293" y="180"/>
                  <a:pt x="293" y="180"/>
                </a:cubicBezTo>
                <a:close/>
                <a:moveTo>
                  <a:pt x="302" y="191"/>
                </a:moveTo>
                <a:cubicBezTo>
                  <a:pt x="302" y="199"/>
                  <a:pt x="308" y="204"/>
                  <a:pt x="315" y="204"/>
                </a:cubicBezTo>
                <a:cubicBezTo>
                  <a:pt x="322" y="204"/>
                  <a:pt x="329" y="199"/>
                  <a:pt x="329" y="191"/>
                </a:cubicBezTo>
                <a:cubicBezTo>
                  <a:pt x="329" y="184"/>
                  <a:pt x="322" y="178"/>
                  <a:pt x="315" y="178"/>
                </a:cubicBezTo>
                <a:cubicBezTo>
                  <a:pt x="308" y="178"/>
                  <a:pt x="302" y="184"/>
                  <a:pt x="302" y="191"/>
                </a:cubicBezTo>
                <a:close/>
                <a:moveTo>
                  <a:pt x="457" y="59"/>
                </a:moveTo>
                <a:cubicBezTo>
                  <a:pt x="460" y="59"/>
                  <a:pt x="463" y="56"/>
                  <a:pt x="463" y="53"/>
                </a:cubicBezTo>
                <a:cubicBezTo>
                  <a:pt x="463" y="50"/>
                  <a:pt x="460" y="48"/>
                  <a:pt x="457" y="48"/>
                </a:cubicBezTo>
                <a:cubicBezTo>
                  <a:pt x="454" y="48"/>
                  <a:pt x="451" y="50"/>
                  <a:pt x="451" y="53"/>
                </a:cubicBezTo>
                <a:cubicBezTo>
                  <a:pt x="451" y="56"/>
                  <a:pt x="454" y="59"/>
                  <a:pt x="457" y="59"/>
                </a:cubicBezTo>
                <a:close/>
                <a:moveTo>
                  <a:pt x="471" y="111"/>
                </a:moveTo>
                <a:cubicBezTo>
                  <a:pt x="471" y="110"/>
                  <a:pt x="472" y="109"/>
                  <a:pt x="472" y="109"/>
                </a:cubicBezTo>
                <a:cubicBezTo>
                  <a:pt x="468" y="101"/>
                  <a:pt x="468" y="101"/>
                  <a:pt x="468" y="101"/>
                </a:cubicBezTo>
                <a:cubicBezTo>
                  <a:pt x="467" y="100"/>
                  <a:pt x="467" y="99"/>
                  <a:pt x="468" y="98"/>
                </a:cubicBezTo>
                <a:cubicBezTo>
                  <a:pt x="473" y="94"/>
                  <a:pt x="473" y="94"/>
                  <a:pt x="473" y="94"/>
                </a:cubicBezTo>
                <a:cubicBezTo>
                  <a:pt x="474" y="93"/>
                  <a:pt x="475" y="93"/>
                  <a:pt x="476" y="94"/>
                </a:cubicBezTo>
                <a:cubicBezTo>
                  <a:pt x="483" y="99"/>
                  <a:pt x="483" y="99"/>
                  <a:pt x="483" y="99"/>
                </a:cubicBezTo>
                <a:cubicBezTo>
                  <a:pt x="484" y="99"/>
                  <a:pt x="485" y="99"/>
                  <a:pt x="486" y="98"/>
                </a:cubicBezTo>
                <a:cubicBezTo>
                  <a:pt x="488" y="89"/>
                  <a:pt x="488" y="89"/>
                  <a:pt x="488" y="89"/>
                </a:cubicBezTo>
                <a:cubicBezTo>
                  <a:pt x="488" y="88"/>
                  <a:pt x="489" y="88"/>
                  <a:pt x="490" y="88"/>
                </a:cubicBezTo>
                <a:cubicBezTo>
                  <a:pt x="496" y="88"/>
                  <a:pt x="496" y="88"/>
                  <a:pt x="496" y="88"/>
                </a:cubicBezTo>
                <a:cubicBezTo>
                  <a:pt x="497" y="88"/>
                  <a:pt x="498" y="88"/>
                  <a:pt x="498" y="89"/>
                </a:cubicBezTo>
                <a:cubicBezTo>
                  <a:pt x="500" y="98"/>
                  <a:pt x="500" y="98"/>
                  <a:pt x="500" y="98"/>
                </a:cubicBezTo>
                <a:cubicBezTo>
                  <a:pt x="501" y="99"/>
                  <a:pt x="502" y="99"/>
                  <a:pt x="503" y="99"/>
                </a:cubicBezTo>
                <a:cubicBezTo>
                  <a:pt x="510" y="94"/>
                  <a:pt x="510" y="94"/>
                  <a:pt x="510" y="94"/>
                </a:cubicBezTo>
                <a:cubicBezTo>
                  <a:pt x="511" y="93"/>
                  <a:pt x="512" y="93"/>
                  <a:pt x="513" y="94"/>
                </a:cubicBezTo>
                <a:cubicBezTo>
                  <a:pt x="518" y="98"/>
                  <a:pt x="518" y="98"/>
                  <a:pt x="518" y="98"/>
                </a:cubicBezTo>
                <a:cubicBezTo>
                  <a:pt x="519" y="98"/>
                  <a:pt x="519" y="100"/>
                  <a:pt x="518" y="101"/>
                </a:cubicBezTo>
                <a:cubicBezTo>
                  <a:pt x="514" y="109"/>
                  <a:pt x="514" y="109"/>
                  <a:pt x="514" y="109"/>
                </a:cubicBezTo>
                <a:cubicBezTo>
                  <a:pt x="514" y="109"/>
                  <a:pt x="515" y="110"/>
                  <a:pt x="515" y="111"/>
                </a:cubicBezTo>
                <a:cubicBezTo>
                  <a:pt x="524" y="111"/>
                  <a:pt x="524" y="111"/>
                  <a:pt x="524" y="111"/>
                </a:cubicBezTo>
                <a:cubicBezTo>
                  <a:pt x="525" y="111"/>
                  <a:pt x="526" y="112"/>
                  <a:pt x="527" y="113"/>
                </a:cubicBezTo>
                <a:cubicBezTo>
                  <a:pt x="528" y="119"/>
                  <a:pt x="528" y="119"/>
                  <a:pt x="528" y="119"/>
                </a:cubicBezTo>
                <a:cubicBezTo>
                  <a:pt x="528" y="120"/>
                  <a:pt x="527" y="121"/>
                  <a:pt x="526" y="122"/>
                </a:cubicBezTo>
                <a:cubicBezTo>
                  <a:pt x="518" y="125"/>
                  <a:pt x="518" y="125"/>
                  <a:pt x="518" y="125"/>
                </a:cubicBezTo>
                <a:cubicBezTo>
                  <a:pt x="518" y="126"/>
                  <a:pt x="518" y="127"/>
                  <a:pt x="517" y="128"/>
                </a:cubicBezTo>
                <a:cubicBezTo>
                  <a:pt x="524" y="134"/>
                  <a:pt x="524" y="134"/>
                  <a:pt x="524" y="134"/>
                </a:cubicBezTo>
                <a:cubicBezTo>
                  <a:pt x="525" y="134"/>
                  <a:pt x="525" y="136"/>
                  <a:pt x="525" y="136"/>
                </a:cubicBezTo>
                <a:cubicBezTo>
                  <a:pt x="522" y="142"/>
                  <a:pt x="522" y="142"/>
                  <a:pt x="522" y="142"/>
                </a:cubicBezTo>
                <a:cubicBezTo>
                  <a:pt x="521" y="143"/>
                  <a:pt x="520" y="144"/>
                  <a:pt x="519" y="143"/>
                </a:cubicBezTo>
                <a:cubicBezTo>
                  <a:pt x="510" y="140"/>
                  <a:pt x="510" y="140"/>
                  <a:pt x="510" y="140"/>
                </a:cubicBezTo>
                <a:cubicBezTo>
                  <a:pt x="510" y="141"/>
                  <a:pt x="510" y="141"/>
                  <a:pt x="509" y="142"/>
                </a:cubicBezTo>
                <a:cubicBezTo>
                  <a:pt x="511" y="151"/>
                  <a:pt x="511" y="151"/>
                  <a:pt x="511" y="151"/>
                </a:cubicBezTo>
                <a:cubicBezTo>
                  <a:pt x="511" y="152"/>
                  <a:pt x="511" y="153"/>
                  <a:pt x="510" y="153"/>
                </a:cubicBezTo>
                <a:cubicBezTo>
                  <a:pt x="504" y="156"/>
                  <a:pt x="504" y="156"/>
                  <a:pt x="504" y="156"/>
                </a:cubicBezTo>
                <a:cubicBezTo>
                  <a:pt x="503" y="156"/>
                  <a:pt x="502" y="156"/>
                  <a:pt x="501" y="155"/>
                </a:cubicBezTo>
                <a:cubicBezTo>
                  <a:pt x="496" y="147"/>
                  <a:pt x="496" y="147"/>
                  <a:pt x="496" y="147"/>
                </a:cubicBezTo>
                <a:cubicBezTo>
                  <a:pt x="495" y="148"/>
                  <a:pt x="494" y="148"/>
                  <a:pt x="493" y="148"/>
                </a:cubicBezTo>
                <a:cubicBezTo>
                  <a:pt x="493" y="148"/>
                  <a:pt x="493" y="148"/>
                  <a:pt x="493" y="148"/>
                </a:cubicBezTo>
                <a:cubicBezTo>
                  <a:pt x="489" y="156"/>
                  <a:pt x="489" y="156"/>
                  <a:pt x="489" y="156"/>
                </a:cubicBezTo>
                <a:cubicBezTo>
                  <a:pt x="488" y="156"/>
                  <a:pt x="487" y="157"/>
                  <a:pt x="486" y="156"/>
                </a:cubicBezTo>
                <a:cubicBezTo>
                  <a:pt x="480" y="155"/>
                  <a:pt x="480" y="155"/>
                  <a:pt x="480" y="155"/>
                </a:cubicBezTo>
                <a:cubicBezTo>
                  <a:pt x="479" y="154"/>
                  <a:pt x="478" y="153"/>
                  <a:pt x="478" y="152"/>
                </a:cubicBezTo>
                <a:cubicBezTo>
                  <a:pt x="479" y="143"/>
                  <a:pt x="479" y="143"/>
                  <a:pt x="479" y="143"/>
                </a:cubicBezTo>
                <a:cubicBezTo>
                  <a:pt x="478" y="143"/>
                  <a:pt x="478" y="142"/>
                  <a:pt x="477" y="141"/>
                </a:cubicBezTo>
                <a:cubicBezTo>
                  <a:pt x="468" y="144"/>
                  <a:pt x="468" y="144"/>
                  <a:pt x="468" y="144"/>
                </a:cubicBezTo>
                <a:cubicBezTo>
                  <a:pt x="467" y="145"/>
                  <a:pt x="466" y="144"/>
                  <a:pt x="465" y="144"/>
                </a:cubicBezTo>
                <a:cubicBezTo>
                  <a:pt x="462" y="138"/>
                  <a:pt x="462" y="138"/>
                  <a:pt x="462" y="138"/>
                </a:cubicBezTo>
                <a:cubicBezTo>
                  <a:pt x="462" y="137"/>
                  <a:pt x="462" y="136"/>
                  <a:pt x="462" y="135"/>
                </a:cubicBezTo>
                <a:cubicBezTo>
                  <a:pt x="469" y="129"/>
                  <a:pt x="469" y="129"/>
                  <a:pt x="469" y="129"/>
                </a:cubicBezTo>
                <a:cubicBezTo>
                  <a:pt x="469" y="128"/>
                  <a:pt x="468" y="126"/>
                  <a:pt x="468" y="125"/>
                </a:cubicBezTo>
                <a:cubicBezTo>
                  <a:pt x="460" y="122"/>
                  <a:pt x="460" y="122"/>
                  <a:pt x="460" y="122"/>
                </a:cubicBezTo>
                <a:cubicBezTo>
                  <a:pt x="459" y="121"/>
                  <a:pt x="458" y="120"/>
                  <a:pt x="459" y="119"/>
                </a:cubicBezTo>
                <a:cubicBezTo>
                  <a:pt x="459" y="113"/>
                  <a:pt x="459" y="113"/>
                  <a:pt x="459" y="113"/>
                </a:cubicBezTo>
                <a:cubicBezTo>
                  <a:pt x="460" y="112"/>
                  <a:pt x="461" y="111"/>
                  <a:pt x="462" y="111"/>
                </a:cubicBezTo>
                <a:cubicBezTo>
                  <a:pt x="471" y="111"/>
                  <a:pt x="471" y="111"/>
                  <a:pt x="471" y="111"/>
                </a:cubicBezTo>
                <a:close/>
                <a:moveTo>
                  <a:pt x="480" y="122"/>
                </a:moveTo>
                <a:cubicBezTo>
                  <a:pt x="480" y="130"/>
                  <a:pt x="486" y="136"/>
                  <a:pt x="493" y="136"/>
                </a:cubicBezTo>
                <a:cubicBezTo>
                  <a:pt x="500" y="136"/>
                  <a:pt x="506" y="130"/>
                  <a:pt x="506" y="122"/>
                </a:cubicBezTo>
                <a:cubicBezTo>
                  <a:pt x="506" y="115"/>
                  <a:pt x="500" y="109"/>
                  <a:pt x="493" y="109"/>
                </a:cubicBezTo>
                <a:cubicBezTo>
                  <a:pt x="486" y="109"/>
                  <a:pt x="480" y="115"/>
                  <a:pt x="480" y="122"/>
                </a:cubicBezTo>
                <a:close/>
                <a:moveTo>
                  <a:pt x="577" y="180"/>
                </a:moveTo>
                <a:cubicBezTo>
                  <a:pt x="577" y="179"/>
                  <a:pt x="577" y="178"/>
                  <a:pt x="578" y="178"/>
                </a:cubicBezTo>
                <a:cubicBezTo>
                  <a:pt x="573" y="170"/>
                  <a:pt x="573" y="170"/>
                  <a:pt x="573" y="170"/>
                </a:cubicBezTo>
                <a:cubicBezTo>
                  <a:pt x="573" y="169"/>
                  <a:pt x="573" y="168"/>
                  <a:pt x="574" y="167"/>
                </a:cubicBezTo>
                <a:cubicBezTo>
                  <a:pt x="579" y="163"/>
                  <a:pt x="579" y="163"/>
                  <a:pt x="579" y="163"/>
                </a:cubicBezTo>
                <a:cubicBezTo>
                  <a:pt x="580" y="162"/>
                  <a:pt x="581" y="162"/>
                  <a:pt x="582" y="163"/>
                </a:cubicBezTo>
                <a:cubicBezTo>
                  <a:pt x="589" y="168"/>
                  <a:pt x="589" y="168"/>
                  <a:pt x="589" y="168"/>
                </a:cubicBezTo>
                <a:cubicBezTo>
                  <a:pt x="590" y="168"/>
                  <a:pt x="591" y="168"/>
                  <a:pt x="592" y="167"/>
                </a:cubicBezTo>
                <a:cubicBezTo>
                  <a:pt x="593" y="158"/>
                  <a:pt x="593" y="158"/>
                  <a:pt x="593" y="158"/>
                </a:cubicBezTo>
                <a:cubicBezTo>
                  <a:pt x="594" y="157"/>
                  <a:pt x="595" y="156"/>
                  <a:pt x="596" y="156"/>
                </a:cubicBezTo>
                <a:cubicBezTo>
                  <a:pt x="602" y="156"/>
                  <a:pt x="602" y="156"/>
                  <a:pt x="602" y="156"/>
                </a:cubicBezTo>
                <a:cubicBezTo>
                  <a:pt x="603" y="156"/>
                  <a:pt x="604" y="157"/>
                  <a:pt x="604" y="158"/>
                </a:cubicBezTo>
                <a:cubicBezTo>
                  <a:pt x="606" y="167"/>
                  <a:pt x="606" y="167"/>
                  <a:pt x="606" y="167"/>
                </a:cubicBezTo>
                <a:cubicBezTo>
                  <a:pt x="607" y="168"/>
                  <a:pt x="608" y="168"/>
                  <a:pt x="609" y="168"/>
                </a:cubicBezTo>
                <a:cubicBezTo>
                  <a:pt x="616" y="163"/>
                  <a:pt x="616" y="163"/>
                  <a:pt x="616" y="163"/>
                </a:cubicBezTo>
                <a:cubicBezTo>
                  <a:pt x="616" y="162"/>
                  <a:pt x="618" y="162"/>
                  <a:pt x="619" y="163"/>
                </a:cubicBezTo>
                <a:cubicBezTo>
                  <a:pt x="623" y="167"/>
                  <a:pt x="623" y="167"/>
                  <a:pt x="623" y="167"/>
                </a:cubicBezTo>
                <a:cubicBezTo>
                  <a:pt x="624" y="167"/>
                  <a:pt x="625" y="169"/>
                  <a:pt x="624" y="170"/>
                </a:cubicBezTo>
                <a:cubicBezTo>
                  <a:pt x="620" y="178"/>
                  <a:pt x="620" y="178"/>
                  <a:pt x="620" y="178"/>
                </a:cubicBezTo>
                <a:cubicBezTo>
                  <a:pt x="620" y="178"/>
                  <a:pt x="621" y="179"/>
                  <a:pt x="621" y="180"/>
                </a:cubicBezTo>
                <a:cubicBezTo>
                  <a:pt x="630" y="180"/>
                  <a:pt x="630" y="180"/>
                  <a:pt x="630" y="180"/>
                </a:cubicBezTo>
                <a:cubicBezTo>
                  <a:pt x="631" y="180"/>
                  <a:pt x="632" y="181"/>
                  <a:pt x="632" y="182"/>
                </a:cubicBezTo>
                <a:cubicBezTo>
                  <a:pt x="634" y="188"/>
                  <a:pt x="634" y="188"/>
                  <a:pt x="634" y="188"/>
                </a:cubicBezTo>
                <a:cubicBezTo>
                  <a:pt x="634" y="189"/>
                  <a:pt x="633" y="190"/>
                  <a:pt x="632" y="191"/>
                </a:cubicBezTo>
                <a:cubicBezTo>
                  <a:pt x="624" y="194"/>
                  <a:pt x="624" y="194"/>
                  <a:pt x="624" y="194"/>
                </a:cubicBezTo>
                <a:cubicBezTo>
                  <a:pt x="623" y="195"/>
                  <a:pt x="623" y="196"/>
                  <a:pt x="623" y="197"/>
                </a:cubicBezTo>
                <a:cubicBezTo>
                  <a:pt x="630" y="203"/>
                  <a:pt x="630" y="203"/>
                  <a:pt x="630" y="203"/>
                </a:cubicBezTo>
                <a:cubicBezTo>
                  <a:pt x="631" y="203"/>
                  <a:pt x="631" y="204"/>
                  <a:pt x="631" y="205"/>
                </a:cubicBezTo>
                <a:cubicBezTo>
                  <a:pt x="628" y="211"/>
                  <a:pt x="628" y="211"/>
                  <a:pt x="628" y="211"/>
                </a:cubicBezTo>
                <a:cubicBezTo>
                  <a:pt x="627" y="212"/>
                  <a:pt x="626" y="212"/>
                  <a:pt x="625" y="212"/>
                </a:cubicBezTo>
                <a:cubicBezTo>
                  <a:pt x="616" y="209"/>
                  <a:pt x="616" y="209"/>
                  <a:pt x="616" y="209"/>
                </a:cubicBezTo>
                <a:cubicBezTo>
                  <a:pt x="616" y="210"/>
                  <a:pt x="615" y="210"/>
                  <a:pt x="615" y="211"/>
                </a:cubicBezTo>
                <a:cubicBezTo>
                  <a:pt x="617" y="220"/>
                  <a:pt x="617" y="220"/>
                  <a:pt x="617" y="220"/>
                </a:cubicBezTo>
                <a:cubicBezTo>
                  <a:pt x="617" y="220"/>
                  <a:pt x="616" y="222"/>
                  <a:pt x="615" y="222"/>
                </a:cubicBezTo>
                <a:cubicBezTo>
                  <a:pt x="610" y="224"/>
                  <a:pt x="610" y="224"/>
                  <a:pt x="610" y="224"/>
                </a:cubicBezTo>
                <a:cubicBezTo>
                  <a:pt x="609" y="225"/>
                  <a:pt x="608" y="224"/>
                  <a:pt x="607" y="224"/>
                </a:cubicBezTo>
                <a:cubicBezTo>
                  <a:pt x="602" y="216"/>
                  <a:pt x="602" y="216"/>
                  <a:pt x="602" y="216"/>
                </a:cubicBezTo>
                <a:cubicBezTo>
                  <a:pt x="601" y="216"/>
                  <a:pt x="600" y="216"/>
                  <a:pt x="599" y="216"/>
                </a:cubicBezTo>
                <a:cubicBezTo>
                  <a:pt x="599" y="216"/>
                  <a:pt x="599" y="216"/>
                  <a:pt x="599" y="216"/>
                </a:cubicBezTo>
                <a:cubicBezTo>
                  <a:pt x="594" y="224"/>
                  <a:pt x="594" y="224"/>
                  <a:pt x="594" y="224"/>
                </a:cubicBezTo>
                <a:cubicBezTo>
                  <a:pt x="594" y="225"/>
                  <a:pt x="593" y="226"/>
                  <a:pt x="592" y="225"/>
                </a:cubicBezTo>
                <a:cubicBezTo>
                  <a:pt x="585" y="223"/>
                  <a:pt x="585" y="224"/>
                  <a:pt x="585" y="224"/>
                </a:cubicBezTo>
                <a:cubicBezTo>
                  <a:pt x="585" y="223"/>
                  <a:pt x="584" y="222"/>
                  <a:pt x="584" y="221"/>
                </a:cubicBezTo>
                <a:cubicBezTo>
                  <a:pt x="585" y="212"/>
                  <a:pt x="585" y="212"/>
                  <a:pt x="585" y="212"/>
                </a:cubicBezTo>
                <a:cubicBezTo>
                  <a:pt x="584" y="212"/>
                  <a:pt x="583" y="211"/>
                  <a:pt x="582" y="210"/>
                </a:cubicBezTo>
                <a:cubicBezTo>
                  <a:pt x="574" y="213"/>
                  <a:pt x="574" y="213"/>
                  <a:pt x="574" y="213"/>
                </a:cubicBezTo>
                <a:cubicBezTo>
                  <a:pt x="573" y="214"/>
                  <a:pt x="572" y="213"/>
                  <a:pt x="571" y="212"/>
                </a:cubicBezTo>
                <a:cubicBezTo>
                  <a:pt x="568" y="207"/>
                  <a:pt x="568" y="207"/>
                  <a:pt x="568" y="207"/>
                </a:cubicBezTo>
                <a:cubicBezTo>
                  <a:pt x="567" y="206"/>
                  <a:pt x="567" y="205"/>
                  <a:pt x="568" y="204"/>
                </a:cubicBezTo>
                <a:cubicBezTo>
                  <a:pt x="575" y="198"/>
                  <a:pt x="575" y="198"/>
                  <a:pt x="575" y="198"/>
                </a:cubicBezTo>
                <a:cubicBezTo>
                  <a:pt x="574" y="197"/>
                  <a:pt x="574" y="195"/>
                  <a:pt x="574" y="194"/>
                </a:cubicBezTo>
                <a:cubicBezTo>
                  <a:pt x="566" y="191"/>
                  <a:pt x="566" y="191"/>
                  <a:pt x="566" y="191"/>
                </a:cubicBezTo>
                <a:cubicBezTo>
                  <a:pt x="565" y="190"/>
                  <a:pt x="564" y="189"/>
                  <a:pt x="564" y="188"/>
                </a:cubicBezTo>
                <a:cubicBezTo>
                  <a:pt x="565" y="182"/>
                  <a:pt x="565" y="182"/>
                  <a:pt x="565" y="182"/>
                </a:cubicBezTo>
                <a:cubicBezTo>
                  <a:pt x="566" y="181"/>
                  <a:pt x="566" y="180"/>
                  <a:pt x="568" y="180"/>
                </a:cubicBezTo>
                <a:cubicBezTo>
                  <a:pt x="577" y="180"/>
                  <a:pt x="577" y="180"/>
                  <a:pt x="577" y="180"/>
                </a:cubicBezTo>
                <a:close/>
                <a:moveTo>
                  <a:pt x="585" y="191"/>
                </a:moveTo>
                <a:cubicBezTo>
                  <a:pt x="585" y="199"/>
                  <a:pt x="592" y="204"/>
                  <a:pt x="599" y="204"/>
                </a:cubicBezTo>
                <a:cubicBezTo>
                  <a:pt x="606" y="204"/>
                  <a:pt x="612" y="199"/>
                  <a:pt x="612" y="191"/>
                </a:cubicBezTo>
                <a:cubicBezTo>
                  <a:pt x="612" y="184"/>
                  <a:pt x="606" y="178"/>
                  <a:pt x="599" y="178"/>
                </a:cubicBezTo>
                <a:cubicBezTo>
                  <a:pt x="592" y="178"/>
                  <a:pt x="585" y="184"/>
                  <a:pt x="585" y="191"/>
                </a:cubicBezTo>
                <a:close/>
                <a:moveTo>
                  <a:pt x="57" y="607"/>
                </a:moveTo>
                <a:cubicBezTo>
                  <a:pt x="56" y="608"/>
                  <a:pt x="56" y="609"/>
                  <a:pt x="56" y="610"/>
                </a:cubicBezTo>
                <a:cubicBezTo>
                  <a:pt x="63" y="616"/>
                  <a:pt x="63" y="616"/>
                  <a:pt x="63" y="616"/>
                </a:cubicBezTo>
                <a:cubicBezTo>
                  <a:pt x="64" y="617"/>
                  <a:pt x="64" y="618"/>
                  <a:pt x="63" y="619"/>
                </a:cubicBezTo>
                <a:cubicBezTo>
                  <a:pt x="61" y="624"/>
                  <a:pt x="61" y="624"/>
                  <a:pt x="61" y="624"/>
                </a:cubicBezTo>
                <a:cubicBezTo>
                  <a:pt x="60" y="625"/>
                  <a:pt x="59" y="626"/>
                  <a:pt x="58" y="626"/>
                </a:cubicBezTo>
                <a:cubicBezTo>
                  <a:pt x="49" y="623"/>
                  <a:pt x="49" y="623"/>
                  <a:pt x="49" y="623"/>
                </a:cubicBezTo>
                <a:cubicBezTo>
                  <a:pt x="49" y="623"/>
                  <a:pt x="48" y="623"/>
                  <a:pt x="48" y="624"/>
                </a:cubicBezTo>
                <a:cubicBezTo>
                  <a:pt x="50" y="633"/>
                  <a:pt x="50" y="633"/>
                  <a:pt x="50" y="633"/>
                </a:cubicBezTo>
                <a:cubicBezTo>
                  <a:pt x="50" y="634"/>
                  <a:pt x="49" y="635"/>
                  <a:pt x="48" y="635"/>
                </a:cubicBezTo>
                <a:cubicBezTo>
                  <a:pt x="43" y="638"/>
                  <a:pt x="43" y="638"/>
                  <a:pt x="43" y="638"/>
                </a:cubicBezTo>
                <a:cubicBezTo>
                  <a:pt x="42" y="638"/>
                  <a:pt x="40" y="638"/>
                  <a:pt x="40" y="637"/>
                </a:cubicBezTo>
                <a:cubicBezTo>
                  <a:pt x="35" y="630"/>
                  <a:pt x="35" y="630"/>
                  <a:pt x="35" y="630"/>
                </a:cubicBezTo>
                <a:cubicBezTo>
                  <a:pt x="34" y="630"/>
                  <a:pt x="33" y="630"/>
                  <a:pt x="32" y="630"/>
                </a:cubicBezTo>
                <a:cubicBezTo>
                  <a:pt x="31" y="630"/>
                  <a:pt x="31" y="630"/>
                  <a:pt x="31" y="630"/>
                </a:cubicBezTo>
                <a:cubicBezTo>
                  <a:pt x="27" y="638"/>
                  <a:pt x="27" y="638"/>
                  <a:pt x="27" y="638"/>
                </a:cubicBezTo>
                <a:cubicBezTo>
                  <a:pt x="27" y="639"/>
                  <a:pt x="25" y="639"/>
                  <a:pt x="24" y="639"/>
                </a:cubicBezTo>
                <a:cubicBezTo>
                  <a:pt x="18" y="637"/>
                  <a:pt x="18" y="637"/>
                  <a:pt x="18" y="637"/>
                </a:cubicBezTo>
                <a:cubicBezTo>
                  <a:pt x="17" y="637"/>
                  <a:pt x="17" y="636"/>
                  <a:pt x="17" y="634"/>
                </a:cubicBezTo>
                <a:cubicBezTo>
                  <a:pt x="18" y="626"/>
                  <a:pt x="18" y="626"/>
                  <a:pt x="18" y="626"/>
                </a:cubicBezTo>
                <a:cubicBezTo>
                  <a:pt x="17" y="625"/>
                  <a:pt x="16" y="624"/>
                  <a:pt x="15" y="624"/>
                </a:cubicBezTo>
                <a:cubicBezTo>
                  <a:pt x="7" y="627"/>
                  <a:pt x="7" y="627"/>
                  <a:pt x="7" y="627"/>
                </a:cubicBezTo>
                <a:cubicBezTo>
                  <a:pt x="6" y="627"/>
                  <a:pt x="4" y="627"/>
                  <a:pt x="4" y="626"/>
                </a:cubicBezTo>
                <a:cubicBezTo>
                  <a:pt x="3" y="624"/>
                  <a:pt x="2" y="623"/>
                  <a:pt x="1" y="622"/>
                </a:cubicBezTo>
                <a:cubicBezTo>
                  <a:pt x="1" y="620"/>
                  <a:pt x="2" y="619"/>
                  <a:pt x="2" y="617"/>
                </a:cubicBezTo>
                <a:cubicBezTo>
                  <a:pt x="7" y="611"/>
                  <a:pt x="8" y="611"/>
                  <a:pt x="8" y="611"/>
                </a:cubicBezTo>
                <a:cubicBezTo>
                  <a:pt x="7" y="610"/>
                  <a:pt x="7" y="609"/>
                  <a:pt x="7" y="607"/>
                </a:cubicBezTo>
                <a:cubicBezTo>
                  <a:pt x="5" y="607"/>
                  <a:pt x="4" y="606"/>
                  <a:pt x="3" y="606"/>
                </a:cubicBezTo>
                <a:cubicBezTo>
                  <a:pt x="3" y="602"/>
                  <a:pt x="3" y="597"/>
                  <a:pt x="4" y="593"/>
                </a:cubicBezTo>
                <a:cubicBezTo>
                  <a:pt x="9" y="593"/>
                  <a:pt x="9" y="593"/>
                  <a:pt x="9" y="593"/>
                </a:cubicBezTo>
                <a:cubicBezTo>
                  <a:pt x="10" y="592"/>
                  <a:pt x="10" y="592"/>
                  <a:pt x="11" y="591"/>
                </a:cubicBezTo>
                <a:cubicBezTo>
                  <a:pt x="6" y="583"/>
                  <a:pt x="6" y="583"/>
                  <a:pt x="6" y="583"/>
                </a:cubicBezTo>
                <a:cubicBezTo>
                  <a:pt x="6" y="582"/>
                  <a:pt x="6" y="581"/>
                  <a:pt x="7" y="580"/>
                </a:cubicBezTo>
                <a:cubicBezTo>
                  <a:pt x="12" y="576"/>
                  <a:pt x="12" y="576"/>
                  <a:pt x="12" y="576"/>
                </a:cubicBezTo>
                <a:cubicBezTo>
                  <a:pt x="12" y="575"/>
                  <a:pt x="14" y="575"/>
                  <a:pt x="15" y="576"/>
                </a:cubicBezTo>
                <a:cubicBezTo>
                  <a:pt x="22" y="582"/>
                  <a:pt x="22" y="582"/>
                  <a:pt x="22" y="582"/>
                </a:cubicBezTo>
                <a:cubicBezTo>
                  <a:pt x="23" y="581"/>
                  <a:pt x="24" y="581"/>
                  <a:pt x="24" y="581"/>
                </a:cubicBezTo>
                <a:cubicBezTo>
                  <a:pt x="26" y="572"/>
                  <a:pt x="26" y="572"/>
                  <a:pt x="26" y="572"/>
                </a:cubicBezTo>
                <a:cubicBezTo>
                  <a:pt x="27" y="571"/>
                  <a:pt x="27" y="570"/>
                  <a:pt x="28" y="570"/>
                </a:cubicBezTo>
                <a:cubicBezTo>
                  <a:pt x="35" y="570"/>
                  <a:pt x="35" y="570"/>
                  <a:pt x="35" y="570"/>
                </a:cubicBezTo>
                <a:cubicBezTo>
                  <a:pt x="36" y="570"/>
                  <a:pt x="37" y="571"/>
                  <a:pt x="37" y="572"/>
                </a:cubicBezTo>
                <a:cubicBezTo>
                  <a:pt x="39" y="581"/>
                  <a:pt x="39" y="581"/>
                  <a:pt x="39" y="581"/>
                </a:cubicBezTo>
                <a:cubicBezTo>
                  <a:pt x="40" y="581"/>
                  <a:pt x="41" y="581"/>
                  <a:pt x="42" y="582"/>
                </a:cubicBezTo>
                <a:cubicBezTo>
                  <a:pt x="49" y="576"/>
                  <a:pt x="49" y="576"/>
                  <a:pt x="49" y="576"/>
                </a:cubicBezTo>
                <a:cubicBezTo>
                  <a:pt x="49" y="575"/>
                  <a:pt x="51" y="575"/>
                  <a:pt x="52" y="576"/>
                </a:cubicBezTo>
                <a:cubicBezTo>
                  <a:pt x="56" y="580"/>
                  <a:pt x="56" y="580"/>
                  <a:pt x="56" y="580"/>
                </a:cubicBezTo>
                <a:cubicBezTo>
                  <a:pt x="57" y="581"/>
                  <a:pt x="58" y="582"/>
                  <a:pt x="57" y="583"/>
                </a:cubicBezTo>
                <a:cubicBezTo>
                  <a:pt x="53" y="591"/>
                  <a:pt x="53" y="591"/>
                  <a:pt x="53" y="591"/>
                </a:cubicBezTo>
                <a:cubicBezTo>
                  <a:pt x="53" y="592"/>
                  <a:pt x="54" y="592"/>
                  <a:pt x="54" y="593"/>
                </a:cubicBezTo>
                <a:cubicBezTo>
                  <a:pt x="63" y="593"/>
                  <a:pt x="63" y="593"/>
                  <a:pt x="63" y="593"/>
                </a:cubicBezTo>
                <a:cubicBezTo>
                  <a:pt x="64" y="593"/>
                  <a:pt x="65" y="594"/>
                  <a:pt x="65" y="595"/>
                </a:cubicBezTo>
                <a:cubicBezTo>
                  <a:pt x="66" y="601"/>
                  <a:pt x="66" y="601"/>
                  <a:pt x="66" y="601"/>
                </a:cubicBezTo>
                <a:cubicBezTo>
                  <a:pt x="66" y="602"/>
                  <a:pt x="66" y="604"/>
                  <a:pt x="65" y="604"/>
                </a:cubicBezTo>
                <a:cubicBezTo>
                  <a:pt x="57" y="607"/>
                  <a:pt x="57" y="607"/>
                  <a:pt x="57" y="607"/>
                </a:cubicBezTo>
                <a:close/>
                <a:moveTo>
                  <a:pt x="45" y="605"/>
                </a:moveTo>
                <a:cubicBezTo>
                  <a:pt x="45" y="597"/>
                  <a:pt x="39" y="591"/>
                  <a:pt x="32" y="591"/>
                </a:cubicBezTo>
                <a:cubicBezTo>
                  <a:pt x="24" y="591"/>
                  <a:pt x="18" y="597"/>
                  <a:pt x="18" y="605"/>
                </a:cubicBezTo>
                <a:cubicBezTo>
                  <a:pt x="18" y="612"/>
                  <a:pt x="24" y="618"/>
                  <a:pt x="32" y="618"/>
                </a:cubicBezTo>
                <a:cubicBezTo>
                  <a:pt x="39" y="618"/>
                  <a:pt x="45" y="612"/>
                  <a:pt x="45" y="605"/>
                </a:cubicBezTo>
                <a:close/>
                <a:moveTo>
                  <a:pt x="32" y="599"/>
                </a:moveTo>
                <a:cubicBezTo>
                  <a:pt x="28" y="599"/>
                  <a:pt x="26" y="602"/>
                  <a:pt x="26" y="605"/>
                </a:cubicBezTo>
                <a:cubicBezTo>
                  <a:pt x="26" y="608"/>
                  <a:pt x="28" y="610"/>
                  <a:pt x="32" y="610"/>
                </a:cubicBezTo>
                <a:cubicBezTo>
                  <a:pt x="35" y="610"/>
                  <a:pt x="37" y="608"/>
                  <a:pt x="37" y="605"/>
                </a:cubicBezTo>
                <a:cubicBezTo>
                  <a:pt x="37" y="602"/>
                  <a:pt x="35" y="599"/>
                  <a:pt x="32" y="599"/>
                </a:cubicBezTo>
                <a:close/>
                <a:moveTo>
                  <a:pt x="447" y="101"/>
                </a:moveTo>
                <a:cubicBezTo>
                  <a:pt x="443" y="109"/>
                  <a:pt x="443" y="109"/>
                  <a:pt x="443" y="109"/>
                </a:cubicBezTo>
                <a:cubicBezTo>
                  <a:pt x="443" y="109"/>
                  <a:pt x="444" y="110"/>
                  <a:pt x="444" y="111"/>
                </a:cubicBezTo>
                <a:cubicBezTo>
                  <a:pt x="454" y="111"/>
                  <a:pt x="454" y="111"/>
                  <a:pt x="454" y="111"/>
                </a:cubicBezTo>
                <a:cubicBezTo>
                  <a:pt x="454" y="111"/>
                  <a:pt x="455" y="112"/>
                  <a:pt x="456" y="113"/>
                </a:cubicBezTo>
                <a:cubicBezTo>
                  <a:pt x="457" y="119"/>
                  <a:pt x="457" y="119"/>
                  <a:pt x="457" y="119"/>
                </a:cubicBezTo>
                <a:cubicBezTo>
                  <a:pt x="457" y="120"/>
                  <a:pt x="456" y="121"/>
                  <a:pt x="455" y="122"/>
                </a:cubicBezTo>
                <a:cubicBezTo>
                  <a:pt x="447" y="125"/>
                  <a:pt x="447" y="125"/>
                  <a:pt x="447" y="125"/>
                </a:cubicBezTo>
                <a:cubicBezTo>
                  <a:pt x="447" y="126"/>
                  <a:pt x="447" y="127"/>
                  <a:pt x="446" y="128"/>
                </a:cubicBezTo>
                <a:cubicBezTo>
                  <a:pt x="454" y="134"/>
                  <a:pt x="454" y="134"/>
                  <a:pt x="454" y="134"/>
                </a:cubicBezTo>
                <a:cubicBezTo>
                  <a:pt x="454" y="134"/>
                  <a:pt x="454" y="136"/>
                  <a:pt x="454" y="136"/>
                </a:cubicBezTo>
                <a:cubicBezTo>
                  <a:pt x="451" y="142"/>
                  <a:pt x="451" y="142"/>
                  <a:pt x="451" y="142"/>
                </a:cubicBezTo>
                <a:cubicBezTo>
                  <a:pt x="450" y="143"/>
                  <a:pt x="449" y="144"/>
                  <a:pt x="448" y="143"/>
                </a:cubicBezTo>
                <a:cubicBezTo>
                  <a:pt x="439" y="140"/>
                  <a:pt x="439" y="140"/>
                  <a:pt x="439" y="140"/>
                </a:cubicBezTo>
                <a:cubicBezTo>
                  <a:pt x="439" y="141"/>
                  <a:pt x="439" y="141"/>
                  <a:pt x="438" y="142"/>
                </a:cubicBezTo>
                <a:cubicBezTo>
                  <a:pt x="440" y="151"/>
                  <a:pt x="440" y="151"/>
                  <a:pt x="440" y="151"/>
                </a:cubicBezTo>
                <a:cubicBezTo>
                  <a:pt x="440" y="152"/>
                  <a:pt x="440" y="153"/>
                  <a:pt x="439" y="153"/>
                </a:cubicBezTo>
                <a:cubicBezTo>
                  <a:pt x="433" y="156"/>
                  <a:pt x="433" y="156"/>
                  <a:pt x="433" y="156"/>
                </a:cubicBezTo>
                <a:cubicBezTo>
                  <a:pt x="432" y="156"/>
                  <a:pt x="431" y="156"/>
                  <a:pt x="430" y="155"/>
                </a:cubicBezTo>
                <a:cubicBezTo>
                  <a:pt x="425" y="147"/>
                  <a:pt x="425" y="147"/>
                  <a:pt x="425" y="147"/>
                </a:cubicBezTo>
                <a:cubicBezTo>
                  <a:pt x="424" y="148"/>
                  <a:pt x="423" y="148"/>
                  <a:pt x="422" y="148"/>
                </a:cubicBezTo>
                <a:cubicBezTo>
                  <a:pt x="422" y="148"/>
                  <a:pt x="422" y="148"/>
                  <a:pt x="422" y="148"/>
                </a:cubicBezTo>
                <a:cubicBezTo>
                  <a:pt x="418" y="156"/>
                  <a:pt x="418" y="156"/>
                  <a:pt x="418" y="156"/>
                </a:cubicBezTo>
                <a:cubicBezTo>
                  <a:pt x="417" y="156"/>
                  <a:pt x="416" y="157"/>
                  <a:pt x="415" y="156"/>
                </a:cubicBezTo>
                <a:cubicBezTo>
                  <a:pt x="409" y="155"/>
                  <a:pt x="409" y="155"/>
                  <a:pt x="409" y="155"/>
                </a:cubicBezTo>
                <a:cubicBezTo>
                  <a:pt x="408" y="154"/>
                  <a:pt x="407" y="153"/>
                  <a:pt x="407" y="152"/>
                </a:cubicBezTo>
                <a:cubicBezTo>
                  <a:pt x="408" y="143"/>
                  <a:pt x="408" y="143"/>
                  <a:pt x="408" y="143"/>
                </a:cubicBezTo>
                <a:cubicBezTo>
                  <a:pt x="407" y="143"/>
                  <a:pt x="407" y="142"/>
                  <a:pt x="406" y="141"/>
                </a:cubicBezTo>
                <a:cubicBezTo>
                  <a:pt x="397" y="144"/>
                  <a:pt x="397" y="144"/>
                  <a:pt x="397" y="144"/>
                </a:cubicBezTo>
                <a:cubicBezTo>
                  <a:pt x="396" y="145"/>
                  <a:pt x="395" y="144"/>
                  <a:pt x="394" y="144"/>
                </a:cubicBezTo>
                <a:cubicBezTo>
                  <a:pt x="391" y="138"/>
                  <a:pt x="391" y="138"/>
                  <a:pt x="391" y="138"/>
                </a:cubicBezTo>
                <a:cubicBezTo>
                  <a:pt x="391" y="137"/>
                  <a:pt x="391" y="136"/>
                  <a:pt x="392" y="135"/>
                </a:cubicBezTo>
                <a:cubicBezTo>
                  <a:pt x="398" y="129"/>
                  <a:pt x="398" y="129"/>
                  <a:pt x="398" y="129"/>
                </a:cubicBezTo>
                <a:cubicBezTo>
                  <a:pt x="398" y="128"/>
                  <a:pt x="397" y="126"/>
                  <a:pt x="397" y="125"/>
                </a:cubicBezTo>
                <a:cubicBezTo>
                  <a:pt x="389" y="122"/>
                  <a:pt x="389" y="122"/>
                  <a:pt x="389" y="122"/>
                </a:cubicBezTo>
                <a:cubicBezTo>
                  <a:pt x="388" y="121"/>
                  <a:pt x="387" y="120"/>
                  <a:pt x="388" y="119"/>
                </a:cubicBezTo>
                <a:cubicBezTo>
                  <a:pt x="389" y="113"/>
                  <a:pt x="389" y="113"/>
                  <a:pt x="389" y="113"/>
                </a:cubicBezTo>
                <a:cubicBezTo>
                  <a:pt x="389" y="112"/>
                  <a:pt x="390" y="111"/>
                  <a:pt x="391" y="111"/>
                </a:cubicBezTo>
                <a:cubicBezTo>
                  <a:pt x="400" y="111"/>
                  <a:pt x="400" y="111"/>
                  <a:pt x="400" y="111"/>
                </a:cubicBezTo>
                <a:cubicBezTo>
                  <a:pt x="400" y="110"/>
                  <a:pt x="401" y="109"/>
                  <a:pt x="401" y="109"/>
                </a:cubicBezTo>
                <a:cubicBezTo>
                  <a:pt x="397" y="101"/>
                  <a:pt x="397" y="101"/>
                  <a:pt x="397" y="101"/>
                </a:cubicBezTo>
                <a:cubicBezTo>
                  <a:pt x="396" y="100"/>
                  <a:pt x="397" y="99"/>
                  <a:pt x="397" y="98"/>
                </a:cubicBezTo>
                <a:cubicBezTo>
                  <a:pt x="402" y="94"/>
                  <a:pt x="402" y="94"/>
                  <a:pt x="402" y="94"/>
                </a:cubicBezTo>
                <a:cubicBezTo>
                  <a:pt x="403" y="93"/>
                  <a:pt x="404" y="93"/>
                  <a:pt x="405" y="94"/>
                </a:cubicBezTo>
                <a:cubicBezTo>
                  <a:pt x="412" y="99"/>
                  <a:pt x="412" y="99"/>
                  <a:pt x="412" y="99"/>
                </a:cubicBezTo>
                <a:cubicBezTo>
                  <a:pt x="413" y="99"/>
                  <a:pt x="414" y="99"/>
                  <a:pt x="415" y="98"/>
                </a:cubicBezTo>
                <a:cubicBezTo>
                  <a:pt x="417" y="89"/>
                  <a:pt x="417" y="89"/>
                  <a:pt x="417" y="89"/>
                </a:cubicBezTo>
                <a:cubicBezTo>
                  <a:pt x="417" y="88"/>
                  <a:pt x="418" y="88"/>
                  <a:pt x="419" y="88"/>
                </a:cubicBezTo>
                <a:cubicBezTo>
                  <a:pt x="425" y="88"/>
                  <a:pt x="425" y="88"/>
                  <a:pt x="425" y="88"/>
                </a:cubicBezTo>
                <a:cubicBezTo>
                  <a:pt x="426" y="88"/>
                  <a:pt x="427" y="88"/>
                  <a:pt x="427" y="89"/>
                </a:cubicBezTo>
                <a:cubicBezTo>
                  <a:pt x="429" y="98"/>
                  <a:pt x="429" y="98"/>
                  <a:pt x="429" y="98"/>
                </a:cubicBezTo>
                <a:cubicBezTo>
                  <a:pt x="430" y="99"/>
                  <a:pt x="431" y="99"/>
                  <a:pt x="432" y="99"/>
                </a:cubicBezTo>
                <a:cubicBezTo>
                  <a:pt x="439" y="94"/>
                  <a:pt x="439" y="94"/>
                  <a:pt x="439" y="94"/>
                </a:cubicBezTo>
                <a:cubicBezTo>
                  <a:pt x="440" y="93"/>
                  <a:pt x="441" y="93"/>
                  <a:pt x="442" y="94"/>
                </a:cubicBezTo>
                <a:cubicBezTo>
                  <a:pt x="447" y="98"/>
                  <a:pt x="447" y="98"/>
                  <a:pt x="447" y="98"/>
                </a:cubicBezTo>
                <a:cubicBezTo>
                  <a:pt x="448" y="98"/>
                  <a:pt x="448" y="100"/>
                  <a:pt x="447" y="101"/>
                </a:cubicBezTo>
                <a:close/>
                <a:moveTo>
                  <a:pt x="435" y="122"/>
                </a:moveTo>
                <a:cubicBezTo>
                  <a:pt x="435" y="115"/>
                  <a:pt x="429" y="109"/>
                  <a:pt x="422" y="109"/>
                </a:cubicBezTo>
                <a:cubicBezTo>
                  <a:pt x="415" y="109"/>
                  <a:pt x="409" y="115"/>
                  <a:pt x="409" y="122"/>
                </a:cubicBezTo>
                <a:cubicBezTo>
                  <a:pt x="409" y="130"/>
                  <a:pt x="415" y="136"/>
                  <a:pt x="422" y="136"/>
                </a:cubicBezTo>
                <a:cubicBezTo>
                  <a:pt x="429" y="136"/>
                  <a:pt x="435" y="130"/>
                  <a:pt x="435" y="122"/>
                </a:cubicBezTo>
                <a:close/>
                <a:moveTo>
                  <a:pt x="127" y="607"/>
                </a:moveTo>
                <a:cubicBezTo>
                  <a:pt x="127" y="608"/>
                  <a:pt x="127" y="609"/>
                  <a:pt x="127" y="610"/>
                </a:cubicBezTo>
                <a:cubicBezTo>
                  <a:pt x="134" y="616"/>
                  <a:pt x="134" y="616"/>
                  <a:pt x="134" y="616"/>
                </a:cubicBezTo>
                <a:cubicBezTo>
                  <a:pt x="135" y="617"/>
                  <a:pt x="135" y="618"/>
                  <a:pt x="134" y="619"/>
                </a:cubicBezTo>
                <a:cubicBezTo>
                  <a:pt x="131" y="624"/>
                  <a:pt x="131" y="624"/>
                  <a:pt x="131" y="624"/>
                </a:cubicBezTo>
                <a:cubicBezTo>
                  <a:pt x="131" y="625"/>
                  <a:pt x="130" y="626"/>
                  <a:pt x="128" y="626"/>
                </a:cubicBezTo>
                <a:cubicBezTo>
                  <a:pt x="120" y="623"/>
                  <a:pt x="120" y="623"/>
                  <a:pt x="120" y="623"/>
                </a:cubicBezTo>
                <a:cubicBezTo>
                  <a:pt x="120" y="623"/>
                  <a:pt x="119" y="623"/>
                  <a:pt x="119" y="624"/>
                </a:cubicBezTo>
                <a:cubicBezTo>
                  <a:pt x="120" y="633"/>
                  <a:pt x="120" y="633"/>
                  <a:pt x="120" y="633"/>
                </a:cubicBezTo>
                <a:cubicBezTo>
                  <a:pt x="121" y="634"/>
                  <a:pt x="120" y="635"/>
                  <a:pt x="119" y="635"/>
                </a:cubicBezTo>
                <a:cubicBezTo>
                  <a:pt x="113" y="638"/>
                  <a:pt x="113" y="638"/>
                  <a:pt x="113" y="638"/>
                </a:cubicBezTo>
                <a:cubicBezTo>
                  <a:pt x="112" y="638"/>
                  <a:pt x="111" y="638"/>
                  <a:pt x="111" y="637"/>
                </a:cubicBezTo>
                <a:cubicBezTo>
                  <a:pt x="105" y="630"/>
                  <a:pt x="105" y="630"/>
                  <a:pt x="105" y="630"/>
                </a:cubicBezTo>
                <a:cubicBezTo>
                  <a:pt x="105" y="630"/>
                  <a:pt x="104" y="630"/>
                  <a:pt x="103" y="630"/>
                </a:cubicBezTo>
                <a:cubicBezTo>
                  <a:pt x="102" y="630"/>
                  <a:pt x="102" y="630"/>
                  <a:pt x="102" y="630"/>
                </a:cubicBezTo>
                <a:cubicBezTo>
                  <a:pt x="98" y="638"/>
                  <a:pt x="98" y="638"/>
                  <a:pt x="98" y="638"/>
                </a:cubicBezTo>
                <a:cubicBezTo>
                  <a:pt x="97" y="639"/>
                  <a:pt x="96" y="639"/>
                  <a:pt x="95" y="639"/>
                </a:cubicBezTo>
                <a:cubicBezTo>
                  <a:pt x="89" y="637"/>
                  <a:pt x="89" y="637"/>
                  <a:pt x="89" y="637"/>
                </a:cubicBezTo>
                <a:cubicBezTo>
                  <a:pt x="88" y="637"/>
                  <a:pt x="88" y="636"/>
                  <a:pt x="88" y="634"/>
                </a:cubicBezTo>
                <a:cubicBezTo>
                  <a:pt x="89" y="626"/>
                  <a:pt x="89" y="626"/>
                  <a:pt x="89" y="626"/>
                </a:cubicBezTo>
                <a:cubicBezTo>
                  <a:pt x="88" y="625"/>
                  <a:pt x="87" y="624"/>
                  <a:pt x="86" y="624"/>
                </a:cubicBezTo>
                <a:cubicBezTo>
                  <a:pt x="78" y="627"/>
                  <a:pt x="78" y="627"/>
                  <a:pt x="78" y="627"/>
                </a:cubicBezTo>
                <a:cubicBezTo>
                  <a:pt x="77" y="627"/>
                  <a:pt x="75" y="627"/>
                  <a:pt x="75" y="626"/>
                </a:cubicBezTo>
                <a:cubicBezTo>
                  <a:pt x="71" y="621"/>
                  <a:pt x="71" y="621"/>
                  <a:pt x="71" y="621"/>
                </a:cubicBezTo>
                <a:cubicBezTo>
                  <a:pt x="71" y="620"/>
                  <a:pt x="71" y="618"/>
                  <a:pt x="72" y="618"/>
                </a:cubicBezTo>
                <a:cubicBezTo>
                  <a:pt x="78" y="611"/>
                  <a:pt x="78" y="611"/>
                  <a:pt x="78" y="611"/>
                </a:cubicBezTo>
                <a:cubicBezTo>
                  <a:pt x="78" y="610"/>
                  <a:pt x="78" y="609"/>
                  <a:pt x="78" y="607"/>
                </a:cubicBezTo>
                <a:cubicBezTo>
                  <a:pt x="69" y="604"/>
                  <a:pt x="69" y="604"/>
                  <a:pt x="69" y="604"/>
                </a:cubicBezTo>
                <a:cubicBezTo>
                  <a:pt x="68" y="604"/>
                  <a:pt x="68" y="602"/>
                  <a:pt x="68" y="602"/>
                </a:cubicBezTo>
                <a:cubicBezTo>
                  <a:pt x="69" y="595"/>
                  <a:pt x="69" y="595"/>
                  <a:pt x="69" y="595"/>
                </a:cubicBezTo>
                <a:cubicBezTo>
                  <a:pt x="69" y="594"/>
                  <a:pt x="70" y="593"/>
                  <a:pt x="71" y="593"/>
                </a:cubicBezTo>
                <a:cubicBezTo>
                  <a:pt x="80" y="593"/>
                  <a:pt x="80" y="593"/>
                  <a:pt x="80" y="593"/>
                </a:cubicBezTo>
                <a:cubicBezTo>
                  <a:pt x="81" y="592"/>
                  <a:pt x="81" y="592"/>
                  <a:pt x="82" y="591"/>
                </a:cubicBezTo>
                <a:cubicBezTo>
                  <a:pt x="77" y="583"/>
                  <a:pt x="77" y="583"/>
                  <a:pt x="77" y="583"/>
                </a:cubicBezTo>
                <a:cubicBezTo>
                  <a:pt x="77" y="582"/>
                  <a:pt x="77" y="581"/>
                  <a:pt x="78" y="580"/>
                </a:cubicBezTo>
                <a:cubicBezTo>
                  <a:pt x="82" y="576"/>
                  <a:pt x="82" y="576"/>
                  <a:pt x="82" y="576"/>
                </a:cubicBezTo>
                <a:cubicBezTo>
                  <a:pt x="83" y="575"/>
                  <a:pt x="85" y="575"/>
                  <a:pt x="86" y="576"/>
                </a:cubicBezTo>
                <a:cubicBezTo>
                  <a:pt x="93" y="582"/>
                  <a:pt x="93" y="582"/>
                  <a:pt x="93" y="582"/>
                </a:cubicBezTo>
                <a:cubicBezTo>
                  <a:pt x="93" y="581"/>
                  <a:pt x="94" y="581"/>
                  <a:pt x="95" y="581"/>
                </a:cubicBezTo>
                <a:cubicBezTo>
                  <a:pt x="97" y="572"/>
                  <a:pt x="97" y="572"/>
                  <a:pt x="97" y="572"/>
                </a:cubicBezTo>
                <a:cubicBezTo>
                  <a:pt x="97" y="571"/>
                  <a:pt x="98" y="570"/>
                  <a:pt x="99" y="570"/>
                </a:cubicBezTo>
                <a:cubicBezTo>
                  <a:pt x="106" y="570"/>
                  <a:pt x="106" y="570"/>
                  <a:pt x="106" y="570"/>
                </a:cubicBezTo>
                <a:cubicBezTo>
                  <a:pt x="107" y="570"/>
                  <a:pt x="108" y="571"/>
                  <a:pt x="108" y="572"/>
                </a:cubicBezTo>
                <a:cubicBezTo>
                  <a:pt x="110" y="581"/>
                  <a:pt x="110" y="581"/>
                  <a:pt x="110" y="581"/>
                </a:cubicBezTo>
                <a:cubicBezTo>
                  <a:pt x="111" y="581"/>
                  <a:pt x="112" y="581"/>
                  <a:pt x="112" y="582"/>
                </a:cubicBezTo>
                <a:cubicBezTo>
                  <a:pt x="120" y="576"/>
                  <a:pt x="120" y="576"/>
                  <a:pt x="120" y="576"/>
                </a:cubicBezTo>
                <a:cubicBezTo>
                  <a:pt x="120" y="575"/>
                  <a:pt x="122" y="575"/>
                  <a:pt x="123" y="576"/>
                </a:cubicBezTo>
                <a:cubicBezTo>
                  <a:pt x="127" y="580"/>
                  <a:pt x="127" y="580"/>
                  <a:pt x="127" y="580"/>
                </a:cubicBezTo>
                <a:cubicBezTo>
                  <a:pt x="128" y="581"/>
                  <a:pt x="128" y="582"/>
                  <a:pt x="128" y="583"/>
                </a:cubicBezTo>
                <a:cubicBezTo>
                  <a:pt x="124" y="591"/>
                  <a:pt x="124" y="591"/>
                  <a:pt x="124" y="591"/>
                </a:cubicBezTo>
                <a:cubicBezTo>
                  <a:pt x="124" y="592"/>
                  <a:pt x="124" y="592"/>
                  <a:pt x="125" y="593"/>
                </a:cubicBezTo>
                <a:cubicBezTo>
                  <a:pt x="134" y="593"/>
                  <a:pt x="134" y="593"/>
                  <a:pt x="134" y="593"/>
                </a:cubicBezTo>
                <a:cubicBezTo>
                  <a:pt x="135" y="593"/>
                  <a:pt x="136" y="594"/>
                  <a:pt x="136" y="595"/>
                </a:cubicBezTo>
                <a:cubicBezTo>
                  <a:pt x="137" y="601"/>
                  <a:pt x="137" y="601"/>
                  <a:pt x="137" y="601"/>
                </a:cubicBezTo>
                <a:cubicBezTo>
                  <a:pt x="137" y="602"/>
                  <a:pt x="137" y="604"/>
                  <a:pt x="136" y="604"/>
                </a:cubicBezTo>
                <a:cubicBezTo>
                  <a:pt x="127" y="607"/>
                  <a:pt x="127" y="607"/>
                  <a:pt x="127" y="607"/>
                </a:cubicBezTo>
                <a:close/>
                <a:moveTo>
                  <a:pt x="116" y="605"/>
                </a:moveTo>
                <a:cubicBezTo>
                  <a:pt x="116" y="597"/>
                  <a:pt x="110" y="591"/>
                  <a:pt x="103" y="591"/>
                </a:cubicBezTo>
                <a:cubicBezTo>
                  <a:pt x="95" y="591"/>
                  <a:pt x="89" y="597"/>
                  <a:pt x="89" y="605"/>
                </a:cubicBezTo>
                <a:cubicBezTo>
                  <a:pt x="89" y="612"/>
                  <a:pt x="95" y="618"/>
                  <a:pt x="103" y="618"/>
                </a:cubicBezTo>
                <a:cubicBezTo>
                  <a:pt x="110" y="618"/>
                  <a:pt x="116" y="612"/>
                  <a:pt x="116" y="605"/>
                </a:cubicBezTo>
                <a:close/>
                <a:moveTo>
                  <a:pt x="493" y="128"/>
                </a:moveTo>
                <a:cubicBezTo>
                  <a:pt x="496" y="128"/>
                  <a:pt x="499" y="125"/>
                  <a:pt x="499" y="122"/>
                </a:cubicBezTo>
                <a:cubicBezTo>
                  <a:pt x="499" y="119"/>
                  <a:pt x="496" y="117"/>
                  <a:pt x="493" y="117"/>
                </a:cubicBezTo>
                <a:cubicBezTo>
                  <a:pt x="490" y="117"/>
                  <a:pt x="487" y="119"/>
                  <a:pt x="487" y="122"/>
                </a:cubicBezTo>
                <a:cubicBezTo>
                  <a:pt x="487" y="125"/>
                  <a:pt x="490" y="128"/>
                  <a:pt x="493" y="128"/>
                </a:cubicBezTo>
                <a:close/>
                <a:moveTo>
                  <a:pt x="229" y="634"/>
                </a:moveTo>
                <a:cubicBezTo>
                  <a:pt x="230" y="626"/>
                  <a:pt x="230" y="626"/>
                  <a:pt x="230" y="626"/>
                </a:cubicBezTo>
                <a:cubicBezTo>
                  <a:pt x="229" y="625"/>
                  <a:pt x="229" y="624"/>
                  <a:pt x="228" y="624"/>
                </a:cubicBezTo>
                <a:cubicBezTo>
                  <a:pt x="219" y="627"/>
                  <a:pt x="219" y="627"/>
                  <a:pt x="219" y="627"/>
                </a:cubicBezTo>
                <a:cubicBezTo>
                  <a:pt x="218" y="627"/>
                  <a:pt x="217" y="627"/>
                  <a:pt x="217" y="626"/>
                </a:cubicBezTo>
                <a:cubicBezTo>
                  <a:pt x="213" y="621"/>
                  <a:pt x="213" y="621"/>
                  <a:pt x="213" y="621"/>
                </a:cubicBezTo>
                <a:cubicBezTo>
                  <a:pt x="213" y="620"/>
                  <a:pt x="213" y="618"/>
                  <a:pt x="214" y="618"/>
                </a:cubicBezTo>
                <a:cubicBezTo>
                  <a:pt x="220" y="611"/>
                  <a:pt x="220" y="611"/>
                  <a:pt x="220" y="611"/>
                </a:cubicBezTo>
                <a:cubicBezTo>
                  <a:pt x="220" y="610"/>
                  <a:pt x="220" y="609"/>
                  <a:pt x="220" y="607"/>
                </a:cubicBezTo>
                <a:cubicBezTo>
                  <a:pt x="211" y="604"/>
                  <a:pt x="211" y="604"/>
                  <a:pt x="211" y="604"/>
                </a:cubicBezTo>
                <a:cubicBezTo>
                  <a:pt x="210" y="604"/>
                  <a:pt x="210" y="602"/>
                  <a:pt x="210" y="602"/>
                </a:cubicBezTo>
                <a:cubicBezTo>
                  <a:pt x="211" y="595"/>
                  <a:pt x="211" y="595"/>
                  <a:pt x="211" y="595"/>
                </a:cubicBezTo>
                <a:cubicBezTo>
                  <a:pt x="211" y="594"/>
                  <a:pt x="212" y="593"/>
                  <a:pt x="213" y="593"/>
                </a:cubicBezTo>
                <a:cubicBezTo>
                  <a:pt x="222" y="593"/>
                  <a:pt x="222" y="593"/>
                  <a:pt x="222" y="593"/>
                </a:cubicBezTo>
                <a:cubicBezTo>
                  <a:pt x="222" y="592"/>
                  <a:pt x="223" y="592"/>
                  <a:pt x="223" y="591"/>
                </a:cubicBezTo>
                <a:cubicBezTo>
                  <a:pt x="219" y="583"/>
                  <a:pt x="219" y="583"/>
                  <a:pt x="219" y="583"/>
                </a:cubicBezTo>
                <a:cubicBezTo>
                  <a:pt x="218" y="582"/>
                  <a:pt x="219" y="581"/>
                  <a:pt x="220" y="580"/>
                </a:cubicBezTo>
                <a:cubicBezTo>
                  <a:pt x="224" y="576"/>
                  <a:pt x="224" y="576"/>
                  <a:pt x="224" y="576"/>
                </a:cubicBezTo>
                <a:cubicBezTo>
                  <a:pt x="225" y="575"/>
                  <a:pt x="226" y="575"/>
                  <a:pt x="227" y="576"/>
                </a:cubicBezTo>
                <a:cubicBezTo>
                  <a:pt x="234" y="582"/>
                  <a:pt x="234" y="582"/>
                  <a:pt x="234" y="582"/>
                </a:cubicBezTo>
                <a:cubicBezTo>
                  <a:pt x="235" y="581"/>
                  <a:pt x="236" y="581"/>
                  <a:pt x="237" y="581"/>
                </a:cubicBezTo>
                <a:cubicBezTo>
                  <a:pt x="239" y="572"/>
                  <a:pt x="239" y="572"/>
                  <a:pt x="239" y="572"/>
                </a:cubicBezTo>
                <a:cubicBezTo>
                  <a:pt x="239" y="571"/>
                  <a:pt x="240" y="570"/>
                  <a:pt x="241" y="570"/>
                </a:cubicBezTo>
                <a:cubicBezTo>
                  <a:pt x="248" y="570"/>
                  <a:pt x="248" y="570"/>
                  <a:pt x="248" y="570"/>
                </a:cubicBezTo>
                <a:cubicBezTo>
                  <a:pt x="248" y="570"/>
                  <a:pt x="250" y="571"/>
                  <a:pt x="250" y="572"/>
                </a:cubicBezTo>
                <a:cubicBezTo>
                  <a:pt x="252" y="581"/>
                  <a:pt x="252" y="581"/>
                  <a:pt x="252" y="581"/>
                </a:cubicBezTo>
                <a:cubicBezTo>
                  <a:pt x="252" y="581"/>
                  <a:pt x="253" y="581"/>
                  <a:pt x="254" y="582"/>
                </a:cubicBezTo>
                <a:cubicBezTo>
                  <a:pt x="261" y="576"/>
                  <a:pt x="261" y="576"/>
                  <a:pt x="261" y="576"/>
                </a:cubicBezTo>
                <a:cubicBezTo>
                  <a:pt x="262" y="575"/>
                  <a:pt x="263" y="575"/>
                  <a:pt x="264" y="576"/>
                </a:cubicBezTo>
                <a:cubicBezTo>
                  <a:pt x="269" y="580"/>
                  <a:pt x="269" y="580"/>
                  <a:pt x="269" y="580"/>
                </a:cubicBezTo>
                <a:cubicBezTo>
                  <a:pt x="270" y="581"/>
                  <a:pt x="270" y="582"/>
                  <a:pt x="270" y="583"/>
                </a:cubicBezTo>
                <a:cubicBezTo>
                  <a:pt x="265" y="591"/>
                  <a:pt x="265" y="591"/>
                  <a:pt x="265" y="591"/>
                </a:cubicBezTo>
                <a:cubicBezTo>
                  <a:pt x="266" y="592"/>
                  <a:pt x="266" y="592"/>
                  <a:pt x="267" y="593"/>
                </a:cubicBezTo>
                <a:cubicBezTo>
                  <a:pt x="276" y="593"/>
                  <a:pt x="276" y="593"/>
                  <a:pt x="276" y="593"/>
                </a:cubicBezTo>
                <a:cubicBezTo>
                  <a:pt x="277" y="593"/>
                  <a:pt x="278" y="594"/>
                  <a:pt x="278" y="595"/>
                </a:cubicBezTo>
                <a:cubicBezTo>
                  <a:pt x="279" y="601"/>
                  <a:pt x="279" y="601"/>
                  <a:pt x="279" y="601"/>
                </a:cubicBezTo>
                <a:cubicBezTo>
                  <a:pt x="279" y="602"/>
                  <a:pt x="278" y="604"/>
                  <a:pt x="278" y="604"/>
                </a:cubicBezTo>
                <a:cubicBezTo>
                  <a:pt x="269" y="607"/>
                  <a:pt x="269" y="607"/>
                  <a:pt x="269" y="607"/>
                </a:cubicBezTo>
                <a:cubicBezTo>
                  <a:pt x="269" y="608"/>
                  <a:pt x="269" y="609"/>
                  <a:pt x="269" y="610"/>
                </a:cubicBezTo>
                <a:cubicBezTo>
                  <a:pt x="276" y="616"/>
                  <a:pt x="276" y="616"/>
                  <a:pt x="276" y="616"/>
                </a:cubicBezTo>
                <a:cubicBezTo>
                  <a:pt x="276" y="617"/>
                  <a:pt x="277" y="618"/>
                  <a:pt x="276" y="619"/>
                </a:cubicBezTo>
                <a:cubicBezTo>
                  <a:pt x="273" y="624"/>
                  <a:pt x="273" y="624"/>
                  <a:pt x="273" y="624"/>
                </a:cubicBezTo>
                <a:cubicBezTo>
                  <a:pt x="273" y="625"/>
                  <a:pt x="271" y="626"/>
                  <a:pt x="270" y="626"/>
                </a:cubicBezTo>
                <a:cubicBezTo>
                  <a:pt x="262" y="623"/>
                  <a:pt x="262" y="623"/>
                  <a:pt x="262" y="623"/>
                </a:cubicBezTo>
                <a:cubicBezTo>
                  <a:pt x="261" y="623"/>
                  <a:pt x="261" y="623"/>
                  <a:pt x="260" y="624"/>
                </a:cubicBezTo>
                <a:cubicBezTo>
                  <a:pt x="262" y="633"/>
                  <a:pt x="262" y="633"/>
                  <a:pt x="262" y="633"/>
                </a:cubicBezTo>
                <a:cubicBezTo>
                  <a:pt x="263" y="634"/>
                  <a:pt x="262" y="635"/>
                  <a:pt x="261" y="635"/>
                </a:cubicBezTo>
                <a:cubicBezTo>
                  <a:pt x="255" y="638"/>
                  <a:pt x="255" y="638"/>
                  <a:pt x="255" y="638"/>
                </a:cubicBezTo>
                <a:cubicBezTo>
                  <a:pt x="254" y="638"/>
                  <a:pt x="253" y="638"/>
                  <a:pt x="252" y="637"/>
                </a:cubicBezTo>
                <a:cubicBezTo>
                  <a:pt x="247" y="630"/>
                  <a:pt x="247" y="630"/>
                  <a:pt x="247" y="630"/>
                </a:cubicBezTo>
                <a:cubicBezTo>
                  <a:pt x="246" y="630"/>
                  <a:pt x="245" y="630"/>
                  <a:pt x="244" y="630"/>
                </a:cubicBezTo>
                <a:cubicBezTo>
                  <a:pt x="244" y="630"/>
                  <a:pt x="244" y="630"/>
                  <a:pt x="244" y="630"/>
                </a:cubicBezTo>
                <a:cubicBezTo>
                  <a:pt x="240" y="638"/>
                  <a:pt x="240" y="638"/>
                  <a:pt x="240" y="638"/>
                </a:cubicBezTo>
                <a:cubicBezTo>
                  <a:pt x="239" y="639"/>
                  <a:pt x="238" y="639"/>
                  <a:pt x="237" y="639"/>
                </a:cubicBezTo>
                <a:cubicBezTo>
                  <a:pt x="231" y="637"/>
                  <a:pt x="231" y="637"/>
                  <a:pt x="231" y="637"/>
                </a:cubicBezTo>
                <a:cubicBezTo>
                  <a:pt x="230" y="637"/>
                  <a:pt x="229" y="636"/>
                  <a:pt x="229" y="634"/>
                </a:cubicBezTo>
                <a:close/>
                <a:moveTo>
                  <a:pt x="231" y="605"/>
                </a:moveTo>
                <a:cubicBezTo>
                  <a:pt x="231" y="612"/>
                  <a:pt x="237" y="618"/>
                  <a:pt x="244" y="618"/>
                </a:cubicBezTo>
                <a:cubicBezTo>
                  <a:pt x="252" y="618"/>
                  <a:pt x="258" y="612"/>
                  <a:pt x="258" y="605"/>
                </a:cubicBezTo>
                <a:cubicBezTo>
                  <a:pt x="258" y="597"/>
                  <a:pt x="252" y="591"/>
                  <a:pt x="244" y="591"/>
                </a:cubicBezTo>
                <a:cubicBezTo>
                  <a:pt x="237" y="591"/>
                  <a:pt x="231" y="597"/>
                  <a:pt x="231" y="605"/>
                </a:cubicBezTo>
                <a:close/>
                <a:moveTo>
                  <a:pt x="386" y="186"/>
                </a:moveTo>
                <a:cubicBezTo>
                  <a:pt x="383" y="186"/>
                  <a:pt x="380" y="188"/>
                  <a:pt x="380" y="191"/>
                </a:cubicBezTo>
                <a:cubicBezTo>
                  <a:pt x="380" y="194"/>
                  <a:pt x="383" y="197"/>
                  <a:pt x="386" y="197"/>
                </a:cubicBezTo>
                <a:cubicBezTo>
                  <a:pt x="389" y="197"/>
                  <a:pt x="392" y="194"/>
                  <a:pt x="392" y="191"/>
                </a:cubicBezTo>
                <a:cubicBezTo>
                  <a:pt x="392" y="188"/>
                  <a:pt x="389" y="186"/>
                  <a:pt x="386" y="186"/>
                </a:cubicBezTo>
                <a:close/>
                <a:moveTo>
                  <a:pt x="351" y="117"/>
                </a:moveTo>
                <a:cubicBezTo>
                  <a:pt x="348" y="117"/>
                  <a:pt x="346" y="119"/>
                  <a:pt x="346" y="122"/>
                </a:cubicBezTo>
                <a:cubicBezTo>
                  <a:pt x="346" y="125"/>
                  <a:pt x="348" y="128"/>
                  <a:pt x="351" y="128"/>
                </a:cubicBezTo>
                <a:cubicBezTo>
                  <a:pt x="354" y="128"/>
                  <a:pt x="357" y="125"/>
                  <a:pt x="357" y="122"/>
                </a:cubicBezTo>
                <a:cubicBezTo>
                  <a:pt x="357" y="119"/>
                  <a:pt x="354" y="117"/>
                  <a:pt x="351" y="117"/>
                </a:cubicBezTo>
                <a:close/>
                <a:moveTo>
                  <a:pt x="30" y="673"/>
                </a:moveTo>
                <a:cubicBezTo>
                  <a:pt x="31" y="673"/>
                  <a:pt x="32" y="671"/>
                  <a:pt x="32" y="670"/>
                </a:cubicBezTo>
                <a:cubicBezTo>
                  <a:pt x="30" y="664"/>
                  <a:pt x="30" y="664"/>
                  <a:pt x="30" y="664"/>
                </a:cubicBezTo>
                <a:cubicBezTo>
                  <a:pt x="30" y="663"/>
                  <a:pt x="29" y="662"/>
                  <a:pt x="28" y="662"/>
                </a:cubicBezTo>
                <a:cubicBezTo>
                  <a:pt x="28" y="662"/>
                  <a:pt x="28" y="662"/>
                  <a:pt x="19" y="662"/>
                </a:cubicBezTo>
                <a:cubicBezTo>
                  <a:pt x="19" y="661"/>
                  <a:pt x="18" y="661"/>
                  <a:pt x="18" y="660"/>
                </a:cubicBezTo>
                <a:cubicBezTo>
                  <a:pt x="18" y="660"/>
                  <a:pt x="18" y="660"/>
                  <a:pt x="22" y="652"/>
                </a:cubicBezTo>
                <a:cubicBezTo>
                  <a:pt x="23" y="651"/>
                  <a:pt x="22" y="650"/>
                  <a:pt x="21" y="649"/>
                </a:cubicBezTo>
                <a:cubicBezTo>
                  <a:pt x="21" y="649"/>
                  <a:pt x="21" y="649"/>
                  <a:pt x="17" y="645"/>
                </a:cubicBezTo>
                <a:cubicBezTo>
                  <a:pt x="16" y="644"/>
                  <a:pt x="14" y="644"/>
                  <a:pt x="14" y="645"/>
                </a:cubicBezTo>
                <a:cubicBezTo>
                  <a:pt x="14" y="645"/>
                  <a:pt x="14" y="645"/>
                  <a:pt x="7" y="650"/>
                </a:cubicBezTo>
                <a:cubicBezTo>
                  <a:pt x="6" y="650"/>
                  <a:pt x="5" y="650"/>
                  <a:pt x="4" y="650"/>
                </a:cubicBezTo>
                <a:cubicBezTo>
                  <a:pt x="4" y="650"/>
                  <a:pt x="4" y="650"/>
                  <a:pt x="2" y="641"/>
                </a:cubicBezTo>
                <a:cubicBezTo>
                  <a:pt x="2" y="640"/>
                  <a:pt x="1" y="639"/>
                  <a:pt x="1" y="639"/>
                </a:cubicBezTo>
                <a:cubicBezTo>
                  <a:pt x="0" y="646"/>
                  <a:pt x="0" y="654"/>
                  <a:pt x="0" y="661"/>
                </a:cubicBezTo>
                <a:cubicBezTo>
                  <a:pt x="6" y="662"/>
                  <a:pt x="10" y="667"/>
                  <a:pt x="10" y="674"/>
                </a:cubicBezTo>
                <a:cubicBezTo>
                  <a:pt x="10" y="679"/>
                  <a:pt x="6" y="684"/>
                  <a:pt x="1" y="686"/>
                </a:cubicBezTo>
                <a:cubicBezTo>
                  <a:pt x="1" y="691"/>
                  <a:pt x="1" y="696"/>
                  <a:pt x="2" y="701"/>
                </a:cubicBezTo>
                <a:cubicBezTo>
                  <a:pt x="2" y="703"/>
                  <a:pt x="3" y="704"/>
                  <a:pt x="5" y="706"/>
                </a:cubicBezTo>
                <a:cubicBezTo>
                  <a:pt x="5" y="707"/>
                  <a:pt x="7" y="707"/>
                  <a:pt x="8" y="707"/>
                </a:cubicBezTo>
                <a:cubicBezTo>
                  <a:pt x="8" y="707"/>
                  <a:pt x="8" y="707"/>
                  <a:pt x="13" y="704"/>
                </a:cubicBezTo>
                <a:cubicBezTo>
                  <a:pt x="14" y="704"/>
                  <a:pt x="15" y="703"/>
                  <a:pt x="15" y="702"/>
                </a:cubicBezTo>
                <a:cubicBezTo>
                  <a:pt x="15" y="702"/>
                  <a:pt x="15" y="702"/>
                  <a:pt x="13" y="693"/>
                </a:cubicBezTo>
                <a:cubicBezTo>
                  <a:pt x="13" y="692"/>
                  <a:pt x="14" y="692"/>
                  <a:pt x="14" y="692"/>
                </a:cubicBezTo>
                <a:cubicBezTo>
                  <a:pt x="14" y="692"/>
                  <a:pt x="14" y="692"/>
                  <a:pt x="23" y="694"/>
                </a:cubicBezTo>
                <a:cubicBezTo>
                  <a:pt x="24" y="695"/>
                  <a:pt x="25" y="694"/>
                  <a:pt x="26" y="693"/>
                </a:cubicBezTo>
                <a:cubicBezTo>
                  <a:pt x="26" y="693"/>
                  <a:pt x="26" y="693"/>
                  <a:pt x="28" y="688"/>
                </a:cubicBezTo>
                <a:cubicBezTo>
                  <a:pt x="29" y="687"/>
                  <a:pt x="29" y="686"/>
                  <a:pt x="28" y="685"/>
                </a:cubicBezTo>
                <a:cubicBezTo>
                  <a:pt x="28" y="685"/>
                  <a:pt x="28" y="685"/>
                  <a:pt x="21" y="679"/>
                </a:cubicBezTo>
                <a:cubicBezTo>
                  <a:pt x="21" y="678"/>
                  <a:pt x="21" y="677"/>
                  <a:pt x="22" y="676"/>
                </a:cubicBezTo>
                <a:cubicBezTo>
                  <a:pt x="22" y="676"/>
                  <a:pt x="22" y="676"/>
                  <a:pt x="30" y="673"/>
                </a:cubicBezTo>
                <a:close/>
                <a:moveTo>
                  <a:pt x="376" y="101"/>
                </a:moveTo>
                <a:cubicBezTo>
                  <a:pt x="372" y="109"/>
                  <a:pt x="372" y="109"/>
                  <a:pt x="372" y="109"/>
                </a:cubicBezTo>
                <a:cubicBezTo>
                  <a:pt x="373" y="109"/>
                  <a:pt x="373" y="110"/>
                  <a:pt x="373" y="111"/>
                </a:cubicBezTo>
                <a:cubicBezTo>
                  <a:pt x="383" y="111"/>
                  <a:pt x="383" y="111"/>
                  <a:pt x="383" y="111"/>
                </a:cubicBezTo>
                <a:cubicBezTo>
                  <a:pt x="384" y="111"/>
                  <a:pt x="384" y="112"/>
                  <a:pt x="385" y="113"/>
                </a:cubicBezTo>
                <a:cubicBezTo>
                  <a:pt x="386" y="119"/>
                  <a:pt x="386" y="119"/>
                  <a:pt x="386" y="119"/>
                </a:cubicBezTo>
                <a:cubicBezTo>
                  <a:pt x="386" y="120"/>
                  <a:pt x="385" y="121"/>
                  <a:pt x="384" y="122"/>
                </a:cubicBezTo>
                <a:cubicBezTo>
                  <a:pt x="376" y="125"/>
                  <a:pt x="376" y="125"/>
                  <a:pt x="376" y="125"/>
                </a:cubicBezTo>
                <a:cubicBezTo>
                  <a:pt x="376" y="126"/>
                  <a:pt x="376" y="127"/>
                  <a:pt x="376" y="128"/>
                </a:cubicBezTo>
                <a:cubicBezTo>
                  <a:pt x="383" y="134"/>
                  <a:pt x="383" y="134"/>
                  <a:pt x="383" y="134"/>
                </a:cubicBezTo>
                <a:cubicBezTo>
                  <a:pt x="383" y="134"/>
                  <a:pt x="384" y="136"/>
                  <a:pt x="383" y="136"/>
                </a:cubicBezTo>
                <a:cubicBezTo>
                  <a:pt x="380" y="142"/>
                  <a:pt x="380" y="142"/>
                  <a:pt x="380" y="142"/>
                </a:cubicBezTo>
                <a:cubicBezTo>
                  <a:pt x="380" y="143"/>
                  <a:pt x="378" y="144"/>
                  <a:pt x="377" y="143"/>
                </a:cubicBezTo>
                <a:cubicBezTo>
                  <a:pt x="369" y="140"/>
                  <a:pt x="369" y="140"/>
                  <a:pt x="369" y="140"/>
                </a:cubicBezTo>
                <a:cubicBezTo>
                  <a:pt x="368" y="141"/>
                  <a:pt x="368" y="141"/>
                  <a:pt x="367" y="142"/>
                </a:cubicBezTo>
                <a:cubicBezTo>
                  <a:pt x="369" y="151"/>
                  <a:pt x="369" y="151"/>
                  <a:pt x="369" y="151"/>
                </a:cubicBezTo>
                <a:cubicBezTo>
                  <a:pt x="369" y="152"/>
                  <a:pt x="369" y="153"/>
                  <a:pt x="368" y="153"/>
                </a:cubicBezTo>
                <a:cubicBezTo>
                  <a:pt x="362" y="156"/>
                  <a:pt x="362" y="156"/>
                  <a:pt x="362" y="156"/>
                </a:cubicBezTo>
                <a:cubicBezTo>
                  <a:pt x="361" y="156"/>
                  <a:pt x="360" y="156"/>
                  <a:pt x="359" y="155"/>
                </a:cubicBezTo>
                <a:cubicBezTo>
                  <a:pt x="354" y="147"/>
                  <a:pt x="354" y="147"/>
                  <a:pt x="354" y="147"/>
                </a:cubicBezTo>
                <a:cubicBezTo>
                  <a:pt x="353" y="148"/>
                  <a:pt x="352" y="148"/>
                  <a:pt x="351" y="148"/>
                </a:cubicBezTo>
                <a:cubicBezTo>
                  <a:pt x="351" y="148"/>
                  <a:pt x="351" y="148"/>
                  <a:pt x="351" y="148"/>
                </a:cubicBezTo>
                <a:cubicBezTo>
                  <a:pt x="347" y="156"/>
                  <a:pt x="347" y="156"/>
                  <a:pt x="347" y="156"/>
                </a:cubicBezTo>
                <a:cubicBezTo>
                  <a:pt x="346" y="156"/>
                  <a:pt x="345" y="157"/>
                  <a:pt x="344" y="156"/>
                </a:cubicBezTo>
                <a:cubicBezTo>
                  <a:pt x="338" y="155"/>
                  <a:pt x="338" y="155"/>
                  <a:pt x="338" y="155"/>
                </a:cubicBezTo>
                <a:cubicBezTo>
                  <a:pt x="337" y="154"/>
                  <a:pt x="336" y="153"/>
                  <a:pt x="336" y="152"/>
                </a:cubicBezTo>
                <a:cubicBezTo>
                  <a:pt x="337" y="143"/>
                  <a:pt x="337" y="143"/>
                  <a:pt x="337" y="143"/>
                </a:cubicBezTo>
                <a:cubicBezTo>
                  <a:pt x="336" y="143"/>
                  <a:pt x="336" y="142"/>
                  <a:pt x="335" y="141"/>
                </a:cubicBezTo>
                <a:cubicBezTo>
                  <a:pt x="326" y="144"/>
                  <a:pt x="326" y="144"/>
                  <a:pt x="326" y="144"/>
                </a:cubicBezTo>
                <a:cubicBezTo>
                  <a:pt x="325" y="145"/>
                  <a:pt x="324" y="144"/>
                  <a:pt x="323" y="144"/>
                </a:cubicBezTo>
                <a:cubicBezTo>
                  <a:pt x="320" y="138"/>
                  <a:pt x="320" y="138"/>
                  <a:pt x="320" y="138"/>
                </a:cubicBezTo>
                <a:cubicBezTo>
                  <a:pt x="320" y="137"/>
                  <a:pt x="320" y="136"/>
                  <a:pt x="321" y="135"/>
                </a:cubicBezTo>
                <a:cubicBezTo>
                  <a:pt x="327" y="129"/>
                  <a:pt x="327" y="129"/>
                  <a:pt x="327" y="129"/>
                </a:cubicBezTo>
                <a:cubicBezTo>
                  <a:pt x="327" y="128"/>
                  <a:pt x="327" y="126"/>
                  <a:pt x="327" y="125"/>
                </a:cubicBezTo>
                <a:cubicBezTo>
                  <a:pt x="318" y="122"/>
                  <a:pt x="318" y="122"/>
                  <a:pt x="318" y="122"/>
                </a:cubicBezTo>
                <a:cubicBezTo>
                  <a:pt x="317" y="121"/>
                  <a:pt x="316" y="120"/>
                  <a:pt x="317" y="119"/>
                </a:cubicBezTo>
                <a:cubicBezTo>
                  <a:pt x="318" y="113"/>
                  <a:pt x="318" y="113"/>
                  <a:pt x="318" y="113"/>
                </a:cubicBezTo>
                <a:cubicBezTo>
                  <a:pt x="318" y="112"/>
                  <a:pt x="319" y="111"/>
                  <a:pt x="320" y="111"/>
                </a:cubicBezTo>
                <a:cubicBezTo>
                  <a:pt x="329" y="111"/>
                  <a:pt x="329" y="111"/>
                  <a:pt x="329" y="111"/>
                </a:cubicBezTo>
                <a:cubicBezTo>
                  <a:pt x="329" y="110"/>
                  <a:pt x="330" y="109"/>
                  <a:pt x="330" y="109"/>
                </a:cubicBezTo>
                <a:cubicBezTo>
                  <a:pt x="326" y="101"/>
                  <a:pt x="326" y="101"/>
                  <a:pt x="326" y="101"/>
                </a:cubicBezTo>
                <a:cubicBezTo>
                  <a:pt x="325" y="100"/>
                  <a:pt x="326" y="99"/>
                  <a:pt x="327" y="98"/>
                </a:cubicBezTo>
                <a:cubicBezTo>
                  <a:pt x="331" y="94"/>
                  <a:pt x="331" y="94"/>
                  <a:pt x="331" y="94"/>
                </a:cubicBezTo>
                <a:cubicBezTo>
                  <a:pt x="332" y="93"/>
                  <a:pt x="333" y="93"/>
                  <a:pt x="334" y="94"/>
                </a:cubicBezTo>
                <a:cubicBezTo>
                  <a:pt x="341" y="99"/>
                  <a:pt x="341" y="99"/>
                  <a:pt x="341" y="99"/>
                </a:cubicBezTo>
                <a:cubicBezTo>
                  <a:pt x="342" y="99"/>
                  <a:pt x="343" y="99"/>
                  <a:pt x="344" y="98"/>
                </a:cubicBezTo>
                <a:cubicBezTo>
                  <a:pt x="346" y="89"/>
                  <a:pt x="346" y="89"/>
                  <a:pt x="346" y="89"/>
                </a:cubicBezTo>
                <a:cubicBezTo>
                  <a:pt x="346" y="88"/>
                  <a:pt x="347" y="88"/>
                  <a:pt x="348" y="88"/>
                </a:cubicBezTo>
                <a:cubicBezTo>
                  <a:pt x="354" y="88"/>
                  <a:pt x="354" y="88"/>
                  <a:pt x="354" y="88"/>
                </a:cubicBezTo>
                <a:cubicBezTo>
                  <a:pt x="355" y="88"/>
                  <a:pt x="357" y="88"/>
                  <a:pt x="357" y="89"/>
                </a:cubicBezTo>
                <a:cubicBezTo>
                  <a:pt x="358" y="98"/>
                  <a:pt x="358" y="98"/>
                  <a:pt x="358" y="98"/>
                </a:cubicBezTo>
                <a:cubicBezTo>
                  <a:pt x="359" y="99"/>
                  <a:pt x="360" y="99"/>
                  <a:pt x="361" y="99"/>
                </a:cubicBezTo>
                <a:cubicBezTo>
                  <a:pt x="368" y="94"/>
                  <a:pt x="368" y="94"/>
                  <a:pt x="368" y="94"/>
                </a:cubicBezTo>
                <a:cubicBezTo>
                  <a:pt x="369" y="93"/>
                  <a:pt x="370" y="93"/>
                  <a:pt x="371" y="94"/>
                </a:cubicBezTo>
                <a:cubicBezTo>
                  <a:pt x="376" y="98"/>
                  <a:pt x="376" y="98"/>
                  <a:pt x="376" y="98"/>
                </a:cubicBezTo>
                <a:cubicBezTo>
                  <a:pt x="377" y="98"/>
                  <a:pt x="377" y="100"/>
                  <a:pt x="376" y="101"/>
                </a:cubicBezTo>
                <a:close/>
                <a:moveTo>
                  <a:pt x="365" y="122"/>
                </a:moveTo>
                <a:cubicBezTo>
                  <a:pt x="365" y="115"/>
                  <a:pt x="358" y="109"/>
                  <a:pt x="351" y="109"/>
                </a:cubicBezTo>
                <a:cubicBezTo>
                  <a:pt x="344" y="109"/>
                  <a:pt x="338" y="115"/>
                  <a:pt x="338" y="122"/>
                </a:cubicBezTo>
                <a:cubicBezTo>
                  <a:pt x="338" y="130"/>
                  <a:pt x="344" y="136"/>
                  <a:pt x="351" y="136"/>
                </a:cubicBezTo>
                <a:cubicBezTo>
                  <a:pt x="358" y="136"/>
                  <a:pt x="365" y="130"/>
                  <a:pt x="365" y="122"/>
                </a:cubicBezTo>
                <a:close/>
                <a:moveTo>
                  <a:pt x="174" y="737"/>
                </a:moveTo>
                <a:cubicBezTo>
                  <a:pt x="170" y="737"/>
                  <a:pt x="168" y="739"/>
                  <a:pt x="168" y="742"/>
                </a:cubicBezTo>
                <a:cubicBezTo>
                  <a:pt x="168" y="746"/>
                  <a:pt x="170" y="748"/>
                  <a:pt x="174" y="748"/>
                </a:cubicBezTo>
                <a:cubicBezTo>
                  <a:pt x="177" y="748"/>
                  <a:pt x="179" y="746"/>
                  <a:pt x="179" y="742"/>
                </a:cubicBezTo>
                <a:cubicBezTo>
                  <a:pt x="179" y="739"/>
                  <a:pt x="177" y="737"/>
                  <a:pt x="174" y="737"/>
                </a:cubicBezTo>
                <a:close/>
                <a:moveTo>
                  <a:pt x="229" y="841"/>
                </a:moveTo>
                <a:cubicBezTo>
                  <a:pt x="230" y="832"/>
                  <a:pt x="230" y="832"/>
                  <a:pt x="230" y="832"/>
                </a:cubicBezTo>
                <a:cubicBezTo>
                  <a:pt x="229" y="832"/>
                  <a:pt x="229" y="831"/>
                  <a:pt x="228" y="830"/>
                </a:cubicBezTo>
                <a:cubicBezTo>
                  <a:pt x="219" y="833"/>
                  <a:pt x="219" y="833"/>
                  <a:pt x="219" y="833"/>
                </a:cubicBezTo>
                <a:cubicBezTo>
                  <a:pt x="218" y="834"/>
                  <a:pt x="217" y="833"/>
                  <a:pt x="217" y="833"/>
                </a:cubicBezTo>
                <a:cubicBezTo>
                  <a:pt x="213" y="827"/>
                  <a:pt x="213" y="827"/>
                  <a:pt x="213" y="827"/>
                </a:cubicBezTo>
                <a:cubicBezTo>
                  <a:pt x="213" y="826"/>
                  <a:pt x="213" y="825"/>
                  <a:pt x="214" y="824"/>
                </a:cubicBezTo>
                <a:cubicBezTo>
                  <a:pt x="220" y="818"/>
                  <a:pt x="220" y="818"/>
                  <a:pt x="220" y="818"/>
                </a:cubicBezTo>
                <a:cubicBezTo>
                  <a:pt x="220" y="817"/>
                  <a:pt x="220" y="815"/>
                  <a:pt x="220" y="814"/>
                </a:cubicBezTo>
                <a:cubicBezTo>
                  <a:pt x="211" y="811"/>
                  <a:pt x="211" y="811"/>
                  <a:pt x="211" y="811"/>
                </a:cubicBezTo>
                <a:cubicBezTo>
                  <a:pt x="210" y="810"/>
                  <a:pt x="210" y="809"/>
                  <a:pt x="210" y="808"/>
                </a:cubicBezTo>
                <a:cubicBezTo>
                  <a:pt x="211" y="802"/>
                  <a:pt x="211" y="802"/>
                  <a:pt x="211" y="802"/>
                </a:cubicBezTo>
                <a:cubicBezTo>
                  <a:pt x="211" y="801"/>
                  <a:pt x="212" y="800"/>
                  <a:pt x="213" y="800"/>
                </a:cubicBezTo>
                <a:cubicBezTo>
                  <a:pt x="222" y="800"/>
                  <a:pt x="222" y="800"/>
                  <a:pt x="222" y="800"/>
                </a:cubicBezTo>
                <a:cubicBezTo>
                  <a:pt x="222" y="799"/>
                  <a:pt x="223" y="798"/>
                  <a:pt x="223" y="798"/>
                </a:cubicBezTo>
                <a:cubicBezTo>
                  <a:pt x="219" y="790"/>
                  <a:pt x="219" y="790"/>
                  <a:pt x="219" y="790"/>
                </a:cubicBezTo>
                <a:cubicBezTo>
                  <a:pt x="218" y="789"/>
                  <a:pt x="219" y="788"/>
                  <a:pt x="220" y="787"/>
                </a:cubicBezTo>
                <a:cubicBezTo>
                  <a:pt x="224" y="783"/>
                  <a:pt x="224" y="783"/>
                  <a:pt x="224" y="783"/>
                </a:cubicBezTo>
                <a:cubicBezTo>
                  <a:pt x="225" y="782"/>
                  <a:pt x="226" y="782"/>
                  <a:pt x="227" y="783"/>
                </a:cubicBezTo>
                <a:cubicBezTo>
                  <a:pt x="234" y="788"/>
                  <a:pt x="234" y="788"/>
                  <a:pt x="234" y="788"/>
                </a:cubicBezTo>
                <a:cubicBezTo>
                  <a:pt x="235" y="788"/>
                  <a:pt x="236" y="788"/>
                  <a:pt x="237" y="787"/>
                </a:cubicBezTo>
                <a:cubicBezTo>
                  <a:pt x="239" y="778"/>
                  <a:pt x="239" y="778"/>
                  <a:pt x="239" y="778"/>
                </a:cubicBezTo>
                <a:cubicBezTo>
                  <a:pt x="239" y="778"/>
                  <a:pt x="240" y="777"/>
                  <a:pt x="241" y="777"/>
                </a:cubicBezTo>
                <a:cubicBezTo>
                  <a:pt x="248" y="777"/>
                  <a:pt x="248" y="777"/>
                  <a:pt x="248" y="777"/>
                </a:cubicBezTo>
                <a:cubicBezTo>
                  <a:pt x="248" y="777"/>
                  <a:pt x="250" y="778"/>
                  <a:pt x="250" y="778"/>
                </a:cubicBezTo>
                <a:cubicBezTo>
                  <a:pt x="252" y="787"/>
                  <a:pt x="252" y="787"/>
                  <a:pt x="252" y="787"/>
                </a:cubicBezTo>
                <a:cubicBezTo>
                  <a:pt x="252" y="788"/>
                  <a:pt x="253" y="788"/>
                  <a:pt x="254" y="788"/>
                </a:cubicBezTo>
                <a:cubicBezTo>
                  <a:pt x="261" y="783"/>
                  <a:pt x="261" y="783"/>
                  <a:pt x="261" y="783"/>
                </a:cubicBezTo>
                <a:cubicBezTo>
                  <a:pt x="262" y="782"/>
                  <a:pt x="263" y="782"/>
                  <a:pt x="264" y="783"/>
                </a:cubicBezTo>
                <a:cubicBezTo>
                  <a:pt x="269" y="787"/>
                  <a:pt x="269" y="787"/>
                  <a:pt x="269" y="787"/>
                </a:cubicBezTo>
                <a:cubicBezTo>
                  <a:pt x="270" y="787"/>
                  <a:pt x="270" y="789"/>
                  <a:pt x="270" y="790"/>
                </a:cubicBezTo>
                <a:cubicBezTo>
                  <a:pt x="265" y="798"/>
                  <a:pt x="265" y="798"/>
                  <a:pt x="265" y="798"/>
                </a:cubicBezTo>
                <a:cubicBezTo>
                  <a:pt x="266" y="798"/>
                  <a:pt x="266" y="799"/>
                  <a:pt x="267" y="800"/>
                </a:cubicBezTo>
                <a:cubicBezTo>
                  <a:pt x="276" y="800"/>
                  <a:pt x="276" y="800"/>
                  <a:pt x="276" y="800"/>
                </a:cubicBezTo>
                <a:cubicBezTo>
                  <a:pt x="277" y="800"/>
                  <a:pt x="278" y="801"/>
                  <a:pt x="278" y="802"/>
                </a:cubicBezTo>
                <a:cubicBezTo>
                  <a:pt x="279" y="808"/>
                  <a:pt x="279" y="808"/>
                  <a:pt x="279" y="808"/>
                </a:cubicBezTo>
                <a:cubicBezTo>
                  <a:pt x="279" y="809"/>
                  <a:pt x="278" y="810"/>
                  <a:pt x="278" y="811"/>
                </a:cubicBezTo>
                <a:cubicBezTo>
                  <a:pt x="269" y="814"/>
                  <a:pt x="269" y="814"/>
                  <a:pt x="269" y="814"/>
                </a:cubicBezTo>
                <a:cubicBezTo>
                  <a:pt x="269" y="815"/>
                  <a:pt x="269" y="816"/>
                  <a:pt x="269" y="817"/>
                </a:cubicBezTo>
                <a:cubicBezTo>
                  <a:pt x="276" y="823"/>
                  <a:pt x="276" y="823"/>
                  <a:pt x="276" y="823"/>
                </a:cubicBezTo>
                <a:cubicBezTo>
                  <a:pt x="276" y="823"/>
                  <a:pt x="277" y="825"/>
                  <a:pt x="276" y="825"/>
                </a:cubicBezTo>
                <a:cubicBezTo>
                  <a:pt x="273" y="831"/>
                  <a:pt x="273" y="831"/>
                  <a:pt x="273" y="831"/>
                </a:cubicBezTo>
                <a:cubicBezTo>
                  <a:pt x="273" y="832"/>
                  <a:pt x="271" y="833"/>
                  <a:pt x="270" y="832"/>
                </a:cubicBezTo>
                <a:cubicBezTo>
                  <a:pt x="262" y="829"/>
                  <a:pt x="262" y="829"/>
                  <a:pt x="262" y="829"/>
                </a:cubicBezTo>
                <a:cubicBezTo>
                  <a:pt x="261" y="830"/>
                  <a:pt x="261" y="830"/>
                  <a:pt x="260" y="831"/>
                </a:cubicBezTo>
                <a:cubicBezTo>
                  <a:pt x="262" y="840"/>
                  <a:pt x="262" y="840"/>
                  <a:pt x="262" y="840"/>
                </a:cubicBezTo>
                <a:cubicBezTo>
                  <a:pt x="263" y="841"/>
                  <a:pt x="262" y="842"/>
                  <a:pt x="261" y="842"/>
                </a:cubicBezTo>
                <a:cubicBezTo>
                  <a:pt x="255" y="845"/>
                  <a:pt x="255" y="845"/>
                  <a:pt x="255" y="845"/>
                </a:cubicBezTo>
                <a:cubicBezTo>
                  <a:pt x="254" y="845"/>
                  <a:pt x="253" y="845"/>
                  <a:pt x="252" y="844"/>
                </a:cubicBezTo>
                <a:cubicBezTo>
                  <a:pt x="247" y="836"/>
                  <a:pt x="247" y="836"/>
                  <a:pt x="247" y="836"/>
                </a:cubicBezTo>
                <a:cubicBezTo>
                  <a:pt x="246" y="837"/>
                  <a:pt x="245" y="837"/>
                  <a:pt x="244" y="837"/>
                </a:cubicBezTo>
                <a:cubicBezTo>
                  <a:pt x="244" y="837"/>
                  <a:pt x="244" y="837"/>
                  <a:pt x="244" y="837"/>
                </a:cubicBezTo>
                <a:cubicBezTo>
                  <a:pt x="240" y="845"/>
                  <a:pt x="240" y="845"/>
                  <a:pt x="240" y="845"/>
                </a:cubicBezTo>
                <a:cubicBezTo>
                  <a:pt x="239" y="845"/>
                  <a:pt x="238" y="846"/>
                  <a:pt x="237" y="845"/>
                </a:cubicBezTo>
                <a:cubicBezTo>
                  <a:pt x="231" y="844"/>
                  <a:pt x="231" y="844"/>
                  <a:pt x="231" y="844"/>
                </a:cubicBezTo>
                <a:cubicBezTo>
                  <a:pt x="230" y="843"/>
                  <a:pt x="229" y="842"/>
                  <a:pt x="229" y="841"/>
                </a:cubicBezTo>
                <a:close/>
                <a:moveTo>
                  <a:pt x="231" y="811"/>
                </a:moveTo>
                <a:cubicBezTo>
                  <a:pt x="231" y="819"/>
                  <a:pt x="237" y="825"/>
                  <a:pt x="244" y="825"/>
                </a:cubicBezTo>
                <a:cubicBezTo>
                  <a:pt x="252" y="825"/>
                  <a:pt x="258" y="819"/>
                  <a:pt x="258" y="811"/>
                </a:cubicBezTo>
                <a:cubicBezTo>
                  <a:pt x="258" y="804"/>
                  <a:pt x="252" y="798"/>
                  <a:pt x="244" y="798"/>
                </a:cubicBezTo>
                <a:cubicBezTo>
                  <a:pt x="237" y="798"/>
                  <a:pt x="231" y="804"/>
                  <a:pt x="231" y="811"/>
                </a:cubicBezTo>
                <a:close/>
                <a:moveTo>
                  <a:pt x="599" y="197"/>
                </a:moveTo>
                <a:cubicBezTo>
                  <a:pt x="602" y="197"/>
                  <a:pt x="604" y="194"/>
                  <a:pt x="604" y="191"/>
                </a:cubicBezTo>
                <a:cubicBezTo>
                  <a:pt x="604" y="188"/>
                  <a:pt x="602" y="186"/>
                  <a:pt x="599" y="186"/>
                </a:cubicBezTo>
                <a:cubicBezTo>
                  <a:pt x="596" y="186"/>
                  <a:pt x="593" y="188"/>
                  <a:pt x="593" y="191"/>
                </a:cubicBezTo>
                <a:cubicBezTo>
                  <a:pt x="593" y="194"/>
                  <a:pt x="596" y="197"/>
                  <a:pt x="599" y="197"/>
                </a:cubicBezTo>
                <a:close/>
                <a:moveTo>
                  <a:pt x="411" y="170"/>
                </a:moveTo>
                <a:cubicBezTo>
                  <a:pt x="407" y="178"/>
                  <a:pt x="407" y="178"/>
                  <a:pt x="407" y="178"/>
                </a:cubicBezTo>
                <a:cubicBezTo>
                  <a:pt x="407" y="178"/>
                  <a:pt x="408" y="179"/>
                  <a:pt x="408" y="180"/>
                </a:cubicBezTo>
                <a:cubicBezTo>
                  <a:pt x="418" y="180"/>
                  <a:pt x="418" y="180"/>
                  <a:pt x="418" y="180"/>
                </a:cubicBezTo>
                <a:cubicBezTo>
                  <a:pt x="418" y="180"/>
                  <a:pt x="419" y="181"/>
                  <a:pt x="420" y="182"/>
                </a:cubicBezTo>
                <a:cubicBezTo>
                  <a:pt x="421" y="188"/>
                  <a:pt x="421" y="188"/>
                  <a:pt x="421" y="188"/>
                </a:cubicBezTo>
                <a:cubicBezTo>
                  <a:pt x="421" y="189"/>
                  <a:pt x="420" y="190"/>
                  <a:pt x="419" y="191"/>
                </a:cubicBezTo>
                <a:cubicBezTo>
                  <a:pt x="411" y="194"/>
                  <a:pt x="411" y="194"/>
                  <a:pt x="411" y="194"/>
                </a:cubicBezTo>
                <a:cubicBezTo>
                  <a:pt x="411" y="195"/>
                  <a:pt x="411" y="196"/>
                  <a:pt x="410" y="197"/>
                </a:cubicBezTo>
                <a:cubicBezTo>
                  <a:pt x="418" y="203"/>
                  <a:pt x="418" y="203"/>
                  <a:pt x="418" y="203"/>
                </a:cubicBezTo>
                <a:cubicBezTo>
                  <a:pt x="418" y="203"/>
                  <a:pt x="418" y="204"/>
                  <a:pt x="418" y="205"/>
                </a:cubicBezTo>
                <a:cubicBezTo>
                  <a:pt x="415" y="211"/>
                  <a:pt x="415" y="211"/>
                  <a:pt x="415" y="211"/>
                </a:cubicBezTo>
                <a:cubicBezTo>
                  <a:pt x="414" y="212"/>
                  <a:pt x="413" y="212"/>
                  <a:pt x="412" y="212"/>
                </a:cubicBezTo>
                <a:cubicBezTo>
                  <a:pt x="403" y="209"/>
                  <a:pt x="403" y="209"/>
                  <a:pt x="403" y="209"/>
                </a:cubicBezTo>
                <a:cubicBezTo>
                  <a:pt x="403" y="210"/>
                  <a:pt x="403" y="210"/>
                  <a:pt x="402" y="211"/>
                </a:cubicBezTo>
                <a:cubicBezTo>
                  <a:pt x="404" y="220"/>
                  <a:pt x="404" y="220"/>
                  <a:pt x="404" y="220"/>
                </a:cubicBezTo>
                <a:cubicBezTo>
                  <a:pt x="404" y="220"/>
                  <a:pt x="404" y="222"/>
                  <a:pt x="403" y="222"/>
                </a:cubicBezTo>
                <a:cubicBezTo>
                  <a:pt x="397" y="224"/>
                  <a:pt x="397" y="224"/>
                  <a:pt x="397" y="224"/>
                </a:cubicBezTo>
                <a:cubicBezTo>
                  <a:pt x="396" y="225"/>
                  <a:pt x="395" y="224"/>
                  <a:pt x="394" y="224"/>
                </a:cubicBezTo>
                <a:cubicBezTo>
                  <a:pt x="389" y="216"/>
                  <a:pt x="389" y="216"/>
                  <a:pt x="389" y="216"/>
                </a:cubicBezTo>
                <a:cubicBezTo>
                  <a:pt x="388" y="216"/>
                  <a:pt x="387" y="216"/>
                  <a:pt x="386" y="216"/>
                </a:cubicBezTo>
                <a:cubicBezTo>
                  <a:pt x="386" y="216"/>
                  <a:pt x="386" y="216"/>
                  <a:pt x="386" y="216"/>
                </a:cubicBezTo>
                <a:cubicBezTo>
                  <a:pt x="382" y="224"/>
                  <a:pt x="382" y="224"/>
                  <a:pt x="382" y="224"/>
                </a:cubicBezTo>
                <a:cubicBezTo>
                  <a:pt x="381" y="225"/>
                  <a:pt x="380" y="226"/>
                  <a:pt x="379" y="225"/>
                </a:cubicBezTo>
                <a:cubicBezTo>
                  <a:pt x="373" y="223"/>
                  <a:pt x="373" y="224"/>
                  <a:pt x="373" y="224"/>
                </a:cubicBezTo>
                <a:cubicBezTo>
                  <a:pt x="372" y="223"/>
                  <a:pt x="371" y="222"/>
                  <a:pt x="371" y="221"/>
                </a:cubicBezTo>
                <a:cubicBezTo>
                  <a:pt x="372" y="212"/>
                  <a:pt x="372" y="212"/>
                  <a:pt x="372" y="212"/>
                </a:cubicBezTo>
                <a:cubicBezTo>
                  <a:pt x="371" y="212"/>
                  <a:pt x="371" y="211"/>
                  <a:pt x="370" y="210"/>
                </a:cubicBezTo>
                <a:cubicBezTo>
                  <a:pt x="361" y="213"/>
                  <a:pt x="361" y="213"/>
                  <a:pt x="361" y="213"/>
                </a:cubicBezTo>
                <a:cubicBezTo>
                  <a:pt x="360" y="214"/>
                  <a:pt x="359" y="213"/>
                  <a:pt x="358" y="212"/>
                </a:cubicBezTo>
                <a:cubicBezTo>
                  <a:pt x="355" y="207"/>
                  <a:pt x="355" y="207"/>
                  <a:pt x="355" y="207"/>
                </a:cubicBezTo>
                <a:cubicBezTo>
                  <a:pt x="355" y="206"/>
                  <a:pt x="355" y="205"/>
                  <a:pt x="356" y="204"/>
                </a:cubicBezTo>
                <a:cubicBezTo>
                  <a:pt x="362" y="198"/>
                  <a:pt x="362" y="198"/>
                  <a:pt x="362" y="198"/>
                </a:cubicBezTo>
                <a:cubicBezTo>
                  <a:pt x="362" y="197"/>
                  <a:pt x="361" y="195"/>
                  <a:pt x="361" y="194"/>
                </a:cubicBezTo>
                <a:cubicBezTo>
                  <a:pt x="353" y="191"/>
                  <a:pt x="353" y="191"/>
                  <a:pt x="353" y="191"/>
                </a:cubicBezTo>
                <a:cubicBezTo>
                  <a:pt x="352" y="190"/>
                  <a:pt x="351" y="189"/>
                  <a:pt x="352" y="188"/>
                </a:cubicBezTo>
                <a:cubicBezTo>
                  <a:pt x="353" y="182"/>
                  <a:pt x="353" y="182"/>
                  <a:pt x="353" y="182"/>
                </a:cubicBezTo>
                <a:cubicBezTo>
                  <a:pt x="353" y="181"/>
                  <a:pt x="354" y="180"/>
                  <a:pt x="355" y="180"/>
                </a:cubicBezTo>
                <a:cubicBezTo>
                  <a:pt x="364" y="180"/>
                  <a:pt x="364" y="180"/>
                  <a:pt x="364" y="180"/>
                </a:cubicBezTo>
                <a:cubicBezTo>
                  <a:pt x="364" y="179"/>
                  <a:pt x="365" y="178"/>
                  <a:pt x="365" y="178"/>
                </a:cubicBezTo>
                <a:cubicBezTo>
                  <a:pt x="361" y="170"/>
                  <a:pt x="361" y="170"/>
                  <a:pt x="361" y="170"/>
                </a:cubicBezTo>
                <a:cubicBezTo>
                  <a:pt x="360" y="169"/>
                  <a:pt x="361" y="168"/>
                  <a:pt x="361" y="167"/>
                </a:cubicBezTo>
                <a:cubicBezTo>
                  <a:pt x="366" y="163"/>
                  <a:pt x="366" y="163"/>
                  <a:pt x="366" y="163"/>
                </a:cubicBezTo>
                <a:cubicBezTo>
                  <a:pt x="367" y="162"/>
                  <a:pt x="368" y="162"/>
                  <a:pt x="369" y="163"/>
                </a:cubicBezTo>
                <a:cubicBezTo>
                  <a:pt x="376" y="168"/>
                  <a:pt x="376" y="168"/>
                  <a:pt x="376" y="168"/>
                </a:cubicBezTo>
                <a:cubicBezTo>
                  <a:pt x="377" y="168"/>
                  <a:pt x="378" y="168"/>
                  <a:pt x="379" y="167"/>
                </a:cubicBezTo>
                <a:cubicBezTo>
                  <a:pt x="381" y="158"/>
                  <a:pt x="381" y="158"/>
                  <a:pt x="381" y="158"/>
                </a:cubicBezTo>
                <a:cubicBezTo>
                  <a:pt x="381" y="157"/>
                  <a:pt x="382" y="156"/>
                  <a:pt x="383" y="156"/>
                </a:cubicBezTo>
                <a:cubicBezTo>
                  <a:pt x="389" y="156"/>
                  <a:pt x="389" y="156"/>
                  <a:pt x="389" y="156"/>
                </a:cubicBezTo>
                <a:cubicBezTo>
                  <a:pt x="390" y="156"/>
                  <a:pt x="391" y="157"/>
                  <a:pt x="391" y="158"/>
                </a:cubicBezTo>
                <a:cubicBezTo>
                  <a:pt x="393" y="167"/>
                  <a:pt x="393" y="167"/>
                  <a:pt x="393" y="167"/>
                </a:cubicBezTo>
                <a:cubicBezTo>
                  <a:pt x="394" y="168"/>
                  <a:pt x="395" y="168"/>
                  <a:pt x="396" y="168"/>
                </a:cubicBezTo>
                <a:cubicBezTo>
                  <a:pt x="403" y="163"/>
                  <a:pt x="403" y="163"/>
                  <a:pt x="403" y="163"/>
                </a:cubicBezTo>
                <a:cubicBezTo>
                  <a:pt x="404" y="162"/>
                  <a:pt x="405" y="162"/>
                  <a:pt x="406" y="163"/>
                </a:cubicBezTo>
                <a:cubicBezTo>
                  <a:pt x="411" y="167"/>
                  <a:pt x="411" y="167"/>
                  <a:pt x="411" y="167"/>
                </a:cubicBezTo>
                <a:cubicBezTo>
                  <a:pt x="412" y="167"/>
                  <a:pt x="412" y="169"/>
                  <a:pt x="411" y="170"/>
                </a:cubicBezTo>
                <a:close/>
                <a:moveTo>
                  <a:pt x="399" y="191"/>
                </a:moveTo>
                <a:cubicBezTo>
                  <a:pt x="399" y="184"/>
                  <a:pt x="393" y="178"/>
                  <a:pt x="386" y="178"/>
                </a:cubicBezTo>
                <a:cubicBezTo>
                  <a:pt x="379" y="178"/>
                  <a:pt x="373" y="184"/>
                  <a:pt x="373" y="191"/>
                </a:cubicBezTo>
                <a:cubicBezTo>
                  <a:pt x="373" y="199"/>
                  <a:pt x="379" y="204"/>
                  <a:pt x="386" y="204"/>
                </a:cubicBezTo>
                <a:cubicBezTo>
                  <a:pt x="393" y="204"/>
                  <a:pt x="399" y="199"/>
                  <a:pt x="399" y="191"/>
                </a:cubicBezTo>
                <a:close/>
                <a:moveTo>
                  <a:pt x="103" y="599"/>
                </a:moveTo>
                <a:cubicBezTo>
                  <a:pt x="99" y="599"/>
                  <a:pt x="97" y="602"/>
                  <a:pt x="97" y="605"/>
                </a:cubicBezTo>
                <a:cubicBezTo>
                  <a:pt x="97" y="608"/>
                  <a:pt x="99" y="610"/>
                  <a:pt x="103" y="610"/>
                </a:cubicBezTo>
                <a:cubicBezTo>
                  <a:pt x="106" y="610"/>
                  <a:pt x="108" y="608"/>
                  <a:pt x="108" y="605"/>
                </a:cubicBezTo>
                <a:cubicBezTo>
                  <a:pt x="108" y="602"/>
                  <a:pt x="106" y="599"/>
                  <a:pt x="103" y="599"/>
                </a:cubicBezTo>
                <a:close/>
                <a:moveTo>
                  <a:pt x="244" y="817"/>
                </a:moveTo>
                <a:cubicBezTo>
                  <a:pt x="248" y="817"/>
                  <a:pt x="250" y="814"/>
                  <a:pt x="250" y="811"/>
                </a:cubicBezTo>
                <a:cubicBezTo>
                  <a:pt x="250" y="808"/>
                  <a:pt x="248" y="806"/>
                  <a:pt x="244" y="806"/>
                </a:cubicBezTo>
                <a:cubicBezTo>
                  <a:pt x="241" y="806"/>
                  <a:pt x="239" y="808"/>
                  <a:pt x="239" y="811"/>
                </a:cubicBezTo>
                <a:cubicBezTo>
                  <a:pt x="239" y="814"/>
                  <a:pt x="241" y="817"/>
                  <a:pt x="244" y="817"/>
                </a:cubicBezTo>
                <a:close/>
                <a:moveTo>
                  <a:pt x="639" y="180"/>
                </a:moveTo>
                <a:cubicBezTo>
                  <a:pt x="637" y="180"/>
                  <a:pt x="636" y="181"/>
                  <a:pt x="636" y="182"/>
                </a:cubicBezTo>
                <a:cubicBezTo>
                  <a:pt x="636" y="182"/>
                  <a:pt x="636" y="182"/>
                  <a:pt x="635" y="188"/>
                </a:cubicBezTo>
                <a:cubicBezTo>
                  <a:pt x="635" y="189"/>
                  <a:pt x="636" y="190"/>
                  <a:pt x="636" y="191"/>
                </a:cubicBezTo>
                <a:cubicBezTo>
                  <a:pt x="636" y="191"/>
                  <a:pt x="636" y="191"/>
                  <a:pt x="645" y="194"/>
                </a:cubicBezTo>
                <a:cubicBezTo>
                  <a:pt x="645" y="195"/>
                  <a:pt x="645" y="197"/>
                  <a:pt x="646" y="198"/>
                </a:cubicBezTo>
                <a:cubicBezTo>
                  <a:pt x="646" y="198"/>
                  <a:pt x="646" y="198"/>
                  <a:pt x="639" y="204"/>
                </a:cubicBezTo>
                <a:cubicBezTo>
                  <a:pt x="638" y="205"/>
                  <a:pt x="638" y="206"/>
                  <a:pt x="639" y="207"/>
                </a:cubicBezTo>
                <a:cubicBezTo>
                  <a:pt x="639" y="207"/>
                  <a:pt x="639" y="207"/>
                  <a:pt x="642" y="212"/>
                </a:cubicBezTo>
                <a:cubicBezTo>
                  <a:pt x="643" y="213"/>
                  <a:pt x="644" y="214"/>
                  <a:pt x="645" y="213"/>
                </a:cubicBezTo>
                <a:cubicBezTo>
                  <a:pt x="645" y="213"/>
                  <a:pt x="645" y="213"/>
                  <a:pt x="649" y="212"/>
                </a:cubicBezTo>
                <a:cubicBezTo>
                  <a:pt x="649" y="163"/>
                  <a:pt x="649" y="163"/>
                  <a:pt x="649" y="163"/>
                </a:cubicBezTo>
                <a:cubicBezTo>
                  <a:pt x="649" y="164"/>
                  <a:pt x="647" y="165"/>
                  <a:pt x="645" y="167"/>
                </a:cubicBezTo>
                <a:cubicBezTo>
                  <a:pt x="644" y="168"/>
                  <a:pt x="644" y="169"/>
                  <a:pt x="644" y="170"/>
                </a:cubicBezTo>
                <a:cubicBezTo>
                  <a:pt x="644" y="170"/>
                  <a:pt x="644" y="170"/>
                  <a:pt x="649" y="178"/>
                </a:cubicBezTo>
                <a:cubicBezTo>
                  <a:pt x="648" y="178"/>
                  <a:pt x="648" y="179"/>
                  <a:pt x="647" y="180"/>
                </a:cubicBezTo>
                <a:cubicBezTo>
                  <a:pt x="647" y="180"/>
                  <a:pt x="647" y="180"/>
                  <a:pt x="639" y="180"/>
                </a:cubicBezTo>
                <a:close/>
                <a:moveTo>
                  <a:pt x="528" y="186"/>
                </a:moveTo>
                <a:cubicBezTo>
                  <a:pt x="525" y="186"/>
                  <a:pt x="522" y="188"/>
                  <a:pt x="522" y="191"/>
                </a:cubicBezTo>
                <a:cubicBezTo>
                  <a:pt x="522" y="194"/>
                  <a:pt x="525" y="197"/>
                  <a:pt x="528" y="197"/>
                </a:cubicBezTo>
                <a:cubicBezTo>
                  <a:pt x="531" y="197"/>
                  <a:pt x="534" y="194"/>
                  <a:pt x="534" y="191"/>
                </a:cubicBezTo>
                <a:cubicBezTo>
                  <a:pt x="534" y="188"/>
                  <a:pt x="531" y="186"/>
                  <a:pt x="528" y="186"/>
                </a:cubicBezTo>
                <a:close/>
                <a:moveTo>
                  <a:pt x="553" y="170"/>
                </a:moveTo>
                <a:cubicBezTo>
                  <a:pt x="549" y="178"/>
                  <a:pt x="549" y="178"/>
                  <a:pt x="549" y="178"/>
                </a:cubicBezTo>
                <a:cubicBezTo>
                  <a:pt x="549" y="178"/>
                  <a:pt x="550" y="179"/>
                  <a:pt x="550" y="180"/>
                </a:cubicBezTo>
                <a:cubicBezTo>
                  <a:pt x="559" y="180"/>
                  <a:pt x="559" y="180"/>
                  <a:pt x="559" y="180"/>
                </a:cubicBezTo>
                <a:cubicBezTo>
                  <a:pt x="560" y="180"/>
                  <a:pt x="561" y="181"/>
                  <a:pt x="561" y="182"/>
                </a:cubicBezTo>
                <a:cubicBezTo>
                  <a:pt x="563" y="188"/>
                  <a:pt x="563" y="188"/>
                  <a:pt x="563" y="188"/>
                </a:cubicBezTo>
                <a:cubicBezTo>
                  <a:pt x="563" y="189"/>
                  <a:pt x="562" y="190"/>
                  <a:pt x="561" y="191"/>
                </a:cubicBezTo>
                <a:cubicBezTo>
                  <a:pt x="553" y="194"/>
                  <a:pt x="553" y="194"/>
                  <a:pt x="553" y="194"/>
                </a:cubicBezTo>
                <a:cubicBezTo>
                  <a:pt x="553" y="195"/>
                  <a:pt x="553" y="196"/>
                  <a:pt x="552" y="197"/>
                </a:cubicBezTo>
                <a:cubicBezTo>
                  <a:pt x="559" y="203"/>
                  <a:pt x="559" y="203"/>
                  <a:pt x="559" y="203"/>
                </a:cubicBezTo>
                <a:cubicBezTo>
                  <a:pt x="560" y="203"/>
                  <a:pt x="560" y="204"/>
                  <a:pt x="560" y="205"/>
                </a:cubicBezTo>
                <a:cubicBezTo>
                  <a:pt x="557" y="211"/>
                  <a:pt x="557" y="211"/>
                  <a:pt x="557" y="211"/>
                </a:cubicBezTo>
                <a:cubicBezTo>
                  <a:pt x="556" y="212"/>
                  <a:pt x="555" y="212"/>
                  <a:pt x="554" y="212"/>
                </a:cubicBezTo>
                <a:cubicBezTo>
                  <a:pt x="545" y="209"/>
                  <a:pt x="545" y="209"/>
                  <a:pt x="545" y="209"/>
                </a:cubicBezTo>
                <a:cubicBezTo>
                  <a:pt x="545" y="210"/>
                  <a:pt x="545" y="210"/>
                  <a:pt x="544" y="211"/>
                </a:cubicBezTo>
                <a:cubicBezTo>
                  <a:pt x="546" y="220"/>
                  <a:pt x="546" y="220"/>
                  <a:pt x="546" y="220"/>
                </a:cubicBezTo>
                <a:cubicBezTo>
                  <a:pt x="546" y="220"/>
                  <a:pt x="546" y="222"/>
                  <a:pt x="545" y="222"/>
                </a:cubicBezTo>
                <a:cubicBezTo>
                  <a:pt x="539" y="224"/>
                  <a:pt x="539" y="224"/>
                  <a:pt x="539" y="224"/>
                </a:cubicBezTo>
                <a:cubicBezTo>
                  <a:pt x="538" y="225"/>
                  <a:pt x="537" y="224"/>
                  <a:pt x="536" y="224"/>
                </a:cubicBezTo>
                <a:cubicBezTo>
                  <a:pt x="531" y="216"/>
                  <a:pt x="531" y="216"/>
                  <a:pt x="531" y="216"/>
                </a:cubicBezTo>
                <a:cubicBezTo>
                  <a:pt x="530" y="216"/>
                  <a:pt x="529" y="216"/>
                  <a:pt x="528" y="216"/>
                </a:cubicBezTo>
                <a:cubicBezTo>
                  <a:pt x="528" y="216"/>
                  <a:pt x="528" y="216"/>
                  <a:pt x="528" y="216"/>
                </a:cubicBezTo>
                <a:cubicBezTo>
                  <a:pt x="523" y="224"/>
                  <a:pt x="523" y="224"/>
                  <a:pt x="523" y="224"/>
                </a:cubicBezTo>
                <a:cubicBezTo>
                  <a:pt x="523" y="225"/>
                  <a:pt x="522" y="226"/>
                  <a:pt x="521" y="225"/>
                </a:cubicBezTo>
                <a:cubicBezTo>
                  <a:pt x="515" y="223"/>
                  <a:pt x="515" y="224"/>
                  <a:pt x="515" y="224"/>
                </a:cubicBezTo>
                <a:cubicBezTo>
                  <a:pt x="514" y="223"/>
                  <a:pt x="513" y="222"/>
                  <a:pt x="513" y="221"/>
                </a:cubicBezTo>
                <a:cubicBezTo>
                  <a:pt x="514" y="212"/>
                  <a:pt x="514" y="212"/>
                  <a:pt x="514" y="212"/>
                </a:cubicBezTo>
                <a:cubicBezTo>
                  <a:pt x="513" y="212"/>
                  <a:pt x="512" y="211"/>
                  <a:pt x="511" y="210"/>
                </a:cubicBezTo>
                <a:cubicBezTo>
                  <a:pt x="503" y="213"/>
                  <a:pt x="503" y="213"/>
                  <a:pt x="503" y="213"/>
                </a:cubicBezTo>
                <a:cubicBezTo>
                  <a:pt x="502" y="214"/>
                  <a:pt x="501" y="213"/>
                  <a:pt x="500" y="212"/>
                </a:cubicBezTo>
                <a:cubicBezTo>
                  <a:pt x="497" y="207"/>
                  <a:pt x="497" y="207"/>
                  <a:pt x="497" y="207"/>
                </a:cubicBezTo>
                <a:cubicBezTo>
                  <a:pt x="496" y="206"/>
                  <a:pt x="496" y="205"/>
                  <a:pt x="497" y="204"/>
                </a:cubicBezTo>
                <a:cubicBezTo>
                  <a:pt x="504" y="198"/>
                  <a:pt x="504" y="198"/>
                  <a:pt x="504" y="198"/>
                </a:cubicBezTo>
                <a:cubicBezTo>
                  <a:pt x="504" y="197"/>
                  <a:pt x="503" y="195"/>
                  <a:pt x="503" y="194"/>
                </a:cubicBezTo>
                <a:cubicBezTo>
                  <a:pt x="495" y="191"/>
                  <a:pt x="495" y="191"/>
                  <a:pt x="495" y="191"/>
                </a:cubicBezTo>
                <a:cubicBezTo>
                  <a:pt x="494" y="190"/>
                  <a:pt x="493" y="189"/>
                  <a:pt x="493" y="188"/>
                </a:cubicBezTo>
                <a:cubicBezTo>
                  <a:pt x="494" y="182"/>
                  <a:pt x="494" y="182"/>
                  <a:pt x="494" y="182"/>
                </a:cubicBezTo>
                <a:cubicBezTo>
                  <a:pt x="495" y="181"/>
                  <a:pt x="496" y="180"/>
                  <a:pt x="497" y="180"/>
                </a:cubicBezTo>
                <a:cubicBezTo>
                  <a:pt x="506" y="180"/>
                  <a:pt x="506" y="180"/>
                  <a:pt x="506" y="180"/>
                </a:cubicBezTo>
                <a:cubicBezTo>
                  <a:pt x="506" y="179"/>
                  <a:pt x="507" y="178"/>
                  <a:pt x="507" y="178"/>
                </a:cubicBezTo>
                <a:cubicBezTo>
                  <a:pt x="503" y="170"/>
                  <a:pt x="503" y="170"/>
                  <a:pt x="503" y="170"/>
                </a:cubicBezTo>
                <a:cubicBezTo>
                  <a:pt x="502" y="169"/>
                  <a:pt x="502" y="168"/>
                  <a:pt x="503" y="167"/>
                </a:cubicBezTo>
                <a:cubicBezTo>
                  <a:pt x="508" y="163"/>
                  <a:pt x="508" y="163"/>
                  <a:pt x="508" y="163"/>
                </a:cubicBezTo>
                <a:cubicBezTo>
                  <a:pt x="509" y="162"/>
                  <a:pt x="510" y="162"/>
                  <a:pt x="511" y="163"/>
                </a:cubicBezTo>
                <a:cubicBezTo>
                  <a:pt x="518" y="168"/>
                  <a:pt x="518" y="168"/>
                  <a:pt x="518" y="168"/>
                </a:cubicBezTo>
                <a:cubicBezTo>
                  <a:pt x="519" y="168"/>
                  <a:pt x="520" y="168"/>
                  <a:pt x="521" y="167"/>
                </a:cubicBezTo>
                <a:cubicBezTo>
                  <a:pt x="523" y="158"/>
                  <a:pt x="523" y="158"/>
                  <a:pt x="523" y="158"/>
                </a:cubicBezTo>
                <a:cubicBezTo>
                  <a:pt x="523" y="157"/>
                  <a:pt x="524" y="156"/>
                  <a:pt x="525" y="156"/>
                </a:cubicBezTo>
                <a:cubicBezTo>
                  <a:pt x="531" y="156"/>
                  <a:pt x="531" y="156"/>
                  <a:pt x="531" y="156"/>
                </a:cubicBezTo>
                <a:cubicBezTo>
                  <a:pt x="532" y="156"/>
                  <a:pt x="533" y="157"/>
                  <a:pt x="533" y="158"/>
                </a:cubicBezTo>
                <a:cubicBezTo>
                  <a:pt x="535" y="167"/>
                  <a:pt x="535" y="167"/>
                  <a:pt x="535" y="167"/>
                </a:cubicBezTo>
                <a:cubicBezTo>
                  <a:pt x="536" y="168"/>
                  <a:pt x="537" y="168"/>
                  <a:pt x="538" y="168"/>
                </a:cubicBezTo>
                <a:cubicBezTo>
                  <a:pt x="545" y="163"/>
                  <a:pt x="545" y="163"/>
                  <a:pt x="545" y="163"/>
                </a:cubicBezTo>
                <a:cubicBezTo>
                  <a:pt x="546" y="162"/>
                  <a:pt x="547" y="162"/>
                  <a:pt x="548" y="163"/>
                </a:cubicBezTo>
                <a:cubicBezTo>
                  <a:pt x="553" y="167"/>
                  <a:pt x="553" y="167"/>
                  <a:pt x="553" y="167"/>
                </a:cubicBezTo>
                <a:cubicBezTo>
                  <a:pt x="553" y="167"/>
                  <a:pt x="554" y="169"/>
                  <a:pt x="553" y="170"/>
                </a:cubicBezTo>
                <a:close/>
                <a:moveTo>
                  <a:pt x="541" y="191"/>
                </a:moveTo>
                <a:cubicBezTo>
                  <a:pt x="541" y="184"/>
                  <a:pt x="535" y="178"/>
                  <a:pt x="528" y="178"/>
                </a:cubicBezTo>
                <a:cubicBezTo>
                  <a:pt x="521" y="178"/>
                  <a:pt x="515" y="184"/>
                  <a:pt x="515" y="191"/>
                </a:cubicBezTo>
                <a:cubicBezTo>
                  <a:pt x="515" y="199"/>
                  <a:pt x="521" y="204"/>
                  <a:pt x="528" y="204"/>
                </a:cubicBezTo>
                <a:cubicBezTo>
                  <a:pt x="535" y="204"/>
                  <a:pt x="541" y="199"/>
                  <a:pt x="541" y="191"/>
                </a:cubicBezTo>
                <a:close/>
                <a:moveTo>
                  <a:pt x="159" y="634"/>
                </a:moveTo>
                <a:cubicBezTo>
                  <a:pt x="159" y="626"/>
                  <a:pt x="159" y="626"/>
                  <a:pt x="159" y="626"/>
                </a:cubicBezTo>
                <a:cubicBezTo>
                  <a:pt x="159" y="625"/>
                  <a:pt x="158" y="624"/>
                  <a:pt x="157" y="624"/>
                </a:cubicBezTo>
                <a:cubicBezTo>
                  <a:pt x="148" y="627"/>
                  <a:pt x="148" y="627"/>
                  <a:pt x="148" y="627"/>
                </a:cubicBezTo>
                <a:cubicBezTo>
                  <a:pt x="148" y="627"/>
                  <a:pt x="146" y="627"/>
                  <a:pt x="146" y="626"/>
                </a:cubicBezTo>
                <a:cubicBezTo>
                  <a:pt x="142" y="621"/>
                  <a:pt x="142" y="621"/>
                  <a:pt x="142" y="621"/>
                </a:cubicBezTo>
                <a:cubicBezTo>
                  <a:pt x="142" y="620"/>
                  <a:pt x="142" y="618"/>
                  <a:pt x="143" y="618"/>
                </a:cubicBezTo>
                <a:cubicBezTo>
                  <a:pt x="149" y="611"/>
                  <a:pt x="149" y="611"/>
                  <a:pt x="149" y="611"/>
                </a:cubicBezTo>
                <a:cubicBezTo>
                  <a:pt x="149" y="610"/>
                  <a:pt x="149" y="609"/>
                  <a:pt x="149" y="607"/>
                </a:cubicBezTo>
                <a:cubicBezTo>
                  <a:pt x="140" y="604"/>
                  <a:pt x="140" y="604"/>
                  <a:pt x="140" y="604"/>
                </a:cubicBezTo>
                <a:cubicBezTo>
                  <a:pt x="139" y="604"/>
                  <a:pt x="139" y="602"/>
                  <a:pt x="139" y="602"/>
                </a:cubicBezTo>
                <a:cubicBezTo>
                  <a:pt x="140" y="595"/>
                  <a:pt x="140" y="595"/>
                  <a:pt x="140" y="595"/>
                </a:cubicBezTo>
                <a:cubicBezTo>
                  <a:pt x="140" y="594"/>
                  <a:pt x="141" y="593"/>
                  <a:pt x="142" y="593"/>
                </a:cubicBezTo>
                <a:cubicBezTo>
                  <a:pt x="151" y="593"/>
                  <a:pt x="151" y="593"/>
                  <a:pt x="151" y="593"/>
                </a:cubicBezTo>
                <a:cubicBezTo>
                  <a:pt x="151" y="592"/>
                  <a:pt x="152" y="592"/>
                  <a:pt x="152" y="591"/>
                </a:cubicBezTo>
                <a:cubicBezTo>
                  <a:pt x="148" y="583"/>
                  <a:pt x="148" y="583"/>
                  <a:pt x="148" y="583"/>
                </a:cubicBezTo>
                <a:cubicBezTo>
                  <a:pt x="148" y="582"/>
                  <a:pt x="148" y="581"/>
                  <a:pt x="149" y="580"/>
                </a:cubicBezTo>
                <a:cubicBezTo>
                  <a:pt x="153" y="576"/>
                  <a:pt x="153" y="576"/>
                  <a:pt x="153" y="576"/>
                </a:cubicBezTo>
                <a:cubicBezTo>
                  <a:pt x="154" y="575"/>
                  <a:pt x="155" y="575"/>
                  <a:pt x="156" y="576"/>
                </a:cubicBezTo>
                <a:cubicBezTo>
                  <a:pt x="163" y="582"/>
                  <a:pt x="163" y="582"/>
                  <a:pt x="163" y="582"/>
                </a:cubicBezTo>
                <a:cubicBezTo>
                  <a:pt x="164" y="581"/>
                  <a:pt x="165" y="581"/>
                  <a:pt x="166" y="581"/>
                </a:cubicBezTo>
                <a:cubicBezTo>
                  <a:pt x="168" y="572"/>
                  <a:pt x="168" y="572"/>
                  <a:pt x="168" y="572"/>
                </a:cubicBezTo>
                <a:cubicBezTo>
                  <a:pt x="168" y="571"/>
                  <a:pt x="169" y="570"/>
                  <a:pt x="170" y="570"/>
                </a:cubicBezTo>
                <a:cubicBezTo>
                  <a:pt x="177" y="570"/>
                  <a:pt x="177" y="570"/>
                  <a:pt x="177" y="570"/>
                </a:cubicBezTo>
                <a:cubicBezTo>
                  <a:pt x="178" y="570"/>
                  <a:pt x="179" y="571"/>
                  <a:pt x="179" y="572"/>
                </a:cubicBezTo>
                <a:cubicBezTo>
                  <a:pt x="181" y="581"/>
                  <a:pt x="181" y="581"/>
                  <a:pt x="181" y="581"/>
                </a:cubicBezTo>
                <a:cubicBezTo>
                  <a:pt x="182" y="581"/>
                  <a:pt x="182" y="581"/>
                  <a:pt x="183" y="582"/>
                </a:cubicBezTo>
                <a:cubicBezTo>
                  <a:pt x="190" y="576"/>
                  <a:pt x="190" y="576"/>
                  <a:pt x="190" y="576"/>
                </a:cubicBezTo>
                <a:cubicBezTo>
                  <a:pt x="191" y="575"/>
                  <a:pt x="193" y="575"/>
                  <a:pt x="193" y="576"/>
                </a:cubicBezTo>
                <a:cubicBezTo>
                  <a:pt x="198" y="580"/>
                  <a:pt x="198" y="580"/>
                  <a:pt x="198" y="580"/>
                </a:cubicBezTo>
                <a:cubicBezTo>
                  <a:pt x="199" y="581"/>
                  <a:pt x="199" y="582"/>
                  <a:pt x="199" y="583"/>
                </a:cubicBezTo>
                <a:cubicBezTo>
                  <a:pt x="194" y="591"/>
                  <a:pt x="194" y="591"/>
                  <a:pt x="194" y="591"/>
                </a:cubicBezTo>
                <a:cubicBezTo>
                  <a:pt x="195" y="592"/>
                  <a:pt x="195" y="592"/>
                  <a:pt x="196" y="593"/>
                </a:cubicBezTo>
                <a:cubicBezTo>
                  <a:pt x="205" y="593"/>
                  <a:pt x="205" y="593"/>
                  <a:pt x="205" y="593"/>
                </a:cubicBezTo>
                <a:cubicBezTo>
                  <a:pt x="206" y="593"/>
                  <a:pt x="207" y="594"/>
                  <a:pt x="207" y="595"/>
                </a:cubicBezTo>
                <a:cubicBezTo>
                  <a:pt x="208" y="601"/>
                  <a:pt x="208" y="601"/>
                  <a:pt x="208" y="601"/>
                </a:cubicBezTo>
                <a:cubicBezTo>
                  <a:pt x="208" y="602"/>
                  <a:pt x="208" y="604"/>
                  <a:pt x="207" y="604"/>
                </a:cubicBezTo>
                <a:cubicBezTo>
                  <a:pt x="198" y="607"/>
                  <a:pt x="198" y="607"/>
                  <a:pt x="198" y="607"/>
                </a:cubicBezTo>
                <a:cubicBezTo>
                  <a:pt x="198" y="608"/>
                  <a:pt x="198" y="609"/>
                  <a:pt x="198" y="610"/>
                </a:cubicBezTo>
                <a:cubicBezTo>
                  <a:pt x="205" y="616"/>
                  <a:pt x="205" y="616"/>
                  <a:pt x="205" y="616"/>
                </a:cubicBezTo>
                <a:cubicBezTo>
                  <a:pt x="205" y="617"/>
                  <a:pt x="206" y="618"/>
                  <a:pt x="205" y="619"/>
                </a:cubicBezTo>
                <a:cubicBezTo>
                  <a:pt x="202" y="624"/>
                  <a:pt x="202" y="624"/>
                  <a:pt x="202" y="624"/>
                </a:cubicBezTo>
                <a:cubicBezTo>
                  <a:pt x="202" y="625"/>
                  <a:pt x="201" y="626"/>
                  <a:pt x="199" y="626"/>
                </a:cubicBezTo>
                <a:cubicBezTo>
                  <a:pt x="191" y="623"/>
                  <a:pt x="191" y="623"/>
                  <a:pt x="191" y="623"/>
                </a:cubicBezTo>
                <a:cubicBezTo>
                  <a:pt x="190" y="623"/>
                  <a:pt x="190" y="623"/>
                  <a:pt x="190" y="624"/>
                </a:cubicBezTo>
                <a:cubicBezTo>
                  <a:pt x="191" y="633"/>
                  <a:pt x="191" y="633"/>
                  <a:pt x="191" y="633"/>
                </a:cubicBezTo>
                <a:cubicBezTo>
                  <a:pt x="192" y="634"/>
                  <a:pt x="191" y="635"/>
                  <a:pt x="190" y="635"/>
                </a:cubicBezTo>
                <a:cubicBezTo>
                  <a:pt x="184" y="638"/>
                  <a:pt x="184" y="638"/>
                  <a:pt x="184" y="638"/>
                </a:cubicBezTo>
                <a:cubicBezTo>
                  <a:pt x="183" y="638"/>
                  <a:pt x="182" y="638"/>
                  <a:pt x="182" y="637"/>
                </a:cubicBezTo>
                <a:cubicBezTo>
                  <a:pt x="176" y="630"/>
                  <a:pt x="176" y="630"/>
                  <a:pt x="176" y="630"/>
                </a:cubicBezTo>
                <a:cubicBezTo>
                  <a:pt x="175" y="630"/>
                  <a:pt x="174" y="630"/>
                  <a:pt x="174" y="630"/>
                </a:cubicBezTo>
                <a:cubicBezTo>
                  <a:pt x="173" y="630"/>
                  <a:pt x="173" y="630"/>
                  <a:pt x="173" y="630"/>
                </a:cubicBezTo>
                <a:cubicBezTo>
                  <a:pt x="169" y="638"/>
                  <a:pt x="169" y="638"/>
                  <a:pt x="169" y="638"/>
                </a:cubicBezTo>
                <a:cubicBezTo>
                  <a:pt x="168" y="639"/>
                  <a:pt x="167" y="639"/>
                  <a:pt x="166" y="639"/>
                </a:cubicBezTo>
                <a:cubicBezTo>
                  <a:pt x="160" y="637"/>
                  <a:pt x="160" y="637"/>
                  <a:pt x="160" y="637"/>
                </a:cubicBezTo>
                <a:cubicBezTo>
                  <a:pt x="159" y="637"/>
                  <a:pt x="159" y="636"/>
                  <a:pt x="159" y="634"/>
                </a:cubicBezTo>
                <a:close/>
                <a:moveTo>
                  <a:pt x="160" y="605"/>
                </a:moveTo>
                <a:cubicBezTo>
                  <a:pt x="160" y="612"/>
                  <a:pt x="166" y="618"/>
                  <a:pt x="174" y="618"/>
                </a:cubicBezTo>
                <a:cubicBezTo>
                  <a:pt x="181" y="618"/>
                  <a:pt x="187" y="612"/>
                  <a:pt x="187" y="605"/>
                </a:cubicBezTo>
                <a:cubicBezTo>
                  <a:pt x="187" y="597"/>
                  <a:pt x="181" y="591"/>
                  <a:pt x="174" y="591"/>
                </a:cubicBezTo>
                <a:cubicBezTo>
                  <a:pt x="166" y="591"/>
                  <a:pt x="160" y="597"/>
                  <a:pt x="160" y="605"/>
                </a:cubicBezTo>
                <a:close/>
                <a:moveTo>
                  <a:pt x="198" y="745"/>
                </a:moveTo>
                <a:cubicBezTo>
                  <a:pt x="198" y="746"/>
                  <a:pt x="198" y="747"/>
                  <a:pt x="198" y="748"/>
                </a:cubicBezTo>
                <a:cubicBezTo>
                  <a:pt x="205" y="754"/>
                  <a:pt x="205" y="754"/>
                  <a:pt x="205" y="754"/>
                </a:cubicBezTo>
                <a:cubicBezTo>
                  <a:pt x="205" y="754"/>
                  <a:pt x="206" y="756"/>
                  <a:pt x="205" y="757"/>
                </a:cubicBezTo>
                <a:cubicBezTo>
                  <a:pt x="202" y="762"/>
                  <a:pt x="202" y="762"/>
                  <a:pt x="202" y="762"/>
                </a:cubicBezTo>
                <a:cubicBezTo>
                  <a:pt x="202" y="763"/>
                  <a:pt x="201" y="764"/>
                  <a:pt x="199" y="763"/>
                </a:cubicBezTo>
                <a:cubicBezTo>
                  <a:pt x="191" y="761"/>
                  <a:pt x="191" y="761"/>
                  <a:pt x="191" y="761"/>
                </a:cubicBezTo>
                <a:cubicBezTo>
                  <a:pt x="190" y="761"/>
                  <a:pt x="190" y="761"/>
                  <a:pt x="190" y="762"/>
                </a:cubicBezTo>
                <a:cubicBezTo>
                  <a:pt x="191" y="771"/>
                  <a:pt x="191" y="771"/>
                  <a:pt x="191" y="771"/>
                </a:cubicBezTo>
                <a:cubicBezTo>
                  <a:pt x="192" y="772"/>
                  <a:pt x="191" y="773"/>
                  <a:pt x="190" y="773"/>
                </a:cubicBezTo>
                <a:cubicBezTo>
                  <a:pt x="184" y="776"/>
                  <a:pt x="184" y="776"/>
                  <a:pt x="184" y="776"/>
                </a:cubicBezTo>
                <a:cubicBezTo>
                  <a:pt x="183" y="776"/>
                  <a:pt x="182" y="776"/>
                  <a:pt x="182" y="775"/>
                </a:cubicBezTo>
                <a:cubicBezTo>
                  <a:pt x="176" y="767"/>
                  <a:pt x="176" y="767"/>
                  <a:pt x="176" y="767"/>
                </a:cubicBezTo>
                <a:cubicBezTo>
                  <a:pt x="175" y="768"/>
                  <a:pt x="174" y="768"/>
                  <a:pt x="174" y="768"/>
                </a:cubicBezTo>
                <a:cubicBezTo>
                  <a:pt x="173" y="768"/>
                  <a:pt x="173" y="768"/>
                  <a:pt x="173" y="768"/>
                </a:cubicBezTo>
                <a:cubicBezTo>
                  <a:pt x="169" y="776"/>
                  <a:pt x="169" y="776"/>
                  <a:pt x="169" y="776"/>
                </a:cubicBezTo>
                <a:cubicBezTo>
                  <a:pt x="168" y="777"/>
                  <a:pt x="167" y="777"/>
                  <a:pt x="166" y="777"/>
                </a:cubicBezTo>
                <a:cubicBezTo>
                  <a:pt x="160" y="775"/>
                  <a:pt x="160" y="775"/>
                  <a:pt x="160" y="775"/>
                </a:cubicBezTo>
                <a:cubicBezTo>
                  <a:pt x="159" y="774"/>
                  <a:pt x="159" y="774"/>
                  <a:pt x="159" y="772"/>
                </a:cubicBezTo>
                <a:cubicBezTo>
                  <a:pt x="159" y="763"/>
                  <a:pt x="159" y="763"/>
                  <a:pt x="159" y="763"/>
                </a:cubicBezTo>
                <a:cubicBezTo>
                  <a:pt x="159" y="763"/>
                  <a:pt x="158" y="762"/>
                  <a:pt x="157" y="762"/>
                </a:cubicBezTo>
                <a:cubicBezTo>
                  <a:pt x="148" y="765"/>
                  <a:pt x="148" y="765"/>
                  <a:pt x="148" y="765"/>
                </a:cubicBezTo>
                <a:cubicBezTo>
                  <a:pt x="148" y="765"/>
                  <a:pt x="146" y="765"/>
                  <a:pt x="146" y="764"/>
                </a:cubicBezTo>
                <a:cubicBezTo>
                  <a:pt x="142" y="758"/>
                  <a:pt x="142" y="758"/>
                  <a:pt x="142" y="758"/>
                </a:cubicBezTo>
                <a:cubicBezTo>
                  <a:pt x="142" y="758"/>
                  <a:pt x="142" y="756"/>
                  <a:pt x="143" y="755"/>
                </a:cubicBezTo>
                <a:cubicBezTo>
                  <a:pt x="149" y="749"/>
                  <a:pt x="149" y="749"/>
                  <a:pt x="149" y="749"/>
                </a:cubicBezTo>
                <a:cubicBezTo>
                  <a:pt x="149" y="748"/>
                  <a:pt x="149" y="746"/>
                  <a:pt x="149" y="745"/>
                </a:cubicBezTo>
                <a:cubicBezTo>
                  <a:pt x="140" y="742"/>
                  <a:pt x="140" y="742"/>
                  <a:pt x="140" y="742"/>
                </a:cubicBezTo>
                <a:cubicBezTo>
                  <a:pt x="139" y="742"/>
                  <a:pt x="139" y="740"/>
                  <a:pt x="139" y="739"/>
                </a:cubicBezTo>
                <a:cubicBezTo>
                  <a:pt x="140" y="733"/>
                  <a:pt x="140" y="733"/>
                  <a:pt x="140" y="733"/>
                </a:cubicBezTo>
                <a:cubicBezTo>
                  <a:pt x="140" y="732"/>
                  <a:pt x="141" y="731"/>
                  <a:pt x="142" y="731"/>
                </a:cubicBezTo>
                <a:cubicBezTo>
                  <a:pt x="151" y="731"/>
                  <a:pt x="151" y="731"/>
                  <a:pt x="151" y="731"/>
                </a:cubicBezTo>
                <a:cubicBezTo>
                  <a:pt x="151" y="730"/>
                  <a:pt x="152" y="730"/>
                  <a:pt x="152" y="729"/>
                </a:cubicBezTo>
                <a:cubicBezTo>
                  <a:pt x="148" y="721"/>
                  <a:pt x="148" y="721"/>
                  <a:pt x="148" y="721"/>
                </a:cubicBezTo>
                <a:cubicBezTo>
                  <a:pt x="148" y="720"/>
                  <a:pt x="148" y="719"/>
                  <a:pt x="149" y="718"/>
                </a:cubicBezTo>
                <a:cubicBezTo>
                  <a:pt x="153" y="714"/>
                  <a:pt x="153" y="714"/>
                  <a:pt x="153" y="714"/>
                </a:cubicBezTo>
                <a:cubicBezTo>
                  <a:pt x="154" y="713"/>
                  <a:pt x="155" y="713"/>
                  <a:pt x="156" y="714"/>
                </a:cubicBezTo>
                <a:cubicBezTo>
                  <a:pt x="163" y="719"/>
                  <a:pt x="163" y="719"/>
                  <a:pt x="163" y="719"/>
                </a:cubicBezTo>
                <a:cubicBezTo>
                  <a:pt x="164" y="719"/>
                  <a:pt x="165" y="719"/>
                  <a:pt x="166" y="718"/>
                </a:cubicBezTo>
                <a:cubicBezTo>
                  <a:pt x="168" y="710"/>
                  <a:pt x="168" y="710"/>
                  <a:pt x="168" y="710"/>
                </a:cubicBezTo>
                <a:cubicBezTo>
                  <a:pt x="168" y="709"/>
                  <a:pt x="169" y="708"/>
                  <a:pt x="170" y="708"/>
                </a:cubicBezTo>
                <a:cubicBezTo>
                  <a:pt x="177" y="708"/>
                  <a:pt x="177" y="708"/>
                  <a:pt x="177" y="708"/>
                </a:cubicBezTo>
                <a:cubicBezTo>
                  <a:pt x="178" y="708"/>
                  <a:pt x="179" y="709"/>
                  <a:pt x="179" y="710"/>
                </a:cubicBezTo>
                <a:cubicBezTo>
                  <a:pt x="181" y="718"/>
                  <a:pt x="181" y="718"/>
                  <a:pt x="181" y="718"/>
                </a:cubicBezTo>
                <a:cubicBezTo>
                  <a:pt x="182" y="719"/>
                  <a:pt x="182" y="719"/>
                  <a:pt x="183" y="719"/>
                </a:cubicBezTo>
                <a:cubicBezTo>
                  <a:pt x="190" y="714"/>
                  <a:pt x="190" y="714"/>
                  <a:pt x="190" y="714"/>
                </a:cubicBezTo>
                <a:cubicBezTo>
                  <a:pt x="191" y="713"/>
                  <a:pt x="193" y="713"/>
                  <a:pt x="193" y="714"/>
                </a:cubicBezTo>
                <a:cubicBezTo>
                  <a:pt x="198" y="718"/>
                  <a:pt x="198" y="718"/>
                  <a:pt x="198" y="718"/>
                </a:cubicBezTo>
                <a:cubicBezTo>
                  <a:pt x="199" y="718"/>
                  <a:pt x="199" y="720"/>
                  <a:pt x="199" y="721"/>
                </a:cubicBezTo>
                <a:cubicBezTo>
                  <a:pt x="194" y="729"/>
                  <a:pt x="194" y="729"/>
                  <a:pt x="194" y="729"/>
                </a:cubicBezTo>
                <a:cubicBezTo>
                  <a:pt x="195" y="730"/>
                  <a:pt x="195" y="730"/>
                  <a:pt x="196" y="731"/>
                </a:cubicBezTo>
                <a:cubicBezTo>
                  <a:pt x="205" y="731"/>
                  <a:pt x="205" y="731"/>
                  <a:pt x="205" y="731"/>
                </a:cubicBezTo>
                <a:cubicBezTo>
                  <a:pt x="206" y="731"/>
                  <a:pt x="207" y="732"/>
                  <a:pt x="207" y="733"/>
                </a:cubicBezTo>
                <a:cubicBezTo>
                  <a:pt x="208" y="739"/>
                  <a:pt x="208" y="739"/>
                  <a:pt x="208" y="739"/>
                </a:cubicBezTo>
                <a:cubicBezTo>
                  <a:pt x="208" y="740"/>
                  <a:pt x="208" y="742"/>
                  <a:pt x="207" y="742"/>
                </a:cubicBezTo>
                <a:cubicBezTo>
                  <a:pt x="198" y="745"/>
                  <a:pt x="198" y="745"/>
                  <a:pt x="198" y="745"/>
                </a:cubicBezTo>
                <a:close/>
                <a:moveTo>
                  <a:pt x="187" y="742"/>
                </a:moveTo>
                <a:cubicBezTo>
                  <a:pt x="187" y="735"/>
                  <a:pt x="181" y="729"/>
                  <a:pt x="174" y="729"/>
                </a:cubicBezTo>
                <a:cubicBezTo>
                  <a:pt x="166" y="729"/>
                  <a:pt x="160" y="735"/>
                  <a:pt x="160" y="742"/>
                </a:cubicBezTo>
                <a:cubicBezTo>
                  <a:pt x="160" y="750"/>
                  <a:pt x="166" y="756"/>
                  <a:pt x="174" y="756"/>
                </a:cubicBezTo>
                <a:cubicBezTo>
                  <a:pt x="181" y="756"/>
                  <a:pt x="187" y="750"/>
                  <a:pt x="187" y="742"/>
                </a:cubicBezTo>
                <a:close/>
                <a:moveTo>
                  <a:pt x="174" y="610"/>
                </a:moveTo>
                <a:cubicBezTo>
                  <a:pt x="177" y="610"/>
                  <a:pt x="179" y="608"/>
                  <a:pt x="179" y="605"/>
                </a:cubicBezTo>
                <a:cubicBezTo>
                  <a:pt x="179" y="602"/>
                  <a:pt x="177" y="599"/>
                  <a:pt x="174" y="599"/>
                </a:cubicBezTo>
                <a:cubicBezTo>
                  <a:pt x="170" y="599"/>
                  <a:pt x="168" y="602"/>
                  <a:pt x="168" y="605"/>
                </a:cubicBezTo>
                <a:cubicBezTo>
                  <a:pt x="168" y="608"/>
                  <a:pt x="170" y="610"/>
                  <a:pt x="174" y="610"/>
                </a:cubicBezTo>
                <a:close/>
                <a:moveTo>
                  <a:pt x="422" y="117"/>
                </a:moveTo>
                <a:cubicBezTo>
                  <a:pt x="419" y="117"/>
                  <a:pt x="416" y="119"/>
                  <a:pt x="416" y="122"/>
                </a:cubicBezTo>
                <a:cubicBezTo>
                  <a:pt x="416" y="125"/>
                  <a:pt x="419" y="128"/>
                  <a:pt x="422" y="128"/>
                </a:cubicBezTo>
                <a:cubicBezTo>
                  <a:pt x="425" y="128"/>
                  <a:pt x="428" y="125"/>
                  <a:pt x="428" y="122"/>
                </a:cubicBezTo>
                <a:cubicBezTo>
                  <a:pt x="428" y="119"/>
                  <a:pt x="425" y="117"/>
                  <a:pt x="422" y="117"/>
                </a:cubicBezTo>
                <a:close/>
                <a:moveTo>
                  <a:pt x="340" y="745"/>
                </a:moveTo>
                <a:cubicBezTo>
                  <a:pt x="340" y="746"/>
                  <a:pt x="340" y="747"/>
                  <a:pt x="340" y="748"/>
                </a:cubicBezTo>
                <a:cubicBezTo>
                  <a:pt x="347" y="754"/>
                  <a:pt x="347" y="754"/>
                  <a:pt x="347" y="754"/>
                </a:cubicBezTo>
                <a:cubicBezTo>
                  <a:pt x="347" y="754"/>
                  <a:pt x="348" y="756"/>
                  <a:pt x="347" y="757"/>
                </a:cubicBezTo>
                <a:cubicBezTo>
                  <a:pt x="344" y="762"/>
                  <a:pt x="344" y="762"/>
                  <a:pt x="344" y="762"/>
                </a:cubicBezTo>
                <a:cubicBezTo>
                  <a:pt x="344" y="763"/>
                  <a:pt x="342" y="764"/>
                  <a:pt x="341" y="763"/>
                </a:cubicBezTo>
                <a:cubicBezTo>
                  <a:pt x="333" y="761"/>
                  <a:pt x="333" y="761"/>
                  <a:pt x="333" y="761"/>
                </a:cubicBezTo>
                <a:cubicBezTo>
                  <a:pt x="332" y="761"/>
                  <a:pt x="332" y="761"/>
                  <a:pt x="331" y="762"/>
                </a:cubicBezTo>
                <a:cubicBezTo>
                  <a:pt x="333" y="771"/>
                  <a:pt x="333" y="771"/>
                  <a:pt x="333" y="771"/>
                </a:cubicBezTo>
                <a:cubicBezTo>
                  <a:pt x="333" y="772"/>
                  <a:pt x="333" y="773"/>
                  <a:pt x="332" y="773"/>
                </a:cubicBezTo>
                <a:cubicBezTo>
                  <a:pt x="326" y="776"/>
                  <a:pt x="326" y="776"/>
                  <a:pt x="326" y="776"/>
                </a:cubicBezTo>
                <a:cubicBezTo>
                  <a:pt x="325" y="776"/>
                  <a:pt x="324" y="776"/>
                  <a:pt x="323" y="775"/>
                </a:cubicBezTo>
                <a:cubicBezTo>
                  <a:pt x="318" y="767"/>
                  <a:pt x="318" y="767"/>
                  <a:pt x="318" y="767"/>
                </a:cubicBezTo>
                <a:cubicBezTo>
                  <a:pt x="317" y="768"/>
                  <a:pt x="316" y="768"/>
                  <a:pt x="315" y="768"/>
                </a:cubicBezTo>
                <a:cubicBezTo>
                  <a:pt x="315" y="768"/>
                  <a:pt x="315" y="768"/>
                  <a:pt x="315" y="768"/>
                </a:cubicBezTo>
                <a:cubicBezTo>
                  <a:pt x="311" y="776"/>
                  <a:pt x="311" y="776"/>
                  <a:pt x="311" y="776"/>
                </a:cubicBezTo>
                <a:cubicBezTo>
                  <a:pt x="310" y="777"/>
                  <a:pt x="309" y="777"/>
                  <a:pt x="308" y="777"/>
                </a:cubicBezTo>
                <a:cubicBezTo>
                  <a:pt x="302" y="775"/>
                  <a:pt x="302" y="775"/>
                  <a:pt x="302" y="775"/>
                </a:cubicBezTo>
                <a:cubicBezTo>
                  <a:pt x="301" y="774"/>
                  <a:pt x="300" y="774"/>
                  <a:pt x="300" y="772"/>
                </a:cubicBezTo>
                <a:cubicBezTo>
                  <a:pt x="301" y="763"/>
                  <a:pt x="301" y="763"/>
                  <a:pt x="301" y="763"/>
                </a:cubicBezTo>
                <a:cubicBezTo>
                  <a:pt x="300" y="763"/>
                  <a:pt x="300" y="762"/>
                  <a:pt x="299" y="762"/>
                </a:cubicBezTo>
                <a:cubicBezTo>
                  <a:pt x="290" y="765"/>
                  <a:pt x="290" y="765"/>
                  <a:pt x="290" y="765"/>
                </a:cubicBezTo>
                <a:cubicBezTo>
                  <a:pt x="289" y="765"/>
                  <a:pt x="288" y="765"/>
                  <a:pt x="287" y="764"/>
                </a:cubicBezTo>
                <a:cubicBezTo>
                  <a:pt x="284" y="758"/>
                  <a:pt x="284" y="758"/>
                  <a:pt x="284" y="758"/>
                </a:cubicBezTo>
                <a:cubicBezTo>
                  <a:pt x="284" y="758"/>
                  <a:pt x="284" y="756"/>
                  <a:pt x="285" y="755"/>
                </a:cubicBezTo>
                <a:cubicBezTo>
                  <a:pt x="291" y="749"/>
                  <a:pt x="291" y="749"/>
                  <a:pt x="291" y="749"/>
                </a:cubicBezTo>
                <a:cubicBezTo>
                  <a:pt x="291" y="748"/>
                  <a:pt x="291" y="746"/>
                  <a:pt x="291" y="745"/>
                </a:cubicBezTo>
                <a:cubicBezTo>
                  <a:pt x="282" y="742"/>
                  <a:pt x="282" y="742"/>
                  <a:pt x="282" y="742"/>
                </a:cubicBezTo>
                <a:cubicBezTo>
                  <a:pt x="281" y="742"/>
                  <a:pt x="280" y="740"/>
                  <a:pt x="281" y="739"/>
                </a:cubicBezTo>
                <a:cubicBezTo>
                  <a:pt x="282" y="733"/>
                  <a:pt x="282" y="733"/>
                  <a:pt x="282" y="733"/>
                </a:cubicBezTo>
                <a:cubicBezTo>
                  <a:pt x="282" y="732"/>
                  <a:pt x="283" y="731"/>
                  <a:pt x="284" y="731"/>
                </a:cubicBezTo>
                <a:cubicBezTo>
                  <a:pt x="293" y="731"/>
                  <a:pt x="293" y="731"/>
                  <a:pt x="293" y="731"/>
                </a:cubicBezTo>
                <a:cubicBezTo>
                  <a:pt x="293" y="730"/>
                  <a:pt x="294" y="730"/>
                  <a:pt x="294" y="729"/>
                </a:cubicBezTo>
                <a:cubicBezTo>
                  <a:pt x="290" y="721"/>
                  <a:pt x="290" y="721"/>
                  <a:pt x="290" y="721"/>
                </a:cubicBezTo>
                <a:cubicBezTo>
                  <a:pt x="289" y="720"/>
                  <a:pt x="290" y="719"/>
                  <a:pt x="291" y="718"/>
                </a:cubicBezTo>
                <a:cubicBezTo>
                  <a:pt x="295" y="714"/>
                  <a:pt x="295" y="714"/>
                  <a:pt x="295" y="714"/>
                </a:cubicBezTo>
                <a:cubicBezTo>
                  <a:pt x="296" y="713"/>
                  <a:pt x="297" y="713"/>
                  <a:pt x="298" y="714"/>
                </a:cubicBezTo>
                <a:cubicBezTo>
                  <a:pt x="305" y="719"/>
                  <a:pt x="305" y="719"/>
                  <a:pt x="305" y="719"/>
                </a:cubicBezTo>
                <a:cubicBezTo>
                  <a:pt x="306" y="719"/>
                  <a:pt x="307" y="719"/>
                  <a:pt x="308" y="718"/>
                </a:cubicBezTo>
                <a:cubicBezTo>
                  <a:pt x="310" y="710"/>
                  <a:pt x="310" y="710"/>
                  <a:pt x="310" y="710"/>
                </a:cubicBezTo>
                <a:cubicBezTo>
                  <a:pt x="310" y="709"/>
                  <a:pt x="311" y="708"/>
                  <a:pt x="312" y="708"/>
                </a:cubicBezTo>
                <a:cubicBezTo>
                  <a:pt x="318" y="708"/>
                  <a:pt x="318" y="708"/>
                  <a:pt x="318" y="708"/>
                </a:cubicBezTo>
                <a:cubicBezTo>
                  <a:pt x="319" y="708"/>
                  <a:pt x="321" y="709"/>
                  <a:pt x="321" y="710"/>
                </a:cubicBezTo>
                <a:cubicBezTo>
                  <a:pt x="322" y="718"/>
                  <a:pt x="322" y="718"/>
                  <a:pt x="322" y="718"/>
                </a:cubicBezTo>
                <a:cubicBezTo>
                  <a:pt x="323" y="719"/>
                  <a:pt x="324" y="719"/>
                  <a:pt x="325" y="719"/>
                </a:cubicBezTo>
                <a:cubicBezTo>
                  <a:pt x="332" y="714"/>
                  <a:pt x="332" y="714"/>
                  <a:pt x="332" y="714"/>
                </a:cubicBezTo>
                <a:cubicBezTo>
                  <a:pt x="333" y="713"/>
                  <a:pt x="334" y="713"/>
                  <a:pt x="335" y="714"/>
                </a:cubicBezTo>
                <a:cubicBezTo>
                  <a:pt x="340" y="718"/>
                  <a:pt x="340" y="718"/>
                  <a:pt x="340" y="718"/>
                </a:cubicBezTo>
                <a:cubicBezTo>
                  <a:pt x="341" y="718"/>
                  <a:pt x="341" y="720"/>
                  <a:pt x="340" y="721"/>
                </a:cubicBezTo>
                <a:cubicBezTo>
                  <a:pt x="336" y="729"/>
                  <a:pt x="336" y="729"/>
                  <a:pt x="336" y="729"/>
                </a:cubicBezTo>
                <a:cubicBezTo>
                  <a:pt x="337" y="730"/>
                  <a:pt x="337" y="730"/>
                  <a:pt x="337" y="731"/>
                </a:cubicBezTo>
                <a:cubicBezTo>
                  <a:pt x="347" y="731"/>
                  <a:pt x="347" y="731"/>
                  <a:pt x="347" y="731"/>
                </a:cubicBezTo>
                <a:cubicBezTo>
                  <a:pt x="348" y="731"/>
                  <a:pt x="348" y="732"/>
                  <a:pt x="349" y="733"/>
                </a:cubicBezTo>
                <a:cubicBezTo>
                  <a:pt x="350" y="739"/>
                  <a:pt x="350" y="739"/>
                  <a:pt x="350" y="739"/>
                </a:cubicBezTo>
                <a:cubicBezTo>
                  <a:pt x="350" y="740"/>
                  <a:pt x="349" y="742"/>
                  <a:pt x="348" y="742"/>
                </a:cubicBezTo>
                <a:cubicBezTo>
                  <a:pt x="340" y="745"/>
                  <a:pt x="340" y="745"/>
                  <a:pt x="340" y="745"/>
                </a:cubicBezTo>
                <a:close/>
                <a:moveTo>
                  <a:pt x="329" y="742"/>
                </a:moveTo>
                <a:cubicBezTo>
                  <a:pt x="329" y="735"/>
                  <a:pt x="322" y="729"/>
                  <a:pt x="315" y="729"/>
                </a:cubicBezTo>
                <a:cubicBezTo>
                  <a:pt x="308" y="729"/>
                  <a:pt x="302" y="735"/>
                  <a:pt x="302" y="742"/>
                </a:cubicBezTo>
                <a:cubicBezTo>
                  <a:pt x="302" y="750"/>
                  <a:pt x="308" y="756"/>
                  <a:pt x="315" y="756"/>
                </a:cubicBezTo>
                <a:cubicBezTo>
                  <a:pt x="322" y="756"/>
                  <a:pt x="329" y="750"/>
                  <a:pt x="329" y="742"/>
                </a:cubicBezTo>
                <a:close/>
                <a:moveTo>
                  <a:pt x="315" y="737"/>
                </a:moveTo>
                <a:cubicBezTo>
                  <a:pt x="312" y="737"/>
                  <a:pt x="310" y="739"/>
                  <a:pt x="310" y="742"/>
                </a:cubicBezTo>
                <a:cubicBezTo>
                  <a:pt x="310" y="746"/>
                  <a:pt x="312" y="748"/>
                  <a:pt x="315" y="748"/>
                </a:cubicBezTo>
                <a:cubicBezTo>
                  <a:pt x="318" y="748"/>
                  <a:pt x="321" y="746"/>
                  <a:pt x="321" y="742"/>
                </a:cubicBezTo>
                <a:cubicBezTo>
                  <a:pt x="321" y="739"/>
                  <a:pt x="318" y="737"/>
                  <a:pt x="315" y="737"/>
                </a:cubicBezTo>
                <a:close/>
                <a:moveTo>
                  <a:pt x="174" y="817"/>
                </a:moveTo>
                <a:cubicBezTo>
                  <a:pt x="177" y="817"/>
                  <a:pt x="179" y="814"/>
                  <a:pt x="179" y="811"/>
                </a:cubicBezTo>
                <a:cubicBezTo>
                  <a:pt x="179" y="808"/>
                  <a:pt x="177" y="806"/>
                  <a:pt x="174" y="806"/>
                </a:cubicBezTo>
                <a:cubicBezTo>
                  <a:pt x="170" y="806"/>
                  <a:pt x="168" y="808"/>
                  <a:pt x="168" y="811"/>
                </a:cubicBezTo>
                <a:cubicBezTo>
                  <a:pt x="168" y="814"/>
                  <a:pt x="170" y="817"/>
                  <a:pt x="174" y="817"/>
                </a:cubicBezTo>
                <a:close/>
                <a:moveTo>
                  <a:pt x="613" y="318"/>
                </a:moveTo>
                <a:cubicBezTo>
                  <a:pt x="613" y="317"/>
                  <a:pt x="613" y="316"/>
                  <a:pt x="614" y="315"/>
                </a:cubicBezTo>
                <a:cubicBezTo>
                  <a:pt x="609" y="307"/>
                  <a:pt x="609" y="307"/>
                  <a:pt x="609" y="307"/>
                </a:cubicBezTo>
                <a:cubicBezTo>
                  <a:pt x="609" y="307"/>
                  <a:pt x="609" y="305"/>
                  <a:pt x="610" y="304"/>
                </a:cubicBezTo>
                <a:cubicBezTo>
                  <a:pt x="615" y="300"/>
                  <a:pt x="615" y="300"/>
                  <a:pt x="615" y="300"/>
                </a:cubicBezTo>
                <a:cubicBezTo>
                  <a:pt x="616" y="300"/>
                  <a:pt x="617" y="300"/>
                  <a:pt x="618" y="300"/>
                </a:cubicBezTo>
                <a:cubicBezTo>
                  <a:pt x="625" y="306"/>
                  <a:pt x="625" y="306"/>
                  <a:pt x="625" y="306"/>
                </a:cubicBezTo>
                <a:cubicBezTo>
                  <a:pt x="626" y="306"/>
                  <a:pt x="627" y="305"/>
                  <a:pt x="628" y="305"/>
                </a:cubicBezTo>
                <a:cubicBezTo>
                  <a:pt x="629" y="296"/>
                  <a:pt x="629" y="296"/>
                  <a:pt x="629" y="296"/>
                </a:cubicBezTo>
                <a:cubicBezTo>
                  <a:pt x="630" y="295"/>
                  <a:pt x="631" y="294"/>
                  <a:pt x="632" y="294"/>
                </a:cubicBezTo>
                <a:cubicBezTo>
                  <a:pt x="638" y="294"/>
                  <a:pt x="638" y="294"/>
                  <a:pt x="638" y="294"/>
                </a:cubicBezTo>
                <a:cubicBezTo>
                  <a:pt x="639" y="294"/>
                  <a:pt x="640" y="295"/>
                  <a:pt x="640" y="296"/>
                </a:cubicBezTo>
                <a:cubicBezTo>
                  <a:pt x="642" y="305"/>
                  <a:pt x="642" y="305"/>
                  <a:pt x="642" y="305"/>
                </a:cubicBezTo>
                <a:cubicBezTo>
                  <a:pt x="643" y="305"/>
                  <a:pt x="644" y="306"/>
                  <a:pt x="645" y="306"/>
                </a:cubicBezTo>
                <a:cubicBezTo>
                  <a:pt x="647" y="304"/>
                  <a:pt x="648" y="303"/>
                  <a:pt x="649" y="303"/>
                </a:cubicBezTo>
                <a:cubicBezTo>
                  <a:pt x="649" y="361"/>
                  <a:pt x="649" y="361"/>
                  <a:pt x="649" y="361"/>
                </a:cubicBezTo>
                <a:cubicBezTo>
                  <a:pt x="646" y="362"/>
                  <a:pt x="646" y="362"/>
                  <a:pt x="646" y="362"/>
                </a:cubicBezTo>
                <a:cubicBezTo>
                  <a:pt x="645" y="363"/>
                  <a:pt x="644" y="362"/>
                  <a:pt x="643" y="362"/>
                </a:cubicBezTo>
                <a:cubicBezTo>
                  <a:pt x="638" y="354"/>
                  <a:pt x="638" y="354"/>
                  <a:pt x="638" y="354"/>
                </a:cubicBezTo>
                <a:cubicBezTo>
                  <a:pt x="637" y="354"/>
                  <a:pt x="636" y="354"/>
                  <a:pt x="635" y="354"/>
                </a:cubicBezTo>
                <a:cubicBezTo>
                  <a:pt x="635" y="354"/>
                  <a:pt x="635" y="354"/>
                  <a:pt x="635" y="354"/>
                </a:cubicBezTo>
                <a:cubicBezTo>
                  <a:pt x="630" y="362"/>
                  <a:pt x="630" y="362"/>
                  <a:pt x="630" y="362"/>
                </a:cubicBezTo>
                <a:cubicBezTo>
                  <a:pt x="630" y="363"/>
                  <a:pt x="629" y="363"/>
                  <a:pt x="628" y="363"/>
                </a:cubicBezTo>
                <a:cubicBezTo>
                  <a:pt x="621" y="361"/>
                  <a:pt x="621" y="361"/>
                  <a:pt x="621" y="361"/>
                </a:cubicBezTo>
                <a:cubicBezTo>
                  <a:pt x="621" y="361"/>
                  <a:pt x="620" y="360"/>
                  <a:pt x="620" y="359"/>
                </a:cubicBezTo>
                <a:cubicBezTo>
                  <a:pt x="621" y="350"/>
                  <a:pt x="621" y="350"/>
                  <a:pt x="621" y="350"/>
                </a:cubicBezTo>
                <a:cubicBezTo>
                  <a:pt x="620" y="349"/>
                  <a:pt x="619" y="349"/>
                  <a:pt x="618" y="348"/>
                </a:cubicBezTo>
                <a:cubicBezTo>
                  <a:pt x="610" y="351"/>
                  <a:pt x="610" y="351"/>
                  <a:pt x="610" y="351"/>
                </a:cubicBezTo>
                <a:cubicBezTo>
                  <a:pt x="609" y="351"/>
                  <a:pt x="608" y="351"/>
                  <a:pt x="607" y="350"/>
                </a:cubicBezTo>
                <a:cubicBezTo>
                  <a:pt x="604" y="345"/>
                  <a:pt x="604" y="345"/>
                  <a:pt x="604" y="345"/>
                </a:cubicBezTo>
                <a:cubicBezTo>
                  <a:pt x="603" y="344"/>
                  <a:pt x="603" y="343"/>
                  <a:pt x="604" y="342"/>
                </a:cubicBezTo>
                <a:cubicBezTo>
                  <a:pt x="611" y="336"/>
                  <a:pt x="611" y="336"/>
                  <a:pt x="611" y="336"/>
                </a:cubicBezTo>
                <a:cubicBezTo>
                  <a:pt x="610" y="335"/>
                  <a:pt x="610" y="333"/>
                  <a:pt x="610" y="332"/>
                </a:cubicBezTo>
                <a:cubicBezTo>
                  <a:pt x="602" y="328"/>
                  <a:pt x="602" y="328"/>
                  <a:pt x="602" y="328"/>
                </a:cubicBezTo>
                <a:cubicBezTo>
                  <a:pt x="601" y="328"/>
                  <a:pt x="600" y="327"/>
                  <a:pt x="600" y="326"/>
                </a:cubicBezTo>
                <a:cubicBezTo>
                  <a:pt x="601" y="320"/>
                  <a:pt x="601" y="320"/>
                  <a:pt x="601" y="320"/>
                </a:cubicBezTo>
                <a:cubicBezTo>
                  <a:pt x="602" y="319"/>
                  <a:pt x="602" y="318"/>
                  <a:pt x="604" y="318"/>
                </a:cubicBezTo>
                <a:cubicBezTo>
                  <a:pt x="613" y="318"/>
                  <a:pt x="613" y="318"/>
                  <a:pt x="613" y="318"/>
                </a:cubicBezTo>
                <a:close/>
                <a:moveTo>
                  <a:pt x="621" y="329"/>
                </a:moveTo>
                <a:cubicBezTo>
                  <a:pt x="621" y="336"/>
                  <a:pt x="628" y="342"/>
                  <a:pt x="635" y="342"/>
                </a:cubicBezTo>
                <a:cubicBezTo>
                  <a:pt x="642" y="342"/>
                  <a:pt x="648" y="336"/>
                  <a:pt x="648" y="329"/>
                </a:cubicBezTo>
                <a:cubicBezTo>
                  <a:pt x="648" y="322"/>
                  <a:pt x="642" y="316"/>
                  <a:pt x="635" y="316"/>
                </a:cubicBezTo>
                <a:cubicBezTo>
                  <a:pt x="628" y="316"/>
                  <a:pt x="621" y="322"/>
                  <a:pt x="621" y="329"/>
                </a:cubicBezTo>
                <a:close/>
                <a:moveTo>
                  <a:pt x="159" y="841"/>
                </a:moveTo>
                <a:cubicBezTo>
                  <a:pt x="159" y="832"/>
                  <a:pt x="159" y="832"/>
                  <a:pt x="159" y="832"/>
                </a:cubicBezTo>
                <a:cubicBezTo>
                  <a:pt x="159" y="832"/>
                  <a:pt x="158" y="831"/>
                  <a:pt x="157" y="830"/>
                </a:cubicBezTo>
                <a:cubicBezTo>
                  <a:pt x="148" y="833"/>
                  <a:pt x="148" y="833"/>
                  <a:pt x="148" y="833"/>
                </a:cubicBezTo>
                <a:cubicBezTo>
                  <a:pt x="148" y="834"/>
                  <a:pt x="146" y="833"/>
                  <a:pt x="146" y="833"/>
                </a:cubicBezTo>
                <a:cubicBezTo>
                  <a:pt x="142" y="827"/>
                  <a:pt x="142" y="827"/>
                  <a:pt x="142" y="827"/>
                </a:cubicBezTo>
                <a:cubicBezTo>
                  <a:pt x="142" y="826"/>
                  <a:pt x="142" y="825"/>
                  <a:pt x="143" y="824"/>
                </a:cubicBezTo>
                <a:cubicBezTo>
                  <a:pt x="149" y="818"/>
                  <a:pt x="149" y="818"/>
                  <a:pt x="149" y="818"/>
                </a:cubicBezTo>
                <a:cubicBezTo>
                  <a:pt x="149" y="817"/>
                  <a:pt x="149" y="815"/>
                  <a:pt x="149" y="814"/>
                </a:cubicBezTo>
                <a:cubicBezTo>
                  <a:pt x="140" y="811"/>
                  <a:pt x="140" y="811"/>
                  <a:pt x="140" y="811"/>
                </a:cubicBezTo>
                <a:cubicBezTo>
                  <a:pt x="139" y="810"/>
                  <a:pt x="139" y="809"/>
                  <a:pt x="139" y="808"/>
                </a:cubicBezTo>
                <a:cubicBezTo>
                  <a:pt x="140" y="802"/>
                  <a:pt x="140" y="802"/>
                  <a:pt x="140" y="802"/>
                </a:cubicBezTo>
                <a:cubicBezTo>
                  <a:pt x="140" y="801"/>
                  <a:pt x="141" y="800"/>
                  <a:pt x="142" y="800"/>
                </a:cubicBezTo>
                <a:cubicBezTo>
                  <a:pt x="151" y="800"/>
                  <a:pt x="151" y="800"/>
                  <a:pt x="151" y="800"/>
                </a:cubicBezTo>
                <a:cubicBezTo>
                  <a:pt x="151" y="799"/>
                  <a:pt x="152" y="798"/>
                  <a:pt x="152" y="798"/>
                </a:cubicBezTo>
                <a:cubicBezTo>
                  <a:pt x="148" y="790"/>
                  <a:pt x="148" y="790"/>
                  <a:pt x="148" y="790"/>
                </a:cubicBezTo>
                <a:cubicBezTo>
                  <a:pt x="148" y="789"/>
                  <a:pt x="148" y="788"/>
                  <a:pt x="149" y="787"/>
                </a:cubicBezTo>
                <a:cubicBezTo>
                  <a:pt x="153" y="783"/>
                  <a:pt x="153" y="783"/>
                  <a:pt x="153" y="783"/>
                </a:cubicBezTo>
                <a:cubicBezTo>
                  <a:pt x="154" y="782"/>
                  <a:pt x="155" y="782"/>
                  <a:pt x="156" y="783"/>
                </a:cubicBezTo>
                <a:cubicBezTo>
                  <a:pt x="163" y="788"/>
                  <a:pt x="163" y="788"/>
                  <a:pt x="163" y="788"/>
                </a:cubicBezTo>
                <a:cubicBezTo>
                  <a:pt x="164" y="788"/>
                  <a:pt x="165" y="788"/>
                  <a:pt x="166" y="787"/>
                </a:cubicBezTo>
                <a:cubicBezTo>
                  <a:pt x="168" y="778"/>
                  <a:pt x="168" y="778"/>
                  <a:pt x="168" y="778"/>
                </a:cubicBezTo>
                <a:cubicBezTo>
                  <a:pt x="168" y="778"/>
                  <a:pt x="169" y="777"/>
                  <a:pt x="170" y="777"/>
                </a:cubicBezTo>
                <a:cubicBezTo>
                  <a:pt x="177" y="777"/>
                  <a:pt x="177" y="777"/>
                  <a:pt x="177" y="777"/>
                </a:cubicBezTo>
                <a:cubicBezTo>
                  <a:pt x="178" y="777"/>
                  <a:pt x="179" y="778"/>
                  <a:pt x="179" y="778"/>
                </a:cubicBezTo>
                <a:cubicBezTo>
                  <a:pt x="181" y="787"/>
                  <a:pt x="181" y="787"/>
                  <a:pt x="181" y="787"/>
                </a:cubicBezTo>
                <a:cubicBezTo>
                  <a:pt x="182" y="788"/>
                  <a:pt x="182" y="788"/>
                  <a:pt x="183" y="788"/>
                </a:cubicBezTo>
                <a:cubicBezTo>
                  <a:pt x="190" y="783"/>
                  <a:pt x="190" y="783"/>
                  <a:pt x="190" y="783"/>
                </a:cubicBezTo>
                <a:cubicBezTo>
                  <a:pt x="191" y="782"/>
                  <a:pt x="193" y="782"/>
                  <a:pt x="193" y="783"/>
                </a:cubicBezTo>
                <a:cubicBezTo>
                  <a:pt x="198" y="787"/>
                  <a:pt x="198" y="787"/>
                  <a:pt x="198" y="787"/>
                </a:cubicBezTo>
                <a:cubicBezTo>
                  <a:pt x="199" y="787"/>
                  <a:pt x="199" y="789"/>
                  <a:pt x="199" y="790"/>
                </a:cubicBezTo>
                <a:cubicBezTo>
                  <a:pt x="194" y="798"/>
                  <a:pt x="194" y="798"/>
                  <a:pt x="194" y="798"/>
                </a:cubicBezTo>
                <a:cubicBezTo>
                  <a:pt x="195" y="798"/>
                  <a:pt x="195" y="799"/>
                  <a:pt x="196" y="800"/>
                </a:cubicBezTo>
                <a:cubicBezTo>
                  <a:pt x="205" y="800"/>
                  <a:pt x="205" y="800"/>
                  <a:pt x="205" y="800"/>
                </a:cubicBezTo>
                <a:cubicBezTo>
                  <a:pt x="206" y="800"/>
                  <a:pt x="207" y="801"/>
                  <a:pt x="207" y="802"/>
                </a:cubicBezTo>
                <a:cubicBezTo>
                  <a:pt x="208" y="808"/>
                  <a:pt x="208" y="808"/>
                  <a:pt x="208" y="808"/>
                </a:cubicBezTo>
                <a:cubicBezTo>
                  <a:pt x="208" y="809"/>
                  <a:pt x="208" y="810"/>
                  <a:pt x="207" y="811"/>
                </a:cubicBezTo>
                <a:cubicBezTo>
                  <a:pt x="198" y="814"/>
                  <a:pt x="198" y="814"/>
                  <a:pt x="198" y="814"/>
                </a:cubicBezTo>
                <a:cubicBezTo>
                  <a:pt x="198" y="815"/>
                  <a:pt x="198" y="816"/>
                  <a:pt x="198" y="817"/>
                </a:cubicBezTo>
                <a:cubicBezTo>
                  <a:pt x="205" y="823"/>
                  <a:pt x="205" y="823"/>
                  <a:pt x="205" y="823"/>
                </a:cubicBezTo>
                <a:cubicBezTo>
                  <a:pt x="205" y="823"/>
                  <a:pt x="206" y="825"/>
                  <a:pt x="205" y="825"/>
                </a:cubicBezTo>
                <a:cubicBezTo>
                  <a:pt x="202" y="831"/>
                  <a:pt x="202" y="831"/>
                  <a:pt x="202" y="831"/>
                </a:cubicBezTo>
                <a:cubicBezTo>
                  <a:pt x="202" y="832"/>
                  <a:pt x="201" y="833"/>
                  <a:pt x="199" y="832"/>
                </a:cubicBezTo>
                <a:cubicBezTo>
                  <a:pt x="191" y="829"/>
                  <a:pt x="191" y="829"/>
                  <a:pt x="191" y="829"/>
                </a:cubicBezTo>
                <a:cubicBezTo>
                  <a:pt x="190" y="830"/>
                  <a:pt x="190" y="830"/>
                  <a:pt x="190" y="831"/>
                </a:cubicBezTo>
                <a:cubicBezTo>
                  <a:pt x="191" y="840"/>
                  <a:pt x="191" y="840"/>
                  <a:pt x="191" y="840"/>
                </a:cubicBezTo>
                <a:cubicBezTo>
                  <a:pt x="192" y="841"/>
                  <a:pt x="191" y="842"/>
                  <a:pt x="190" y="842"/>
                </a:cubicBezTo>
                <a:cubicBezTo>
                  <a:pt x="184" y="845"/>
                  <a:pt x="184" y="845"/>
                  <a:pt x="184" y="845"/>
                </a:cubicBezTo>
                <a:cubicBezTo>
                  <a:pt x="183" y="845"/>
                  <a:pt x="182" y="845"/>
                  <a:pt x="182" y="844"/>
                </a:cubicBezTo>
                <a:cubicBezTo>
                  <a:pt x="176" y="836"/>
                  <a:pt x="176" y="836"/>
                  <a:pt x="176" y="836"/>
                </a:cubicBezTo>
                <a:cubicBezTo>
                  <a:pt x="175" y="837"/>
                  <a:pt x="174" y="837"/>
                  <a:pt x="174" y="837"/>
                </a:cubicBezTo>
                <a:cubicBezTo>
                  <a:pt x="173" y="837"/>
                  <a:pt x="173" y="837"/>
                  <a:pt x="173" y="837"/>
                </a:cubicBezTo>
                <a:cubicBezTo>
                  <a:pt x="169" y="845"/>
                  <a:pt x="169" y="845"/>
                  <a:pt x="169" y="845"/>
                </a:cubicBezTo>
                <a:cubicBezTo>
                  <a:pt x="168" y="845"/>
                  <a:pt x="167" y="846"/>
                  <a:pt x="166" y="845"/>
                </a:cubicBezTo>
                <a:cubicBezTo>
                  <a:pt x="160" y="844"/>
                  <a:pt x="160" y="844"/>
                  <a:pt x="160" y="844"/>
                </a:cubicBezTo>
                <a:cubicBezTo>
                  <a:pt x="159" y="843"/>
                  <a:pt x="159" y="842"/>
                  <a:pt x="159" y="841"/>
                </a:cubicBezTo>
                <a:close/>
                <a:moveTo>
                  <a:pt x="160" y="811"/>
                </a:moveTo>
                <a:cubicBezTo>
                  <a:pt x="160" y="819"/>
                  <a:pt x="166" y="825"/>
                  <a:pt x="174" y="825"/>
                </a:cubicBezTo>
                <a:cubicBezTo>
                  <a:pt x="181" y="825"/>
                  <a:pt x="187" y="819"/>
                  <a:pt x="187" y="811"/>
                </a:cubicBezTo>
                <a:cubicBezTo>
                  <a:pt x="187" y="804"/>
                  <a:pt x="181" y="798"/>
                  <a:pt x="174" y="798"/>
                </a:cubicBezTo>
                <a:cubicBezTo>
                  <a:pt x="166" y="798"/>
                  <a:pt x="160" y="804"/>
                  <a:pt x="160" y="811"/>
                </a:cubicBezTo>
                <a:close/>
                <a:moveTo>
                  <a:pt x="244" y="737"/>
                </a:moveTo>
                <a:cubicBezTo>
                  <a:pt x="241" y="737"/>
                  <a:pt x="239" y="739"/>
                  <a:pt x="239" y="742"/>
                </a:cubicBezTo>
                <a:cubicBezTo>
                  <a:pt x="239" y="746"/>
                  <a:pt x="241" y="748"/>
                  <a:pt x="244" y="748"/>
                </a:cubicBezTo>
                <a:cubicBezTo>
                  <a:pt x="248" y="748"/>
                  <a:pt x="250" y="746"/>
                  <a:pt x="250" y="742"/>
                </a:cubicBezTo>
                <a:cubicBezTo>
                  <a:pt x="250" y="739"/>
                  <a:pt x="248" y="737"/>
                  <a:pt x="244" y="737"/>
                </a:cubicBezTo>
                <a:close/>
                <a:moveTo>
                  <a:pt x="244" y="610"/>
                </a:moveTo>
                <a:cubicBezTo>
                  <a:pt x="248" y="610"/>
                  <a:pt x="250" y="608"/>
                  <a:pt x="250" y="605"/>
                </a:cubicBezTo>
                <a:cubicBezTo>
                  <a:pt x="250" y="602"/>
                  <a:pt x="248" y="599"/>
                  <a:pt x="244" y="599"/>
                </a:cubicBezTo>
                <a:cubicBezTo>
                  <a:pt x="241" y="599"/>
                  <a:pt x="239" y="602"/>
                  <a:pt x="239" y="605"/>
                </a:cubicBezTo>
                <a:cubicBezTo>
                  <a:pt x="239" y="608"/>
                  <a:pt x="241" y="610"/>
                  <a:pt x="244" y="610"/>
                </a:cubicBezTo>
                <a:close/>
                <a:moveTo>
                  <a:pt x="210" y="886"/>
                </a:moveTo>
                <a:cubicBezTo>
                  <a:pt x="213" y="886"/>
                  <a:pt x="215" y="883"/>
                  <a:pt x="215" y="880"/>
                </a:cubicBezTo>
                <a:cubicBezTo>
                  <a:pt x="215" y="877"/>
                  <a:pt x="213" y="875"/>
                  <a:pt x="210" y="875"/>
                </a:cubicBezTo>
                <a:cubicBezTo>
                  <a:pt x="206" y="875"/>
                  <a:pt x="204" y="877"/>
                  <a:pt x="204" y="880"/>
                </a:cubicBezTo>
                <a:cubicBezTo>
                  <a:pt x="204" y="883"/>
                  <a:pt x="206" y="886"/>
                  <a:pt x="210" y="886"/>
                </a:cubicBezTo>
                <a:close/>
                <a:moveTo>
                  <a:pt x="635" y="335"/>
                </a:moveTo>
                <a:cubicBezTo>
                  <a:pt x="638" y="335"/>
                  <a:pt x="640" y="332"/>
                  <a:pt x="640" y="329"/>
                </a:cubicBezTo>
                <a:cubicBezTo>
                  <a:pt x="640" y="326"/>
                  <a:pt x="638" y="323"/>
                  <a:pt x="635" y="323"/>
                </a:cubicBezTo>
                <a:cubicBezTo>
                  <a:pt x="632" y="323"/>
                  <a:pt x="629" y="326"/>
                  <a:pt x="629" y="329"/>
                </a:cubicBezTo>
                <a:cubicBezTo>
                  <a:pt x="629" y="332"/>
                  <a:pt x="632" y="335"/>
                  <a:pt x="635" y="335"/>
                </a:cubicBezTo>
                <a:close/>
                <a:moveTo>
                  <a:pt x="208" y="907"/>
                </a:moveTo>
                <a:cubicBezTo>
                  <a:pt x="198" y="913"/>
                  <a:pt x="198" y="913"/>
                  <a:pt x="198" y="913"/>
                </a:cubicBezTo>
                <a:cubicBezTo>
                  <a:pt x="196" y="913"/>
                  <a:pt x="196" y="913"/>
                  <a:pt x="196" y="913"/>
                </a:cubicBezTo>
                <a:cubicBezTo>
                  <a:pt x="195" y="912"/>
                  <a:pt x="195" y="911"/>
                  <a:pt x="195" y="910"/>
                </a:cubicBezTo>
                <a:cubicBezTo>
                  <a:pt x="195" y="901"/>
                  <a:pt x="195" y="901"/>
                  <a:pt x="195" y="901"/>
                </a:cubicBezTo>
                <a:cubicBezTo>
                  <a:pt x="195" y="901"/>
                  <a:pt x="194" y="900"/>
                  <a:pt x="193" y="899"/>
                </a:cubicBezTo>
                <a:cubicBezTo>
                  <a:pt x="184" y="902"/>
                  <a:pt x="184" y="902"/>
                  <a:pt x="184" y="902"/>
                </a:cubicBezTo>
                <a:cubicBezTo>
                  <a:pt x="184" y="903"/>
                  <a:pt x="182" y="902"/>
                  <a:pt x="182" y="901"/>
                </a:cubicBezTo>
                <a:cubicBezTo>
                  <a:pt x="178" y="896"/>
                  <a:pt x="178" y="896"/>
                  <a:pt x="178" y="896"/>
                </a:cubicBezTo>
                <a:cubicBezTo>
                  <a:pt x="178" y="895"/>
                  <a:pt x="178" y="894"/>
                  <a:pt x="179" y="893"/>
                </a:cubicBezTo>
                <a:cubicBezTo>
                  <a:pt x="185" y="887"/>
                  <a:pt x="185" y="887"/>
                  <a:pt x="185" y="887"/>
                </a:cubicBezTo>
                <a:cubicBezTo>
                  <a:pt x="185" y="886"/>
                  <a:pt x="185" y="884"/>
                  <a:pt x="185" y="883"/>
                </a:cubicBezTo>
                <a:cubicBezTo>
                  <a:pt x="176" y="880"/>
                  <a:pt x="176" y="880"/>
                  <a:pt x="176" y="880"/>
                </a:cubicBezTo>
                <a:cubicBezTo>
                  <a:pt x="175" y="879"/>
                  <a:pt x="175" y="878"/>
                  <a:pt x="175" y="877"/>
                </a:cubicBezTo>
                <a:cubicBezTo>
                  <a:pt x="176" y="871"/>
                  <a:pt x="176" y="871"/>
                  <a:pt x="176" y="871"/>
                </a:cubicBezTo>
                <a:cubicBezTo>
                  <a:pt x="176" y="870"/>
                  <a:pt x="177" y="869"/>
                  <a:pt x="178" y="869"/>
                </a:cubicBezTo>
                <a:cubicBezTo>
                  <a:pt x="187" y="869"/>
                  <a:pt x="187" y="869"/>
                  <a:pt x="187" y="869"/>
                </a:cubicBezTo>
                <a:cubicBezTo>
                  <a:pt x="187" y="868"/>
                  <a:pt x="188" y="867"/>
                  <a:pt x="188" y="867"/>
                </a:cubicBezTo>
                <a:cubicBezTo>
                  <a:pt x="184" y="859"/>
                  <a:pt x="184" y="859"/>
                  <a:pt x="184" y="859"/>
                </a:cubicBezTo>
                <a:cubicBezTo>
                  <a:pt x="184" y="858"/>
                  <a:pt x="184" y="857"/>
                  <a:pt x="185" y="856"/>
                </a:cubicBezTo>
                <a:cubicBezTo>
                  <a:pt x="189" y="852"/>
                  <a:pt x="189" y="852"/>
                  <a:pt x="189" y="852"/>
                </a:cubicBezTo>
                <a:cubicBezTo>
                  <a:pt x="190" y="851"/>
                  <a:pt x="191" y="851"/>
                  <a:pt x="192" y="852"/>
                </a:cubicBezTo>
                <a:cubicBezTo>
                  <a:pt x="199" y="857"/>
                  <a:pt x="199" y="857"/>
                  <a:pt x="199" y="857"/>
                </a:cubicBezTo>
                <a:cubicBezTo>
                  <a:pt x="200" y="857"/>
                  <a:pt x="201" y="857"/>
                  <a:pt x="202" y="856"/>
                </a:cubicBezTo>
                <a:cubicBezTo>
                  <a:pt x="204" y="847"/>
                  <a:pt x="204" y="847"/>
                  <a:pt x="204" y="847"/>
                </a:cubicBezTo>
                <a:cubicBezTo>
                  <a:pt x="204" y="846"/>
                  <a:pt x="205" y="845"/>
                  <a:pt x="206" y="845"/>
                </a:cubicBezTo>
                <a:cubicBezTo>
                  <a:pt x="213" y="845"/>
                  <a:pt x="213" y="845"/>
                  <a:pt x="213" y="845"/>
                </a:cubicBezTo>
                <a:cubicBezTo>
                  <a:pt x="214" y="845"/>
                  <a:pt x="215" y="846"/>
                  <a:pt x="215" y="847"/>
                </a:cubicBezTo>
                <a:cubicBezTo>
                  <a:pt x="217" y="856"/>
                  <a:pt x="217" y="856"/>
                  <a:pt x="217" y="856"/>
                </a:cubicBezTo>
                <a:cubicBezTo>
                  <a:pt x="218" y="857"/>
                  <a:pt x="218" y="857"/>
                  <a:pt x="219" y="857"/>
                </a:cubicBezTo>
                <a:cubicBezTo>
                  <a:pt x="226" y="852"/>
                  <a:pt x="226" y="852"/>
                  <a:pt x="226" y="852"/>
                </a:cubicBezTo>
                <a:cubicBezTo>
                  <a:pt x="227" y="851"/>
                  <a:pt x="229" y="851"/>
                  <a:pt x="229" y="852"/>
                </a:cubicBezTo>
                <a:cubicBezTo>
                  <a:pt x="234" y="856"/>
                  <a:pt x="234" y="856"/>
                  <a:pt x="234" y="856"/>
                </a:cubicBezTo>
                <a:cubicBezTo>
                  <a:pt x="235" y="856"/>
                  <a:pt x="235" y="858"/>
                  <a:pt x="235" y="859"/>
                </a:cubicBezTo>
                <a:cubicBezTo>
                  <a:pt x="230" y="867"/>
                  <a:pt x="230" y="867"/>
                  <a:pt x="230" y="867"/>
                </a:cubicBezTo>
                <a:cubicBezTo>
                  <a:pt x="231" y="867"/>
                  <a:pt x="231" y="868"/>
                  <a:pt x="232" y="869"/>
                </a:cubicBezTo>
                <a:cubicBezTo>
                  <a:pt x="241" y="869"/>
                  <a:pt x="241" y="869"/>
                  <a:pt x="241" y="869"/>
                </a:cubicBezTo>
                <a:cubicBezTo>
                  <a:pt x="242" y="869"/>
                  <a:pt x="243" y="870"/>
                  <a:pt x="243" y="871"/>
                </a:cubicBezTo>
                <a:cubicBezTo>
                  <a:pt x="244" y="877"/>
                  <a:pt x="244" y="877"/>
                  <a:pt x="244" y="877"/>
                </a:cubicBezTo>
                <a:cubicBezTo>
                  <a:pt x="244" y="878"/>
                  <a:pt x="244" y="879"/>
                  <a:pt x="243" y="880"/>
                </a:cubicBezTo>
                <a:cubicBezTo>
                  <a:pt x="234" y="883"/>
                  <a:pt x="234" y="883"/>
                  <a:pt x="234" y="883"/>
                </a:cubicBezTo>
                <a:cubicBezTo>
                  <a:pt x="234" y="884"/>
                  <a:pt x="234" y="885"/>
                  <a:pt x="234" y="886"/>
                </a:cubicBezTo>
                <a:cubicBezTo>
                  <a:pt x="236" y="888"/>
                  <a:pt x="238" y="889"/>
                  <a:pt x="239" y="890"/>
                </a:cubicBezTo>
                <a:cubicBezTo>
                  <a:pt x="212" y="905"/>
                  <a:pt x="212" y="905"/>
                  <a:pt x="212" y="905"/>
                </a:cubicBezTo>
                <a:cubicBezTo>
                  <a:pt x="211" y="905"/>
                  <a:pt x="210" y="905"/>
                  <a:pt x="210" y="905"/>
                </a:cubicBezTo>
                <a:cubicBezTo>
                  <a:pt x="209" y="905"/>
                  <a:pt x="209" y="905"/>
                  <a:pt x="209" y="905"/>
                </a:cubicBezTo>
                <a:cubicBezTo>
                  <a:pt x="209" y="906"/>
                  <a:pt x="209" y="907"/>
                  <a:pt x="208" y="907"/>
                </a:cubicBezTo>
                <a:close/>
                <a:moveTo>
                  <a:pt x="210" y="893"/>
                </a:moveTo>
                <a:cubicBezTo>
                  <a:pt x="217" y="893"/>
                  <a:pt x="223" y="888"/>
                  <a:pt x="223" y="880"/>
                </a:cubicBezTo>
                <a:cubicBezTo>
                  <a:pt x="223" y="873"/>
                  <a:pt x="217" y="867"/>
                  <a:pt x="210" y="867"/>
                </a:cubicBezTo>
                <a:cubicBezTo>
                  <a:pt x="202" y="867"/>
                  <a:pt x="196" y="873"/>
                  <a:pt x="196" y="880"/>
                </a:cubicBezTo>
                <a:cubicBezTo>
                  <a:pt x="196" y="888"/>
                  <a:pt x="202" y="893"/>
                  <a:pt x="210" y="893"/>
                </a:cubicBezTo>
                <a:close/>
                <a:moveTo>
                  <a:pt x="269" y="745"/>
                </a:moveTo>
                <a:cubicBezTo>
                  <a:pt x="269" y="746"/>
                  <a:pt x="269" y="747"/>
                  <a:pt x="269" y="748"/>
                </a:cubicBezTo>
                <a:cubicBezTo>
                  <a:pt x="276" y="754"/>
                  <a:pt x="276" y="754"/>
                  <a:pt x="276" y="754"/>
                </a:cubicBezTo>
                <a:cubicBezTo>
                  <a:pt x="276" y="754"/>
                  <a:pt x="277" y="756"/>
                  <a:pt x="276" y="757"/>
                </a:cubicBezTo>
                <a:cubicBezTo>
                  <a:pt x="273" y="762"/>
                  <a:pt x="273" y="762"/>
                  <a:pt x="273" y="762"/>
                </a:cubicBezTo>
                <a:cubicBezTo>
                  <a:pt x="273" y="763"/>
                  <a:pt x="271" y="764"/>
                  <a:pt x="270" y="763"/>
                </a:cubicBezTo>
                <a:cubicBezTo>
                  <a:pt x="262" y="761"/>
                  <a:pt x="262" y="761"/>
                  <a:pt x="262" y="761"/>
                </a:cubicBezTo>
                <a:cubicBezTo>
                  <a:pt x="261" y="761"/>
                  <a:pt x="261" y="761"/>
                  <a:pt x="260" y="762"/>
                </a:cubicBezTo>
                <a:cubicBezTo>
                  <a:pt x="262" y="771"/>
                  <a:pt x="262" y="771"/>
                  <a:pt x="262" y="771"/>
                </a:cubicBezTo>
                <a:cubicBezTo>
                  <a:pt x="263" y="772"/>
                  <a:pt x="262" y="773"/>
                  <a:pt x="261" y="773"/>
                </a:cubicBezTo>
                <a:cubicBezTo>
                  <a:pt x="255" y="776"/>
                  <a:pt x="255" y="776"/>
                  <a:pt x="255" y="776"/>
                </a:cubicBezTo>
                <a:cubicBezTo>
                  <a:pt x="254" y="776"/>
                  <a:pt x="253" y="776"/>
                  <a:pt x="252" y="775"/>
                </a:cubicBezTo>
                <a:cubicBezTo>
                  <a:pt x="247" y="767"/>
                  <a:pt x="247" y="767"/>
                  <a:pt x="247" y="767"/>
                </a:cubicBezTo>
                <a:cubicBezTo>
                  <a:pt x="246" y="768"/>
                  <a:pt x="245" y="768"/>
                  <a:pt x="244" y="768"/>
                </a:cubicBezTo>
                <a:cubicBezTo>
                  <a:pt x="244" y="768"/>
                  <a:pt x="244" y="768"/>
                  <a:pt x="244" y="768"/>
                </a:cubicBezTo>
                <a:cubicBezTo>
                  <a:pt x="240" y="776"/>
                  <a:pt x="240" y="776"/>
                  <a:pt x="240" y="776"/>
                </a:cubicBezTo>
                <a:cubicBezTo>
                  <a:pt x="239" y="777"/>
                  <a:pt x="238" y="777"/>
                  <a:pt x="237" y="777"/>
                </a:cubicBezTo>
                <a:cubicBezTo>
                  <a:pt x="231" y="775"/>
                  <a:pt x="231" y="775"/>
                  <a:pt x="231" y="775"/>
                </a:cubicBezTo>
                <a:cubicBezTo>
                  <a:pt x="230" y="774"/>
                  <a:pt x="229" y="774"/>
                  <a:pt x="229" y="772"/>
                </a:cubicBezTo>
                <a:cubicBezTo>
                  <a:pt x="230" y="763"/>
                  <a:pt x="230" y="763"/>
                  <a:pt x="230" y="763"/>
                </a:cubicBezTo>
                <a:cubicBezTo>
                  <a:pt x="229" y="763"/>
                  <a:pt x="229" y="762"/>
                  <a:pt x="228" y="762"/>
                </a:cubicBezTo>
                <a:cubicBezTo>
                  <a:pt x="219" y="765"/>
                  <a:pt x="219" y="765"/>
                  <a:pt x="219" y="765"/>
                </a:cubicBezTo>
                <a:cubicBezTo>
                  <a:pt x="218" y="765"/>
                  <a:pt x="217" y="765"/>
                  <a:pt x="217" y="764"/>
                </a:cubicBezTo>
                <a:cubicBezTo>
                  <a:pt x="213" y="758"/>
                  <a:pt x="213" y="758"/>
                  <a:pt x="213" y="758"/>
                </a:cubicBezTo>
                <a:cubicBezTo>
                  <a:pt x="213" y="758"/>
                  <a:pt x="213" y="756"/>
                  <a:pt x="214" y="755"/>
                </a:cubicBezTo>
                <a:cubicBezTo>
                  <a:pt x="220" y="749"/>
                  <a:pt x="220" y="749"/>
                  <a:pt x="220" y="749"/>
                </a:cubicBezTo>
                <a:cubicBezTo>
                  <a:pt x="220" y="748"/>
                  <a:pt x="220" y="746"/>
                  <a:pt x="220" y="745"/>
                </a:cubicBezTo>
                <a:cubicBezTo>
                  <a:pt x="211" y="742"/>
                  <a:pt x="211" y="742"/>
                  <a:pt x="211" y="742"/>
                </a:cubicBezTo>
                <a:cubicBezTo>
                  <a:pt x="210" y="742"/>
                  <a:pt x="210" y="740"/>
                  <a:pt x="210" y="739"/>
                </a:cubicBezTo>
                <a:cubicBezTo>
                  <a:pt x="211" y="733"/>
                  <a:pt x="211" y="733"/>
                  <a:pt x="211" y="733"/>
                </a:cubicBezTo>
                <a:cubicBezTo>
                  <a:pt x="211" y="732"/>
                  <a:pt x="212" y="731"/>
                  <a:pt x="213" y="731"/>
                </a:cubicBezTo>
                <a:cubicBezTo>
                  <a:pt x="222" y="731"/>
                  <a:pt x="222" y="731"/>
                  <a:pt x="222" y="731"/>
                </a:cubicBezTo>
                <a:cubicBezTo>
                  <a:pt x="222" y="730"/>
                  <a:pt x="223" y="730"/>
                  <a:pt x="223" y="729"/>
                </a:cubicBezTo>
                <a:cubicBezTo>
                  <a:pt x="219" y="721"/>
                  <a:pt x="219" y="721"/>
                  <a:pt x="219" y="721"/>
                </a:cubicBezTo>
                <a:cubicBezTo>
                  <a:pt x="218" y="720"/>
                  <a:pt x="219" y="719"/>
                  <a:pt x="220" y="718"/>
                </a:cubicBezTo>
                <a:cubicBezTo>
                  <a:pt x="224" y="714"/>
                  <a:pt x="224" y="714"/>
                  <a:pt x="224" y="714"/>
                </a:cubicBezTo>
                <a:cubicBezTo>
                  <a:pt x="225" y="713"/>
                  <a:pt x="226" y="713"/>
                  <a:pt x="227" y="714"/>
                </a:cubicBezTo>
                <a:cubicBezTo>
                  <a:pt x="234" y="719"/>
                  <a:pt x="234" y="719"/>
                  <a:pt x="234" y="719"/>
                </a:cubicBezTo>
                <a:cubicBezTo>
                  <a:pt x="235" y="719"/>
                  <a:pt x="236" y="719"/>
                  <a:pt x="237" y="718"/>
                </a:cubicBezTo>
                <a:cubicBezTo>
                  <a:pt x="239" y="710"/>
                  <a:pt x="239" y="710"/>
                  <a:pt x="239" y="710"/>
                </a:cubicBezTo>
                <a:cubicBezTo>
                  <a:pt x="239" y="709"/>
                  <a:pt x="240" y="708"/>
                  <a:pt x="241" y="708"/>
                </a:cubicBezTo>
                <a:cubicBezTo>
                  <a:pt x="248" y="708"/>
                  <a:pt x="248" y="708"/>
                  <a:pt x="248" y="708"/>
                </a:cubicBezTo>
                <a:cubicBezTo>
                  <a:pt x="248" y="708"/>
                  <a:pt x="250" y="709"/>
                  <a:pt x="250" y="710"/>
                </a:cubicBezTo>
                <a:cubicBezTo>
                  <a:pt x="252" y="718"/>
                  <a:pt x="252" y="718"/>
                  <a:pt x="252" y="718"/>
                </a:cubicBezTo>
                <a:cubicBezTo>
                  <a:pt x="252" y="719"/>
                  <a:pt x="253" y="719"/>
                  <a:pt x="254" y="719"/>
                </a:cubicBezTo>
                <a:cubicBezTo>
                  <a:pt x="261" y="714"/>
                  <a:pt x="261" y="714"/>
                  <a:pt x="261" y="714"/>
                </a:cubicBezTo>
                <a:cubicBezTo>
                  <a:pt x="262" y="713"/>
                  <a:pt x="263" y="713"/>
                  <a:pt x="264" y="714"/>
                </a:cubicBezTo>
                <a:cubicBezTo>
                  <a:pt x="269" y="718"/>
                  <a:pt x="269" y="718"/>
                  <a:pt x="269" y="718"/>
                </a:cubicBezTo>
                <a:cubicBezTo>
                  <a:pt x="270" y="718"/>
                  <a:pt x="270" y="720"/>
                  <a:pt x="270" y="721"/>
                </a:cubicBezTo>
                <a:cubicBezTo>
                  <a:pt x="265" y="729"/>
                  <a:pt x="265" y="729"/>
                  <a:pt x="265" y="729"/>
                </a:cubicBezTo>
                <a:cubicBezTo>
                  <a:pt x="266" y="730"/>
                  <a:pt x="266" y="730"/>
                  <a:pt x="267" y="731"/>
                </a:cubicBezTo>
                <a:cubicBezTo>
                  <a:pt x="276" y="731"/>
                  <a:pt x="276" y="731"/>
                  <a:pt x="276" y="731"/>
                </a:cubicBezTo>
                <a:cubicBezTo>
                  <a:pt x="277" y="731"/>
                  <a:pt x="278" y="732"/>
                  <a:pt x="278" y="733"/>
                </a:cubicBezTo>
                <a:cubicBezTo>
                  <a:pt x="279" y="739"/>
                  <a:pt x="279" y="739"/>
                  <a:pt x="279" y="739"/>
                </a:cubicBezTo>
                <a:cubicBezTo>
                  <a:pt x="279" y="740"/>
                  <a:pt x="278" y="742"/>
                  <a:pt x="278" y="742"/>
                </a:cubicBezTo>
                <a:cubicBezTo>
                  <a:pt x="269" y="745"/>
                  <a:pt x="269" y="745"/>
                  <a:pt x="269" y="745"/>
                </a:cubicBezTo>
                <a:close/>
                <a:moveTo>
                  <a:pt x="258" y="742"/>
                </a:moveTo>
                <a:cubicBezTo>
                  <a:pt x="258" y="735"/>
                  <a:pt x="252" y="729"/>
                  <a:pt x="244" y="729"/>
                </a:cubicBezTo>
                <a:cubicBezTo>
                  <a:pt x="237" y="729"/>
                  <a:pt x="231" y="735"/>
                  <a:pt x="231" y="742"/>
                </a:cubicBezTo>
                <a:cubicBezTo>
                  <a:pt x="231" y="750"/>
                  <a:pt x="237" y="756"/>
                  <a:pt x="244" y="756"/>
                </a:cubicBezTo>
                <a:cubicBezTo>
                  <a:pt x="252" y="756"/>
                  <a:pt x="258" y="750"/>
                  <a:pt x="258" y="742"/>
                </a:cubicBezTo>
                <a:close/>
                <a:moveTo>
                  <a:pt x="422" y="255"/>
                </a:moveTo>
                <a:cubicBezTo>
                  <a:pt x="419" y="255"/>
                  <a:pt x="416" y="257"/>
                  <a:pt x="416" y="260"/>
                </a:cubicBezTo>
                <a:cubicBezTo>
                  <a:pt x="416" y="263"/>
                  <a:pt x="419" y="266"/>
                  <a:pt x="422" y="266"/>
                </a:cubicBezTo>
                <a:cubicBezTo>
                  <a:pt x="425" y="266"/>
                  <a:pt x="428" y="263"/>
                  <a:pt x="428" y="260"/>
                </a:cubicBezTo>
                <a:cubicBezTo>
                  <a:pt x="428" y="257"/>
                  <a:pt x="425" y="255"/>
                  <a:pt x="422" y="255"/>
                </a:cubicBezTo>
                <a:close/>
                <a:moveTo>
                  <a:pt x="493" y="266"/>
                </a:moveTo>
                <a:cubicBezTo>
                  <a:pt x="496" y="266"/>
                  <a:pt x="499" y="263"/>
                  <a:pt x="499" y="260"/>
                </a:cubicBezTo>
                <a:cubicBezTo>
                  <a:pt x="499" y="257"/>
                  <a:pt x="496" y="255"/>
                  <a:pt x="493" y="255"/>
                </a:cubicBezTo>
                <a:cubicBezTo>
                  <a:pt x="490" y="255"/>
                  <a:pt x="487" y="257"/>
                  <a:pt x="487" y="260"/>
                </a:cubicBezTo>
                <a:cubicBezTo>
                  <a:pt x="487" y="263"/>
                  <a:pt x="490" y="266"/>
                  <a:pt x="493" y="266"/>
                </a:cubicBezTo>
                <a:close/>
                <a:moveTo>
                  <a:pt x="65" y="811"/>
                </a:moveTo>
                <a:cubicBezTo>
                  <a:pt x="66" y="810"/>
                  <a:pt x="66" y="809"/>
                  <a:pt x="66" y="808"/>
                </a:cubicBezTo>
                <a:cubicBezTo>
                  <a:pt x="65" y="802"/>
                  <a:pt x="65" y="802"/>
                  <a:pt x="65" y="802"/>
                </a:cubicBezTo>
                <a:cubicBezTo>
                  <a:pt x="65" y="801"/>
                  <a:pt x="64" y="800"/>
                  <a:pt x="63" y="800"/>
                </a:cubicBezTo>
                <a:cubicBezTo>
                  <a:pt x="63" y="800"/>
                  <a:pt x="63" y="800"/>
                  <a:pt x="54" y="800"/>
                </a:cubicBezTo>
                <a:cubicBezTo>
                  <a:pt x="54" y="799"/>
                  <a:pt x="53" y="798"/>
                  <a:pt x="53" y="798"/>
                </a:cubicBezTo>
                <a:cubicBezTo>
                  <a:pt x="53" y="798"/>
                  <a:pt x="53" y="798"/>
                  <a:pt x="57" y="790"/>
                </a:cubicBezTo>
                <a:cubicBezTo>
                  <a:pt x="58" y="789"/>
                  <a:pt x="57" y="787"/>
                  <a:pt x="56" y="787"/>
                </a:cubicBezTo>
                <a:cubicBezTo>
                  <a:pt x="56" y="787"/>
                  <a:pt x="56" y="787"/>
                  <a:pt x="52" y="783"/>
                </a:cubicBezTo>
                <a:cubicBezTo>
                  <a:pt x="51" y="782"/>
                  <a:pt x="49" y="782"/>
                  <a:pt x="49" y="783"/>
                </a:cubicBezTo>
                <a:cubicBezTo>
                  <a:pt x="49" y="783"/>
                  <a:pt x="49" y="783"/>
                  <a:pt x="42" y="788"/>
                </a:cubicBezTo>
                <a:cubicBezTo>
                  <a:pt x="41" y="788"/>
                  <a:pt x="40" y="788"/>
                  <a:pt x="39" y="787"/>
                </a:cubicBezTo>
                <a:cubicBezTo>
                  <a:pt x="39" y="787"/>
                  <a:pt x="39" y="787"/>
                  <a:pt x="37" y="778"/>
                </a:cubicBezTo>
                <a:cubicBezTo>
                  <a:pt x="37" y="778"/>
                  <a:pt x="36" y="777"/>
                  <a:pt x="35" y="777"/>
                </a:cubicBezTo>
                <a:cubicBezTo>
                  <a:pt x="35" y="777"/>
                  <a:pt x="35" y="777"/>
                  <a:pt x="28" y="777"/>
                </a:cubicBezTo>
                <a:cubicBezTo>
                  <a:pt x="27" y="777"/>
                  <a:pt x="27" y="778"/>
                  <a:pt x="26" y="778"/>
                </a:cubicBezTo>
                <a:cubicBezTo>
                  <a:pt x="26" y="778"/>
                  <a:pt x="26" y="778"/>
                  <a:pt x="24" y="787"/>
                </a:cubicBezTo>
                <a:cubicBezTo>
                  <a:pt x="24" y="788"/>
                  <a:pt x="23" y="788"/>
                  <a:pt x="22" y="788"/>
                </a:cubicBezTo>
                <a:cubicBezTo>
                  <a:pt x="22" y="788"/>
                  <a:pt x="22" y="788"/>
                  <a:pt x="15" y="783"/>
                </a:cubicBezTo>
                <a:cubicBezTo>
                  <a:pt x="14" y="782"/>
                  <a:pt x="13" y="782"/>
                  <a:pt x="12" y="783"/>
                </a:cubicBezTo>
                <a:cubicBezTo>
                  <a:pt x="14" y="793"/>
                  <a:pt x="16" y="803"/>
                  <a:pt x="18" y="813"/>
                </a:cubicBezTo>
                <a:cubicBezTo>
                  <a:pt x="18" y="812"/>
                  <a:pt x="18" y="812"/>
                  <a:pt x="18" y="811"/>
                </a:cubicBezTo>
                <a:cubicBezTo>
                  <a:pt x="18" y="804"/>
                  <a:pt x="24" y="798"/>
                  <a:pt x="32" y="798"/>
                </a:cubicBezTo>
                <a:cubicBezTo>
                  <a:pt x="39" y="798"/>
                  <a:pt x="45" y="804"/>
                  <a:pt x="45" y="811"/>
                </a:cubicBezTo>
                <a:cubicBezTo>
                  <a:pt x="45" y="819"/>
                  <a:pt x="39" y="825"/>
                  <a:pt x="32" y="825"/>
                </a:cubicBezTo>
                <a:cubicBezTo>
                  <a:pt x="26" y="825"/>
                  <a:pt x="21" y="821"/>
                  <a:pt x="19" y="816"/>
                </a:cubicBezTo>
                <a:cubicBezTo>
                  <a:pt x="22" y="826"/>
                  <a:pt x="24" y="835"/>
                  <a:pt x="27" y="845"/>
                </a:cubicBezTo>
                <a:cubicBezTo>
                  <a:pt x="27" y="845"/>
                  <a:pt x="27" y="845"/>
                  <a:pt x="27" y="845"/>
                </a:cubicBezTo>
                <a:cubicBezTo>
                  <a:pt x="27" y="845"/>
                  <a:pt x="27" y="845"/>
                  <a:pt x="31" y="837"/>
                </a:cubicBezTo>
                <a:cubicBezTo>
                  <a:pt x="31" y="837"/>
                  <a:pt x="31" y="837"/>
                  <a:pt x="32" y="837"/>
                </a:cubicBezTo>
                <a:cubicBezTo>
                  <a:pt x="33" y="837"/>
                  <a:pt x="34" y="837"/>
                  <a:pt x="35" y="836"/>
                </a:cubicBezTo>
                <a:cubicBezTo>
                  <a:pt x="35" y="836"/>
                  <a:pt x="35" y="836"/>
                  <a:pt x="40" y="844"/>
                </a:cubicBezTo>
                <a:cubicBezTo>
                  <a:pt x="40" y="845"/>
                  <a:pt x="42" y="845"/>
                  <a:pt x="43" y="845"/>
                </a:cubicBezTo>
                <a:cubicBezTo>
                  <a:pt x="43" y="845"/>
                  <a:pt x="43" y="845"/>
                  <a:pt x="48" y="842"/>
                </a:cubicBezTo>
                <a:cubicBezTo>
                  <a:pt x="49" y="842"/>
                  <a:pt x="50" y="841"/>
                  <a:pt x="50" y="840"/>
                </a:cubicBezTo>
                <a:cubicBezTo>
                  <a:pt x="50" y="840"/>
                  <a:pt x="50" y="840"/>
                  <a:pt x="48" y="831"/>
                </a:cubicBezTo>
                <a:cubicBezTo>
                  <a:pt x="48" y="830"/>
                  <a:pt x="49" y="830"/>
                  <a:pt x="49" y="829"/>
                </a:cubicBezTo>
                <a:cubicBezTo>
                  <a:pt x="49" y="829"/>
                  <a:pt x="49" y="829"/>
                  <a:pt x="58" y="832"/>
                </a:cubicBezTo>
                <a:cubicBezTo>
                  <a:pt x="59" y="833"/>
                  <a:pt x="60" y="832"/>
                  <a:pt x="61" y="831"/>
                </a:cubicBezTo>
                <a:cubicBezTo>
                  <a:pt x="61" y="831"/>
                  <a:pt x="61" y="831"/>
                  <a:pt x="63" y="825"/>
                </a:cubicBezTo>
                <a:cubicBezTo>
                  <a:pt x="64" y="825"/>
                  <a:pt x="64" y="823"/>
                  <a:pt x="63" y="823"/>
                </a:cubicBezTo>
                <a:cubicBezTo>
                  <a:pt x="63" y="823"/>
                  <a:pt x="63" y="823"/>
                  <a:pt x="56" y="817"/>
                </a:cubicBezTo>
                <a:cubicBezTo>
                  <a:pt x="56" y="816"/>
                  <a:pt x="56" y="815"/>
                  <a:pt x="57" y="814"/>
                </a:cubicBezTo>
                <a:cubicBezTo>
                  <a:pt x="57" y="814"/>
                  <a:pt x="57" y="814"/>
                  <a:pt x="65" y="811"/>
                </a:cubicBezTo>
                <a:close/>
                <a:moveTo>
                  <a:pt x="447" y="239"/>
                </a:moveTo>
                <a:cubicBezTo>
                  <a:pt x="443" y="247"/>
                  <a:pt x="443" y="247"/>
                  <a:pt x="443" y="247"/>
                </a:cubicBezTo>
                <a:cubicBezTo>
                  <a:pt x="443" y="247"/>
                  <a:pt x="444" y="248"/>
                  <a:pt x="444" y="249"/>
                </a:cubicBezTo>
                <a:cubicBezTo>
                  <a:pt x="454" y="249"/>
                  <a:pt x="454" y="249"/>
                  <a:pt x="454" y="249"/>
                </a:cubicBezTo>
                <a:cubicBezTo>
                  <a:pt x="454" y="249"/>
                  <a:pt x="455" y="250"/>
                  <a:pt x="456" y="251"/>
                </a:cubicBezTo>
                <a:cubicBezTo>
                  <a:pt x="457" y="257"/>
                  <a:pt x="457" y="257"/>
                  <a:pt x="457" y="257"/>
                </a:cubicBezTo>
                <a:cubicBezTo>
                  <a:pt x="457" y="258"/>
                  <a:pt x="456" y="259"/>
                  <a:pt x="455" y="260"/>
                </a:cubicBezTo>
                <a:cubicBezTo>
                  <a:pt x="447" y="263"/>
                  <a:pt x="447" y="263"/>
                  <a:pt x="447" y="263"/>
                </a:cubicBezTo>
                <a:cubicBezTo>
                  <a:pt x="447" y="264"/>
                  <a:pt x="447" y="265"/>
                  <a:pt x="446" y="266"/>
                </a:cubicBezTo>
                <a:cubicBezTo>
                  <a:pt x="454" y="272"/>
                  <a:pt x="454" y="272"/>
                  <a:pt x="454" y="272"/>
                </a:cubicBezTo>
                <a:cubicBezTo>
                  <a:pt x="454" y="272"/>
                  <a:pt x="454" y="273"/>
                  <a:pt x="454" y="274"/>
                </a:cubicBezTo>
                <a:cubicBezTo>
                  <a:pt x="451" y="280"/>
                  <a:pt x="451" y="280"/>
                  <a:pt x="451" y="280"/>
                </a:cubicBezTo>
                <a:cubicBezTo>
                  <a:pt x="450" y="281"/>
                  <a:pt x="449" y="281"/>
                  <a:pt x="448" y="281"/>
                </a:cubicBezTo>
                <a:cubicBezTo>
                  <a:pt x="439" y="278"/>
                  <a:pt x="439" y="278"/>
                  <a:pt x="439" y="278"/>
                </a:cubicBezTo>
                <a:cubicBezTo>
                  <a:pt x="439" y="279"/>
                  <a:pt x="439" y="279"/>
                  <a:pt x="438" y="280"/>
                </a:cubicBezTo>
                <a:cubicBezTo>
                  <a:pt x="440" y="288"/>
                  <a:pt x="440" y="288"/>
                  <a:pt x="440" y="288"/>
                </a:cubicBezTo>
                <a:cubicBezTo>
                  <a:pt x="440" y="289"/>
                  <a:pt x="440" y="291"/>
                  <a:pt x="439" y="291"/>
                </a:cubicBezTo>
                <a:cubicBezTo>
                  <a:pt x="433" y="293"/>
                  <a:pt x="433" y="293"/>
                  <a:pt x="433" y="293"/>
                </a:cubicBezTo>
                <a:cubicBezTo>
                  <a:pt x="432" y="294"/>
                  <a:pt x="431" y="293"/>
                  <a:pt x="430" y="293"/>
                </a:cubicBezTo>
                <a:cubicBezTo>
                  <a:pt x="425" y="285"/>
                  <a:pt x="425" y="285"/>
                  <a:pt x="425" y="285"/>
                </a:cubicBezTo>
                <a:cubicBezTo>
                  <a:pt x="424" y="285"/>
                  <a:pt x="423" y="285"/>
                  <a:pt x="422" y="285"/>
                </a:cubicBezTo>
                <a:cubicBezTo>
                  <a:pt x="422" y="285"/>
                  <a:pt x="422" y="285"/>
                  <a:pt x="422" y="285"/>
                </a:cubicBezTo>
                <a:cubicBezTo>
                  <a:pt x="418" y="293"/>
                  <a:pt x="418" y="293"/>
                  <a:pt x="418" y="293"/>
                </a:cubicBezTo>
                <a:cubicBezTo>
                  <a:pt x="417" y="294"/>
                  <a:pt x="416" y="295"/>
                  <a:pt x="415" y="294"/>
                </a:cubicBezTo>
                <a:cubicBezTo>
                  <a:pt x="409" y="292"/>
                  <a:pt x="409" y="292"/>
                  <a:pt x="409" y="292"/>
                </a:cubicBezTo>
                <a:cubicBezTo>
                  <a:pt x="408" y="292"/>
                  <a:pt x="407" y="291"/>
                  <a:pt x="407" y="290"/>
                </a:cubicBezTo>
                <a:cubicBezTo>
                  <a:pt x="408" y="281"/>
                  <a:pt x="408" y="281"/>
                  <a:pt x="408" y="281"/>
                </a:cubicBezTo>
                <a:cubicBezTo>
                  <a:pt x="407" y="280"/>
                  <a:pt x="407" y="280"/>
                  <a:pt x="406" y="279"/>
                </a:cubicBezTo>
                <a:cubicBezTo>
                  <a:pt x="397" y="282"/>
                  <a:pt x="397" y="282"/>
                  <a:pt x="397" y="282"/>
                </a:cubicBezTo>
                <a:cubicBezTo>
                  <a:pt x="396" y="283"/>
                  <a:pt x="395" y="282"/>
                  <a:pt x="394" y="281"/>
                </a:cubicBezTo>
                <a:cubicBezTo>
                  <a:pt x="391" y="276"/>
                  <a:pt x="391" y="276"/>
                  <a:pt x="391" y="276"/>
                </a:cubicBezTo>
                <a:cubicBezTo>
                  <a:pt x="391" y="275"/>
                  <a:pt x="391" y="274"/>
                  <a:pt x="392" y="273"/>
                </a:cubicBezTo>
                <a:cubicBezTo>
                  <a:pt x="398" y="267"/>
                  <a:pt x="398" y="267"/>
                  <a:pt x="398" y="267"/>
                </a:cubicBezTo>
                <a:cubicBezTo>
                  <a:pt x="398" y="266"/>
                  <a:pt x="397" y="264"/>
                  <a:pt x="397" y="263"/>
                </a:cubicBezTo>
                <a:cubicBezTo>
                  <a:pt x="389" y="260"/>
                  <a:pt x="389" y="260"/>
                  <a:pt x="389" y="260"/>
                </a:cubicBezTo>
                <a:cubicBezTo>
                  <a:pt x="388" y="259"/>
                  <a:pt x="387" y="258"/>
                  <a:pt x="388" y="257"/>
                </a:cubicBezTo>
                <a:cubicBezTo>
                  <a:pt x="389" y="251"/>
                  <a:pt x="389" y="251"/>
                  <a:pt x="389" y="251"/>
                </a:cubicBezTo>
                <a:cubicBezTo>
                  <a:pt x="389" y="250"/>
                  <a:pt x="390" y="249"/>
                  <a:pt x="391" y="249"/>
                </a:cubicBezTo>
                <a:cubicBezTo>
                  <a:pt x="400" y="249"/>
                  <a:pt x="400" y="249"/>
                  <a:pt x="400" y="249"/>
                </a:cubicBezTo>
                <a:cubicBezTo>
                  <a:pt x="400" y="248"/>
                  <a:pt x="401" y="247"/>
                  <a:pt x="401" y="247"/>
                </a:cubicBezTo>
                <a:cubicBezTo>
                  <a:pt x="397" y="239"/>
                  <a:pt x="397" y="239"/>
                  <a:pt x="397" y="239"/>
                </a:cubicBezTo>
                <a:cubicBezTo>
                  <a:pt x="396" y="238"/>
                  <a:pt x="397" y="236"/>
                  <a:pt x="397" y="236"/>
                </a:cubicBezTo>
                <a:cubicBezTo>
                  <a:pt x="402" y="232"/>
                  <a:pt x="402" y="232"/>
                  <a:pt x="402" y="232"/>
                </a:cubicBezTo>
                <a:cubicBezTo>
                  <a:pt x="403" y="231"/>
                  <a:pt x="404" y="231"/>
                  <a:pt x="405" y="232"/>
                </a:cubicBezTo>
                <a:cubicBezTo>
                  <a:pt x="412" y="237"/>
                  <a:pt x="412" y="237"/>
                  <a:pt x="412" y="237"/>
                </a:cubicBezTo>
                <a:cubicBezTo>
                  <a:pt x="413" y="237"/>
                  <a:pt x="414" y="236"/>
                  <a:pt x="415" y="236"/>
                </a:cubicBezTo>
                <a:cubicBezTo>
                  <a:pt x="417" y="227"/>
                  <a:pt x="417" y="227"/>
                  <a:pt x="417" y="227"/>
                </a:cubicBezTo>
                <a:cubicBezTo>
                  <a:pt x="417" y="226"/>
                  <a:pt x="418" y="225"/>
                  <a:pt x="419" y="225"/>
                </a:cubicBezTo>
                <a:cubicBezTo>
                  <a:pt x="425" y="225"/>
                  <a:pt x="425" y="225"/>
                  <a:pt x="425" y="225"/>
                </a:cubicBezTo>
                <a:cubicBezTo>
                  <a:pt x="426" y="225"/>
                  <a:pt x="427" y="226"/>
                  <a:pt x="427" y="227"/>
                </a:cubicBezTo>
                <a:cubicBezTo>
                  <a:pt x="429" y="236"/>
                  <a:pt x="429" y="236"/>
                  <a:pt x="429" y="236"/>
                </a:cubicBezTo>
                <a:cubicBezTo>
                  <a:pt x="430" y="236"/>
                  <a:pt x="431" y="237"/>
                  <a:pt x="432" y="237"/>
                </a:cubicBezTo>
                <a:cubicBezTo>
                  <a:pt x="439" y="232"/>
                  <a:pt x="439" y="232"/>
                  <a:pt x="439" y="232"/>
                </a:cubicBezTo>
                <a:cubicBezTo>
                  <a:pt x="440" y="231"/>
                  <a:pt x="441" y="231"/>
                  <a:pt x="442" y="232"/>
                </a:cubicBezTo>
                <a:cubicBezTo>
                  <a:pt x="447" y="236"/>
                  <a:pt x="447" y="236"/>
                  <a:pt x="447" y="236"/>
                </a:cubicBezTo>
                <a:cubicBezTo>
                  <a:pt x="448" y="236"/>
                  <a:pt x="448" y="238"/>
                  <a:pt x="447" y="239"/>
                </a:cubicBezTo>
                <a:close/>
                <a:moveTo>
                  <a:pt x="435" y="260"/>
                </a:moveTo>
                <a:cubicBezTo>
                  <a:pt x="435" y="253"/>
                  <a:pt x="429" y="247"/>
                  <a:pt x="422" y="247"/>
                </a:cubicBezTo>
                <a:cubicBezTo>
                  <a:pt x="415" y="247"/>
                  <a:pt x="409" y="253"/>
                  <a:pt x="409" y="260"/>
                </a:cubicBezTo>
                <a:cubicBezTo>
                  <a:pt x="409" y="268"/>
                  <a:pt x="415" y="273"/>
                  <a:pt x="422" y="273"/>
                </a:cubicBezTo>
                <a:cubicBezTo>
                  <a:pt x="429" y="273"/>
                  <a:pt x="435" y="268"/>
                  <a:pt x="435" y="260"/>
                </a:cubicBezTo>
                <a:close/>
                <a:moveTo>
                  <a:pt x="103" y="737"/>
                </a:moveTo>
                <a:cubicBezTo>
                  <a:pt x="99" y="737"/>
                  <a:pt x="97" y="739"/>
                  <a:pt x="97" y="742"/>
                </a:cubicBezTo>
                <a:cubicBezTo>
                  <a:pt x="97" y="746"/>
                  <a:pt x="99" y="748"/>
                  <a:pt x="103" y="748"/>
                </a:cubicBezTo>
                <a:cubicBezTo>
                  <a:pt x="106" y="748"/>
                  <a:pt x="108" y="746"/>
                  <a:pt x="108" y="742"/>
                </a:cubicBezTo>
                <a:cubicBezTo>
                  <a:pt x="108" y="739"/>
                  <a:pt x="106" y="737"/>
                  <a:pt x="103" y="737"/>
                </a:cubicBezTo>
                <a:close/>
                <a:moveTo>
                  <a:pt x="391" y="56"/>
                </a:moveTo>
                <a:cubicBezTo>
                  <a:pt x="389" y="57"/>
                  <a:pt x="387" y="58"/>
                  <a:pt x="385" y="59"/>
                </a:cubicBezTo>
                <a:cubicBezTo>
                  <a:pt x="385" y="59"/>
                  <a:pt x="386" y="59"/>
                  <a:pt x="386" y="59"/>
                </a:cubicBezTo>
                <a:cubicBezTo>
                  <a:pt x="388" y="59"/>
                  <a:pt x="390" y="58"/>
                  <a:pt x="391" y="56"/>
                </a:cubicBezTo>
                <a:close/>
                <a:moveTo>
                  <a:pt x="56" y="924"/>
                </a:moveTo>
                <a:cubicBezTo>
                  <a:pt x="57" y="925"/>
                  <a:pt x="57" y="926"/>
                  <a:pt x="57" y="927"/>
                </a:cubicBezTo>
                <a:cubicBezTo>
                  <a:pt x="57" y="926"/>
                  <a:pt x="57" y="925"/>
                  <a:pt x="56" y="925"/>
                </a:cubicBezTo>
                <a:cubicBezTo>
                  <a:pt x="56" y="925"/>
                  <a:pt x="56" y="925"/>
                  <a:pt x="56" y="924"/>
                </a:cubicBezTo>
                <a:close/>
                <a:moveTo>
                  <a:pt x="127" y="745"/>
                </a:moveTo>
                <a:cubicBezTo>
                  <a:pt x="127" y="746"/>
                  <a:pt x="127" y="747"/>
                  <a:pt x="127" y="748"/>
                </a:cubicBezTo>
                <a:cubicBezTo>
                  <a:pt x="134" y="754"/>
                  <a:pt x="134" y="754"/>
                  <a:pt x="134" y="754"/>
                </a:cubicBezTo>
                <a:cubicBezTo>
                  <a:pt x="135" y="754"/>
                  <a:pt x="135" y="756"/>
                  <a:pt x="134" y="757"/>
                </a:cubicBezTo>
                <a:cubicBezTo>
                  <a:pt x="131" y="762"/>
                  <a:pt x="131" y="762"/>
                  <a:pt x="131" y="762"/>
                </a:cubicBezTo>
                <a:cubicBezTo>
                  <a:pt x="131" y="763"/>
                  <a:pt x="130" y="764"/>
                  <a:pt x="128" y="763"/>
                </a:cubicBezTo>
                <a:cubicBezTo>
                  <a:pt x="120" y="761"/>
                  <a:pt x="120" y="761"/>
                  <a:pt x="120" y="761"/>
                </a:cubicBezTo>
                <a:cubicBezTo>
                  <a:pt x="120" y="761"/>
                  <a:pt x="119" y="761"/>
                  <a:pt x="119" y="762"/>
                </a:cubicBezTo>
                <a:cubicBezTo>
                  <a:pt x="120" y="771"/>
                  <a:pt x="120" y="771"/>
                  <a:pt x="120" y="771"/>
                </a:cubicBezTo>
                <a:cubicBezTo>
                  <a:pt x="121" y="772"/>
                  <a:pt x="120" y="773"/>
                  <a:pt x="119" y="773"/>
                </a:cubicBezTo>
                <a:cubicBezTo>
                  <a:pt x="113" y="776"/>
                  <a:pt x="113" y="776"/>
                  <a:pt x="113" y="776"/>
                </a:cubicBezTo>
                <a:cubicBezTo>
                  <a:pt x="112" y="776"/>
                  <a:pt x="111" y="776"/>
                  <a:pt x="111" y="775"/>
                </a:cubicBezTo>
                <a:cubicBezTo>
                  <a:pt x="105" y="767"/>
                  <a:pt x="105" y="767"/>
                  <a:pt x="105" y="767"/>
                </a:cubicBezTo>
                <a:cubicBezTo>
                  <a:pt x="105" y="768"/>
                  <a:pt x="104" y="768"/>
                  <a:pt x="103" y="768"/>
                </a:cubicBezTo>
                <a:cubicBezTo>
                  <a:pt x="102" y="768"/>
                  <a:pt x="102" y="768"/>
                  <a:pt x="102" y="768"/>
                </a:cubicBezTo>
                <a:cubicBezTo>
                  <a:pt x="98" y="776"/>
                  <a:pt x="98" y="776"/>
                  <a:pt x="98" y="776"/>
                </a:cubicBezTo>
                <a:cubicBezTo>
                  <a:pt x="97" y="777"/>
                  <a:pt x="96" y="777"/>
                  <a:pt x="95" y="777"/>
                </a:cubicBezTo>
                <a:cubicBezTo>
                  <a:pt x="89" y="775"/>
                  <a:pt x="89" y="775"/>
                  <a:pt x="89" y="775"/>
                </a:cubicBezTo>
                <a:cubicBezTo>
                  <a:pt x="88" y="774"/>
                  <a:pt x="88" y="774"/>
                  <a:pt x="88" y="772"/>
                </a:cubicBezTo>
                <a:cubicBezTo>
                  <a:pt x="89" y="763"/>
                  <a:pt x="89" y="763"/>
                  <a:pt x="89" y="763"/>
                </a:cubicBezTo>
                <a:cubicBezTo>
                  <a:pt x="88" y="763"/>
                  <a:pt x="87" y="762"/>
                  <a:pt x="86" y="762"/>
                </a:cubicBezTo>
                <a:cubicBezTo>
                  <a:pt x="78" y="765"/>
                  <a:pt x="78" y="765"/>
                  <a:pt x="78" y="765"/>
                </a:cubicBezTo>
                <a:cubicBezTo>
                  <a:pt x="77" y="765"/>
                  <a:pt x="75" y="765"/>
                  <a:pt x="75" y="764"/>
                </a:cubicBezTo>
                <a:cubicBezTo>
                  <a:pt x="71" y="758"/>
                  <a:pt x="71" y="758"/>
                  <a:pt x="71" y="758"/>
                </a:cubicBezTo>
                <a:cubicBezTo>
                  <a:pt x="71" y="758"/>
                  <a:pt x="71" y="756"/>
                  <a:pt x="72" y="755"/>
                </a:cubicBezTo>
                <a:cubicBezTo>
                  <a:pt x="78" y="749"/>
                  <a:pt x="78" y="749"/>
                  <a:pt x="78" y="749"/>
                </a:cubicBezTo>
                <a:cubicBezTo>
                  <a:pt x="78" y="748"/>
                  <a:pt x="78" y="746"/>
                  <a:pt x="78" y="745"/>
                </a:cubicBezTo>
                <a:cubicBezTo>
                  <a:pt x="69" y="742"/>
                  <a:pt x="69" y="742"/>
                  <a:pt x="69" y="742"/>
                </a:cubicBezTo>
                <a:cubicBezTo>
                  <a:pt x="68" y="742"/>
                  <a:pt x="68" y="740"/>
                  <a:pt x="68" y="739"/>
                </a:cubicBezTo>
                <a:cubicBezTo>
                  <a:pt x="69" y="733"/>
                  <a:pt x="69" y="733"/>
                  <a:pt x="69" y="733"/>
                </a:cubicBezTo>
                <a:cubicBezTo>
                  <a:pt x="69" y="732"/>
                  <a:pt x="70" y="731"/>
                  <a:pt x="71" y="731"/>
                </a:cubicBezTo>
                <a:cubicBezTo>
                  <a:pt x="80" y="731"/>
                  <a:pt x="80" y="731"/>
                  <a:pt x="80" y="731"/>
                </a:cubicBezTo>
                <a:cubicBezTo>
                  <a:pt x="81" y="730"/>
                  <a:pt x="81" y="730"/>
                  <a:pt x="82" y="729"/>
                </a:cubicBezTo>
                <a:cubicBezTo>
                  <a:pt x="77" y="721"/>
                  <a:pt x="77" y="721"/>
                  <a:pt x="77" y="721"/>
                </a:cubicBezTo>
                <a:cubicBezTo>
                  <a:pt x="77" y="720"/>
                  <a:pt x="77" y="719"/>
                  <a:pt x="78" y="718"/>
                </a:cubicBezTo>
                <a:cubicBezTo>
                  <a:pt x="82" y="714"/>
                  <a:pt x="82" y="714"/>
                  <a:pt x="82" y="714"/>
                </a:cubicBezTo>
                <a:cubicBezTo>
                  <a:pt x="83" y="713"/>
                  <a:pt x="85" y="713"/>
                  <a:pt x="86" y="714"/>
                </a:cubicBezTo>
                <a:cubicBezTo>
                  <a:pt x="93" y="719"/>
                  <a:pt x="93" y="719"/>
                  <a:pt x="93" y="719"/>
                </a:cubicBezTo>
                <a:cubicBezTo>
                  <a:pt x="93" y="719"/>
                  <a:pt x="94" y="719"/>
                  <a:pt x="95" y="718"/>
                </a:cubicBezTo>
                <a:cubicBezTo>
                  <a:pt x="97" y="710"/>
                  <a:pt x="97" y="710"/>
                  <a:pt x="97" y="710"/>
                </a:cubicBezTo>
                <a:cubicBezTo>
                  <a:pt x="97" y="709"/>
                  <a:pt x="98" y="708"/>
                  <a:pt x="99" y="708"/>
                </a:cubicBezTo>
                <a:cubicBezTo>
                  <a:pt x="106" y="708"/>
                  <a:pt x="106" y="708"/>
                  <a:pt x="106" y="708"/>
                </a:cubicBezTo>
                <a:cubicBezTo>
                  <a:pt x="107" y="708"/>
                  <a:pt x="108" y="709"/>
                  <a:pt x="108" y="710"/>
                </a:cubicBezTo>
                <a:cubicBezTo>
                  <a:pt x="110" y="718"/>
                  <a:pt x="110" y="718"/>
                  <a:pt x="110" y="718"/>
                </a:cubicBezTo>
                <a:cubicBezTo>
                  <a:pt x="111" y="719"/>
                  <a:pt x="112" y="719"/>
                  <a:pt x="112" y="719"/>
                </a:cubicBezTo>
                <a:cubicBezTo>
                  <a:pt x="120" y="714"/>
                  <a:pt x="120" y="714"/>
                  <a:pt x="120" y="714"/>
                </a:cubicBezTo>
                <a:cubicBezTo>
                  <a:pt x="120" y="713"/>
                  <a:pt x="122" y="713"/>
                  <a:pt x="123" y="714"/>
                </a:cubicBezTo>
                <a:cubicBezTo>
                  <a:pt x="127" y="718"/>
                  <a:pt x="127" y="718"/>
                  <a:pt x="127" y="718"/>
                </a:cubicBezTo>
                <a:cubicBezTo>
                  <a:pt x="128" y="718"/>
                  <a:pt x="128" y="720"/>
                  <a:pt x="128" y="721"/>
                </a:cubicBezTo>
                <a:cubicBezTo>
                  <a:pt x="124" y="729"/>
                  <a:pt x="124" y="729"/>
                  <a:pt x="124" y="729"/>
                </a:cubicBezTo>
                <a:cubicBezTo>
                  <a:pt x="124" y="730"/>
                  <a:pt x="124" y="730"/>
                  <a:pt x="125" y="731"/>
                </a:cubicBezTo>
                <a:cubicBezTo>
                  <a:pt x="134" y="731"/>
                  <a:pt x="134" y="731"/>
                  <a:pt x="134" y="731"/>
                </a:cubicBezTo>
                <a:cubicBezTo>
                  <a:pt x="135" y="731"/>
                  <a:pt x="136" y="732"/>
                  <a:pt x="136" y="733"/>
                </a:cubicBezTo>
                <a:cubicBezTo>
                  <a:pt x="137" y="739"/>
                  <a:pt x="137" y="739"/>
                  <a:pt x="137" y="739"/>
                </a:cubicBezTo>
                <a:cubicBezTo>
                  <a:pt x="137" y="740"/>
                  <a:pt x="137" y="742"/>
                  <a:pt x="136" y="742"/>
                </a:cubicBezTo>
                <a:cubicBezTo>
                  <a:pt x="127" y="745"/>
                  <a:pt x="127" y="745"/>
                  <a:pt x="127" y="745"/>
                </a:cubicBezTo>
                <a:close/>
                <a:moveTo>
                  <a:pt x="116" y="742"/>
                </a:moveTo>
                <a:cubicBezTo>
                  <a:pt x="116" y="735"/>
                  <a:pt x="110" y="729"/>
                  <a:pt x="103" y="729"/>
                </a:cubicBezTo>
                <a:cubicBezTo>
                  <a:pt x="95" y="729"/>
                  <a:pt x="89" y="735"/>
                  <a:pt x="89" y="742"/>
                </a:cubicBezTo>
                <a:cubicBezTo>
                  <a:pt x="89" y="750"/>
                  <a:pt x="95" y="756"/>
                  <a:pt x="103" y="756"/>
                </a:cubicBezTo>
                <a:cubicBezTo>
                  <a:pt x="110" y="756"/>
                  <a:pt x="116" y="750"/>
                  <a:pt x="116" y="742"/>
                </a:cubicBezTo>
                <a:close/>
                <a:moveTo>
                  <a:pt x="542" y="318"/>
                </a:moveTo>
                <a:cubicBezTo>
                  <a:pt x="542" y="317"/>
                  <a:pt x="543" y="316"/>
                  <a:pt x="543" y="315"/>
                </a:cubicBezTo>
                <a:cubicBezTo>
                  <a:pt x="539" y="307"/>
                  <a:pt x="539" y="307"/>
                  <a:pt x="539" y="307"/>
                </a:cubicBezTo>
                <a:cubicBezTo>
                  <a:pt x="538" y="307"/>
                  <a:pt x="538" y="305"/>
                  <a:pt x="539" y="304"/>
                </a:cubicBezTo>
                <a:cubicBezTo>
                  <a:pt x="544" y="300"/>
                  <a:pt x="544" y="300"/>
                  <a:pt x="544" y="300"/>
                </a:cubicBezTo>
                <a:cubicBezTo>
                  <a:pt x="545" y="300"/>
                  <a:pt x="546" y="300"/>
                  <a:pt x="547" y="300"/>
                </a:cubicBezTo>
                <a:cubicBezTo>
                  <a:pt x="554" y="306"/>
                  <a:pt x="554" y="306"/>
                  <a:pt x="554" y="306"/>
                </a:cubicBezTo>
                <a:cubicBezTo>
                  <a:pt x="555" y="306"/>
                  <a:pt x="556" y="305"/>
                  <a:pt x="557" y="305"/>
                </a:cubicBezTo>
                <a:cubicBezTo>
                  <a:pt x="559" y="296"/>
                  <a:pt x="559" y="296"/>
                  <a:pt x="559" y="296"/>
                </a:cubicBezTo>
                <a:cubicBezTo>
                  <a:pt x="559" y="295"/>
                  <a:pt x="560" y="294"/>
                  <a:pt x="561" y="294"/>
                </a:cubicBezTo>
                <a:cubicBezTo>
                  <a:pt x="567" y="294"/>
                  <a:pt x="567" y="294"/>
                  <a:pt x="567" y="294"/>
                </a:cubicBezTo>
                <a:cubicBezTo>
                  <a:pt x="568" y="294"/>
                  <a:pt x="569" y="295"/>
                  <a:pt x="569" y="296"/>
                </a:cubicBezTo>
                <a:cubicBezTo>
                  <a:pt x="571" y="305"/>
                  <a:pt x="571" y="305"/>
                  <a:pt x="571" y="305"/>
                </a:cubicBezTo>
                <a:cubicBezTo>
                  <a:pt x="572" y="305"/>
                  <a:pt x="573" y="306"/>
                  <a:pt x="574" y="306"/>
                </a:cubicBezTo>
                <a:cubicBezTo>
                  <a:pt x="581" y="300"/>
                  <a:pt x="581" y="300"/>
                  <a:pt x="581" y="300"/>
                </a:cubicBezTo>
                <a:cubicBezTo>
                  <a:pt x="582" y="300"/>
                  <a:pt x="583" y="300"/>
                  <a:pt x="584" y="300"/>
                </a:cubicBezTo>
                <a:cubicBezTo>
                  <a:pt x="589" y="304"/>
                  <a:pt x="589" y="304"/>
                  <a:pt x="589" y="304"/>
                </a:cubicBezTo>
                <a:cubicBezTo>
                  <a:pt x="589" y="305"/>
                  <a:pt x="590" y="307"/>
                  <a:pt x="589" y="307"/>
                </a:cubicBezTo>
                <a:cubicBezTo>
                  <a:pt x="585" y="315"/>
                  <a:pt x="585" y="315"/>
                  <a:pt x="585" y="315"/>
                </a:cubicBezTo>
                <a:cubicBezTo>
                  <a:pt x="585" y="316"/>
                  <a:pt x="586" y="317"/>
                  <a:pt x="586" y="318"/>
                </a:cubicBezTo>
                <a:cubicBezTo>
                  <a:pt x="595" y="318"/>
                  <a:pt x="595" y="318"/>
                  <a:pt x="595" y="318"/>
                </a:cubicBezTo>
                <a:cubicBezTo>
                  <a:pt x="596" y="318"/>
                  <a:pt x="597" y="319"/>
                  <a:pt x="597" y="320"/>
                </a:cubicBezTo>
                <a:cubicBezTo>
                  <a:pt x="599" y="326"/>
                  <a:pt x="599" y="326"/>
                  <a:pt x="599" y="326"/>
                </a:cubicBezTo>
                <a:cubicBezTo>
                  <a:pt x="599" y="327"/>
                  <a:pt x="598" y="328"/>
                  <a:pt x="597" y="328"/>
                </a:cubicBezTo>
                <a:cubicBezTo>
                  <a:pt x="589" y="332"/>
                  <a:pt x="589" y="332"/>
                  <a:pt x="589" y="332"/>
                </a:cubicBezTo>
                <a:cubicBezTo>
                  <a:pt x="589" y="333"/>
                  <a:pt x="589" y="334"/>
                  <a:pt x="588" y="335"/>
                </a:cubicBezTo>
                <a:cubicBezTo>
                  <a:pt x="595" y="340"/>
                  <a:pt x="595" y="340"/>
                  <a:pt x="595" y="340"/>
                </a:cubicBezTo>
                <a:cubicBezTo>
                  <a:pt x="596" y="341"/>
                  <a:pt x="596" y="342"/>
                  <a:pt x="596" y="343"/>
                </a:cubicBezTo>
                <a:cubicBezTo>
                  <a:pt x="593" y="349"/>
                  <a:pt x="593" y="349"/>
                  <a:pt x="593" y="349"/>
                </a:cubicBezTo>
                <a:cubicBezTo>
                  <a:pt x="592" y="350"/>
                  <a:pt x="591" y="350"/>
                  <a:pt x="590" y="350"/>
                </a:cubicBezTo>
                <a:cubicBezTo>
                  <a:pt x="581" y="347"/>
                  <a:pt x="581" y="347"/>
                  <a:pt x="581" y="347"/>
                </a:cubicBezTo>
                <a:cubicBezTo>
                  <a:pt x="581" y="347"/>
                  <a:pt x="581" y="348"/>
                  <a:pt x="580" y="348"/>
                </a:cubicBezTo>
                <a:cubicBezTo>
                  <a:pt x="582" y="357"/>
                  <a:pt x="582" y="357"/>
                  <a:pt x="582" y="357"/>
                </a:cubicBezTo>
                <a:cubicBezTo>
                  <a:pt x="582" y="358"/>
                  <a:pt x="582" y="359"/>
                  <a:pt x="581" y="360"/>
                </a:cubicBezTo>
                <a:cubicBezTo>
                  <a:pt x="575" y="362"/>
                  <a:pt x="575" y="362"/>
                  <a:pt x="575" y="362"/>
                </a:cubicBezTo>
                <a:cubicBezTo>
                  <a:pt x="574" y="363"/>
                  <a:pt x="573" y="362"/>
                  <a:pt x="572" y="362"/>
                </a:cubicBezTo>
                <a:cubicBezTo>
                  <a:pt x="567" y="354"/>
                  <a:pt x="567" y="354"/>
                  <a:pt x="567" y="354"/>
                </a:cubicBezTo>
                <a:cubicBezTo>
                  <a:pt x="566" y="354"/>
                  <a:pt x="565" y="354"/>
                  <a:pt x="564" y="354"/>
                </a:cubicBezTo>
                <a:cubicBezTo>
                  <a:pt x="564" y="354"/>
                  <a:pt x="564" y="354"/>
                  <a:pt x="564" y="354"/>
                </a:cubicBezTo>
                <a:cubicBezTo>
                  <a:pt x="559" y="362"/>
                  <a:pt x="559" y="362"/>
                  <a:pt x="559" y="362"/>
                </a:cubicBezTo>
                <a:cubicBezTo>
                  <a:pt x="559" y="363"/>
                  <a:pt x="558" y="363"/>
                  <a:pt x="557" y="363"/>
                </a:cubicBezTo>
                <a:cubicBezTo>
                  <a:pt x="551" y="361"/>
                  <a:pt x="551" y="361"/>
                  <a:pt x="551" y="361"/>
                </a:cubicBezTo>
                <a:cubicBezTo>
                  <a:pt x="550" y="361"/>
                  <a:pt x="549" y="360"/>
                  <a:pt x="549" y="359"/>
                </a:cubicBezTo>
                <a:cubicBezTo>
                  <a:pt x="550" y="350"/>
                  <a:pt x="550" y="350"/>
                  <a:pt x="550" y="350"/>
                </a:cubicBezTo>
                <a:cubicBezTo>
                  <a:pt x="549" y="349"/>
                  <a:pt x="548" y="349"/>
                  <a:pt x="547" y="348"/>
                </a:cubicBezTo>
                <a:cubicBezTo>
                  <a:pt x="539" y="351"/>
                  <a:pt x="539" y="351"/>
                  <a:pt x="539" y="351"/>
                </a:cubicBezTo>
                <a:cubicBezTo>
                  <a:pt x="538" y="351"/>
                  <a:pt x="537" y="351"/>
                  <a:pt x="536" y="350"/>
                </a:cubicBezTo>
                <a:cubicBezTo>
                  <a:pt x="533" y="345"/>
                  <a:pt x="533" y="345"/>
                  <a:pt x="533" y="345"/>
                </a:cubicBezTo>
                <a:cubicBezTo>
                  <a:pt x="532" y="344"/>
                  <a:pt x="532" y="343"/>
                  <a:pt x="533" y="342"/>
                </a:cubicBezTo>
                <a:cubicBezTo>
                  <a:pt x="540" y="336"/>
                  <a:pt x="540" y="336"/>
                  <a:pt x="540" y="336"/>
                </a:cubicBezTo>
                <a:cubicBezTo>
                  <a:pt x="540" y="335"/>
                  <a:pt x="539" y="333"/>
                  <a:pt x="539" y="332"/>
                </a:cubicBezTo>
                <a:cubicBezTo>
                  <a:pt x="531" y="328"/>
                  <a:pt x="531" y="328"/>
                  <a:pt x="531" y="328"/>
                </a:cubicBezTo>
                <a:cubicBezTo>
                  <a:pt x="530" y="328"/>
                  <a:pt x="529" y="327"/>
                  <a:pt x="529" y="326"/>
                </a:cubicBezTo>
                <a:cubicBezTo>
                  <a:pt x="530" y="320"/>
                  <a:pt x="530" y="320"/>
                  <a:pt x="530" y="320"/>
                </a:cubicBezTo>
                <a:cubicBezTo>
                  <a:pt x="531" y="319"/>
                  <a:pt x="532" y="318"/>
                  <a:pt x="533" y="318"/>
                </a:cubicBezTo>
                <a:cubicBezTo>
                  <a:pt x="542" y="318"/>
                  <a:pt x="542" y="318"/>
                  <a:pt x="542" y="318"/>
                </a:cubicBezTo>
                <a:close/>
                <a:moveTo>
                  <a:pt x="551" y="329"/>
                </a:moveTo>
                <a:cubicBezTo>
                  <a:pt x="551" y="336"/>
                  <a:pt x="557" y="342"/>
                  <a:pt x="564" y="342"/>
                </a:cubicBezTo>
                <a:cubicBezTo>
                  <a:pt x="571" y="342"/>
                  <a:pt x="577" y="336"/>
                  <a:pt x="577" y="329"/>
                </a:cubicBezTo>
                <a:cubicBezTo>
                  <a:pt x="577" y="322"/>
                  <a:pt x="571" y="316"/>
                  <a:pt x="564" y="316"/>
                </a:cubicBezTo>
                <a:cubicBezTo>
                  <a:pt x="557" y="316"/>
                  <a:pt x="551" y="322"/>
                  <a:pt x="551" y="329"/>
                </a:cubicBezTo>
                <a:close/>
                <a:moveTo>
                  <a:pt x="564" y="335"/>
                </a:moveTo>
                <a:cubicBezTo>
                  <a:pt x="567" y="335"/>
                  <a:pt x="570" y="332"/>
                  <a:pt x="570" y="329"/>
                </a:cubicBezTo>
                <a:cubicBezTo>
                  <a:pt x="570" y="326"/>
                  <a:pt x="567" y="323"/>
                  <a:pt x="564" y="323"/>
                </a:cubicBezTo>
                <a:cubicBezTo>
                  <a:pt x="561" y="323"/>
                  <a:pt x="558" y="326"/>
                  <a:pt x="558" y="329"/>
                </a:cubicBezTo>
                <a:cubicBezTo>
                  <a:pt x="558" y="332"/>
                  <a:pt x="561" y="335"/>
                  <a:pt x="564" y="335"/>
                </a:cubicBezTo>
                <a:close/>
                <a:moveTo>
                  <a:pt x="471" y="249"/>
                </a:moveTo>
                <a:cubicBezTo>
                  <a:pt x="471" y="248"/>
                  <a:pt x="472" y="247"/>
                  <a:pt x="472" y="247"/>
                </a:cubicBezTo>
                <a:cubicBezTo>
                  <a:pt x="468" y="239"/>
                  <a:pt x="468" y="239"/>
                  <a:pt x="468" y="239"/>
                </a:cubicBezTo>
                <a:cubicBezTo>
                  <a:pt x="467" y="238"/>
                  <a:pt x="467" y="236"/>
                  <a:pt x="468" y="236"/>
                </a:cubicBezTo>
                <a:cubicBezTo>
                  <a:pt x="473" y="232"/>
                  <a:pt x="473" y="232"/>
                  <a:pt x="473" y="232"/>
                </a:cubicBezTo>
                <a:cubicBezTo>
                  <a:pt x="474" y="231"/>
                  <a:pt x="475" y="231"/>
                  <a:pt x="476" y="232"/>
                </a:cubicBezTo>
                <a:cubicBezTo>
                  <a:pt x="483" y="237"/>
                  <a:pt x="483" y="237"/>
                  <a:pt x="483" y="237"/>
                </a:cubicBezTo>
                <a:cubicBezTo>
                  <a:pt x="484" y="237"/>
                  <a:pt x="485" y="236"/>
                  <a:pt x="486" y="236"/>
                </a:cubicBezTo>
                <a:cubicBezTo>
                  <a:pt x="488" y="227"/>
                  <a:pt x="488" y="227"/>
                  <a:pt x="488" y="227"/>
                </a:cubicBezTo>
                <a:cubicBezTo>
                  <a:pt x="488" y="226"/>
                  <a:pt x="489" y="225"/>
                  <a:pt x="490" y="225"/>
                </a:cubicBezTo>
                <a:cubicBezTo>
                  <a:pt x="496" y="225"/>
                  <a:pt x="496" y="225"/>
                  <a:pt x="496" y="225"/>
                </a:cubicBezTo>
                <a:cubicBezTo>
                  <a:pt x="497" y="225"/>
                  <a:pt x="498" y="226"/>
                  <a:pt x="498" y="227"/>
                </a:cubicBezTo>
                <a:cubicBezTo>
                  <a:pt x="500" y="236"/>
                  <a:pt x="500" y="236"/>
                  <a:pt x="500" y="236"/>
                </a:cubicBezTo>
                <a:cubicBezTo>
                  <a:pt x="501" y="236"/>
                  <a:pt x="502" y="237"/>
                  <a:pt x="503" y="237"/>
                </a:cubicBezTo>
                <a:cubicBezTo>
                  <a:pt x="510" y="232"/>
                  <a:pt x="510" y="232"/>
                  <a:pt x="510" y="232"/>
                </a:cubicBezTo>
                <a:cubicBezTo>
                  <a:pt x="511" y="231"/>
                  <a:pt x="512" y="231"/>
                  <a:pt x="513" y="232"/>
                </a:cubicBezTo>
                <a:cubicBezTo>
                  <a:pt x="518" y="236"/>
                  <a:pt x="518" y="236"/>
                  <a:pt x="518" y="236"/>
                </a:cubicBezTo>
                <a:cubicBezTo>
                  <a:pt x="519" y="236"/>
                  <a:pt x="519" y="238"/>
                  <a:pt x="518" y="239"/>
                </a:cubicBezTo>
                <a:cubicBezTo>
                  <a:pt x="514" y="247"/>
                  <a:pt x="514" y="247"/>
                  <a:pt x="514" y="247"/>
                </a:cubicBezTo>
                <a:cubicBezTo>
                  <a:pt x="514" y="247"/>
                  <a:pt x="515" y="248"/>
                  <a:pt x="515" y="249"/>
                </a:cubicBezTo>
                <a:cubicBezTo>
                  <a:pt x="524" y="249"/>
                  <a:pt x="524" y="249"/>
                  <a:pt x="524" y="249"/>
                </a:cubicBezTo>
                <a:cubicBezTo>
                  <a:pt x="525" y="249"/>
                  <a:pt x="526" y="250"/>
                  <a:pt x="527" y="251"/>
                </a:cubicBezTo>
                <a:cubicBezTo>
                  <a:pt x="528" y="257"/>
                  <a:pt x="528" y="257"/>
                  <a:pt x="528" y="257"/>
                </a:cubicBezTo>
                <a:cubicBezTo>
                  <a:pt x="528" y="258"/>
                  <a:pt x="527" y="259"/>
                  <a:pt x="526" y="260"/>
                </a:cubicBezTo>
                <a:cubicBezTo>
                  <a:pt x="518" y="263"/>
                  <a:pt x="518" y="263"/>
                  <a:pt x="518" y="263"/>
                </a:cubicBezTo>
                <a:cubicBezTo>
                  <a:pt x="518" y="264"/>
                  <a:pt x="518" y="265"/>
                  <a:pt x="517" y="266"/>
                </a:cubicBezTo>
                <a:cubicBezTo>
                  <a:pt x="524" y="272"/>
                  <a:pt x="524" y="272"/>
                  <a:pt x="524" y="272"/>
                </a:cubicBezTo>
                <a:cubicBezTo>
                  <a:pt x="525" y="272"/>
                  <a:pt x="525" y="273"/>
                  <a:pt x="525" y="274"/>
                </a:cubicBezTo>
                <a:cubicBezTo>
                  <a:pt x="522" y="280"/>
                  <a:pt x="522" y="280"/>
                  <a:pt x="522" y="280"/>
                </a:cubicBezTo>
                <a:cubicBezTo>
                  <a:pt x="521" y="281"/>
                  <a:pt x="520" y="281"/>
                  <a:pt x="519" y="281"/>
                </a:cubicBezTo>
                <a:cubicBezTo>
                  <a:pt x="510" y="278"/>
                  <a:pt x="510" y="278"/>
                  <a:pt x="510" y="278"/>
                </a:cubicBezTo>
                <a:cubicBezTo>
                  <a:pt x="510" y="279"/>
                  <a:pt x="510" y="279"/>
                  <a:pt x="509" y="280"/>
                </a:cubicBezTo>
                <a:cubicBezTo>
                  <a:pt x="511" y="288"/>
                  <a:pt x="511" y="288"/>
                  <a:pt x="511" y="288"/>
                </a:cubicBezTo>
                <a:cubicBezTo>
                  <a:pt x="511" y="289"/>
                  <a:pt x="511" y="291"/>
                  <a:pt x="510" y="291"/>
                </a:cubicBezTo>
                <a:cubicBezTo>
                  <a:pt x="504" y="293"/>
                  <a:pt x="504" y="293"/>
                  <a:pt x="504" y="293"/>
                </a:cubicBezTo>
                <a:cubicBezTo>
                  <a:pt x="503" y="294"/>
                  <a:pt x="502" y="293"/>
                  <a:pt x="501" y="293"/>
                </a:cubicBezTo>
                <a:cubicBezTo>
                  <a:pt x="496" y="285"/>
                  <a:pt x="496" y="285"/>
                  <a:pt x="496" y="285"/>
                </a:cubicBezTo>
                <a:cubicBezTo>
                  <a:pt x="495" y="285"/>
                  <a:pt x="494" y="285"/>
                  <a:pt x="493" y="285"/>
                </a:cubicBezTo>
                <a:cubicBezTo>
                  <a:pt x="493" y="285"/>
                  <a:pt x="493" y="285"/>
                  <a:pt x="493" y="285"/>
                </a:cubicBezTo>
                <a:cubicBezTo>
                  <a:pt x="489" y="293"/>
                  <a:pt x="489" y="293"/>
                  <a:pt x="489" y="293"/>
                </a:cubicBezTo>
                <a:cubicBezTo>
                  <a:pt x="488" y="294"/>
                  <a:pt x="487" y="295"/>
                  <a:pt x="486" y="294"/>
                </a:cubicBezTo>
                <a:cubicBezTo>
                  <a:pt x="480" y="292"/>
                  <a:pt x="480" y="292"/>
                  <a:pt x="480" y="292"/>
                </a:cubicBezTo>
                <a:cubicBezTo>
                  <a:pt x="479" y="292"/>
                  <a:pt x="478" y="291"/>
                  <a:pt x="478" y="290"/>
                </a:cubicBezTo>
                <a:cubicBezTo>
                  <a:pt x="479" y="281"/>
                  <a:pt x="479" y="281"/>
                  <a:pt x="479" y="281"/>
                </a:cubicBezTo>
                <a:cubicBezTo>
                  <a:pt x="478" y="280"/>
                  <a:pt x="478" y="280"/>
                  <a:pt x="477" y="279"/>
                </a:cubicBezTo>
                <a:cubicBezTo>
                  <a:pt x="468" y="282"/>
                  <a:pt x="468" y="282"/>
                  <a:pt x="468" y="282"/>
                </a:cubicBezTo>
                <a:cubicBezTo>
                  <a:pt x="467" y="283"/>
                  <a:pt x="466" y="282"/>
                  <a:pt x="465" y="281"/>
                </a:cubicBezTo>
                <a:cubicBezTo>
                  <a:pt x="462" y="276"/>
                  <a:pt x="462" y="276"/>
                  <a:pt x="462" y="276"/>
                </a:cubicBezTo>
                <a:cubicBezTo>
                  <a:pt x="462" y="275"/>
                  <a:pt x="462" y="274"/>
                  <a:pt x="462" y="273"/>
                </a:cubicBezTo>
                <a:cubicBezTo>
                  <a:pt x="469" y="267"/>
                  <a:pt x="469" y="267"/>
                  <a:pt x="469" y="267"/>
                </a:cubicBezTo>
                <a:cubicBezTo>
                  <a:pt x="469" y="266"/>
                  <a:pt x="468" y="264"/>
                  <a:pt x="468" y="263"/>
                </a:cubicBezTo>
                <a:cubicBezTo>
                  <a:pt x="460" y="260"/>
                  <a:pt x="460" y="260"/>
                  <a:pt x="460" y="260"/>
                </a:cubicBezTo>
                <a:cubicBezTo>
                  <a:pt x="459" y="259"/>
                  <a:pt x="458" y="258"/>
                  <a:pt x="459" y="257"/>
                </a:cubicBezTo>
                <a:cubicBezTo>
                  <a:pt x="459" y="251"/>
                  <a:pt x="459" y="251"/>
                  <a:pt x="459" y="251"/>
                </a:cubicBezTo>
                <a:cubicBezTo>
                  <a:pt x="460" y="250"/>
                  <a:pt x="461" y="249"/>
                  <a:pt x="462" y="249"/>
                </a:cubicBezTo>
                <a:cubicBezTo>
                  <a:pt x="471" y="249"/>
                  <a:pt x="471" y="249"/>
                  <a:pt x="471" y="249"/>
                </a:cubicBezTo>
                <a:close/>
                <a:moveTo>
                  <a:pt x="480" y="260"/>
                </a:moveTo>
                <a:cubicBezTo>
                  <a:pt x="480" y="268"/>
                  <a:pt x="486" y="273"/>
                  <a:pt x="493" y="273"/>
                </a:cubicBezTo>
                <a:cubicBezTo>
                  <a:pt x="500" y="273"/>
                  <a:pt x="506" y="268"/>
                  <a:pt x="506" y="260"/>
                </a:cubicBezTo>
                <a:cubicBezTo>
                  <a:pt x="506" y="253"/>
                  <a:pt x="500" y="247"/>
                  <a:pt x="493" y="247"/>
                </a:cubicBezTo>
                <a:cubicBezTo>
                  <a:pt x="486" y="247"/>
                  <a:pt x="480" y="253"/>
                  <a:pt x="480" y="260"/>
                </a:cubicBezTo>
                <a:close/>
                <a:moveTo>
                  <a:pt x="358" y="75"/>
                </a:moveTo>
                <a:cubicBezTo>
                  <a:pt x="359" y="76"/>
                  <a:pt x="360" y="76"/>
                  <a:pt x="361" y="76"/>
                </a:cubicBezTo>
                <a:cubicBezTo>
                  <a:pt x="361" y="76"/>
                  <a:pt x="361" y="76"/>
                  <a:pt x="370" y="72"/>
                </a:cubicBezTo>
                <a:cubicBezTo>
                  <a:pt x="371" y="73"/>
                  <a:pt x="371" y="74"/>
                  <a:pt x="372" y="74"/>
                </a:cubicBezTo>
                <a:cubicBezTo>
                  <a:pt x="372" y="74"/>
                  <a:pt x="372" y="74"/>
                  <a:pt x="371" y="83"/>
                </a:cubicBezTo>
                <a:cubicBezTo>
                  <a:pt x="371" y="84"/>
                  <a:pt x="372" y="85"/>
                  <a:pt x="373" y="86"/>
                </a:cubicBezTo>
                <a:cubicBezTo>
                  <a:pt x="373" y="86"/>
                  <a:pt x="373" y="86"/>
                  <a:pt x="379" y="88"/>
                </a:cubicBezTo>
                <a:cubicBezTo>
                  <a:pt x="380" y="88"/>
                  <a:pt x="381" y="88"/>
                  <a:pt x="382" y="87"/>
                </a:cubicBezTo>
                <a:cubicBezTo>
                  <a:pt x="382" y="87"/>
                  <a:pt x="382" y="87"/>
                  <a:pt x="386" y="79"/>
                </a:cubicBezTo>
                <a:cubicBezTo>
                  <a:pt x="386" y="79"/>
                  <a:pt x="386" y="79"/>
                  <a:pt x="386" y="79"/>
                </a:cubicBezTo>
                <a:cubicBezTo>
                  <a:pt x="387" y="79"/>
                  <a:pt x="388" y="79"/>
                  <a:pt x="389" y="78"/>
                </a:cubicBezTo>
                <a:cubicBezTo>
                  <a:pt x="389" y="78"/>
                  <a:pt x="389" y="78"/>
                  <a:pt x="394" y="86"/>
                </a:cubicBezTo>
                <a:cubicBezTo>
                  <a:pt x="395" y="87"/>
                  <a:pt x="396" y="87"/>
                  <a:pt x="397" y="87"/>
                </a:cubicBezTo>
                <a:cubicBezTo>
                  <a:pt x="397" y="87"/>
                  <a:pt x="397" y="87"/>
                  <a:pt x="403" y="84"/>
                </a:cubicBezTo>
                <a:cubicBezTo>
                  <a:pt x="404" y="84"/>
                  <a:pt x="404" y="83"/>
                  <a:pt x="404" y="82"/>
                </a:cubicBezTo>
                <a:cubicBezTo>
                  <a:pt x="404" y="82"/>
                  <a:pt x="404" y="82"/>
                  <a:pt x="402" y="73"/>
                </a:cubicBezTo>
                <a:cubicBezTo>
                  <a:pt x="403" y="72"/>
                  <a:pt x="403" y="72"/>
                  <a:pt x="403" y="72"/>
                </a:cubicBezTo>
                <a:cubicBezTo>
                  <a:pt x="403" y="72"/>
                  <a:pt x="403" y="72"/>
                  <a:pt x="412" y="74"/>
                </a:cubicBezTo>
                <a:cubicBezTo>
                  <a:pt x="413" y="75"/>
                  <a:pt x="414" y="74"/>
                  <a:pt x="415" y="73"/>
                </a:cubicBezTo>
                <a:cubicBezTo>
                  <a:pt x="415" y="73"/>
                  <a:pt x="415" y="73"/>
                  <a:pt x="418" y="68"/>
                </a:cubicBezTo>
                <a:cubicBezTo>
                  <a:pt x="418" y="67"/>
                  <a:pt x="418" y="65"/>
                  <a:pt x="418" y="65"/>
                </a:cubicBezTo>
                <a:cubicBezTo>
                  <a:pt x="418" y="65"/>
                  <a:pt x="418" y="65"/>
                  <a:pt x="410" y="59"/>
                </a:cubicBezTo>
                <a:cubicBezTo>
                  <a:pt x="411" y="58"/>
                  <a:pt x="411" y="57"/>
                  <a:pt x="411" y="56"/>
                </a:cubicBezTo>
                <a:cubicBezTo>
                  <a:pt x="411" y="56"/>
                  <a:pt x="411" y="56"/>
                  <a:pt x="419" y="53"/>
                </a:cubicBezTo>
                <a:cubicBezTo>
                  <a:pt x="420" y="52"/>
                  <a:pt x="421" y="51"/>
                  <a:pt x="421" y="50"/>
                </a:cubicBezTo>
                <a:cubicBezTo>
                  <a:pt x="420" y="44"/>
                  <a:pt x="420" y="44"/>
                  <a:pt x="420" y="44"/>
                </a:cubicBezTo>
                <a:cubicBezTo>
                  <a:pt x="420" y="44"/>
                  <a:pt x="420" y="44"/>
                  <a:pt x="420" y="44"/>
                </a:cubicBezTo>
                <a:cubicBezTo>
                  <a:pt x="413" y="47"/>
                  <a:pt x="406" y="50"/>
                  <a:pt x="399" y="53"/>
                </a:cubicBezTo>
                <a:cubicBezTo>
                  <a:pt x="399" y="53"/>
                  <a:pt x="399" y="53"/>
                  <a:pt x="399" y="53"/>
                </a:cubicBezTo>
                <a:cubicBezTo>
                  <a:pt x="399" y="61"/>
                  <a:pt x="393" y="67"/>
                  <a:pt x="386" y="67"/>
                </a:cubicBezTo>
                <a:cubicBezTo>
                  <a:pt x="383" y="67"/>
                  <a:pt x="379" y="65"/>
                  <a:pt x="377" y="63"/>
                </a:cubicBezTo>
                <a:cubicBezTo>
                  <a:pt x="370" y="66"/>
                  <a:pt x="364" y="69"/>
                  <a:pt x="357" y="73"/>
                </a:cubicBezTo>
                <a:cubicBezTo>
                  <a:pt x="358" y="73"/>
                  <a:pt x="358" y="74"/>
                  <a:pt x="358" y="75"/>
                </a:cubicBezTo>
                <a:close/>
                <a:moveTo>
                  <a:pt x="459" y="326"/>
                </a:moveTo>
                <a:cubicBezTo>
                  <a:pt x="459" y="320"/>
                  <a:pt x="459" y="320"/>
                  <a:pt x="459" y="320"/>
                </a:cubicBezTo>
                <a:cubicBezTo>
                  <a:pt x="460" y="319"/>
                  <a:pt x="461" y="318"/>
                  <a:pt x="462" y="318"/>
                </a:cubicBezTo>
                <a:cubicBezTo>
                  <a:pt x="471" y="318"/>
                  <a:pt x="471" y="318"/>
                  <a:pt x="471" y="318"/>
                </a:cubicBezTo>
                <a:cubicBezTo>
                  <a:pt x="471" y="317"/>
                  <a:pt x="472" y="316"/>
                  <a:pt x="472" y="315"/>
                </a:cubicBezTo>
                <a:cubicBezTo>
                  <a:pt x="468" y="307"/>
                  <a:pt x="468" y="307"/>
                  <a:pt x="468" y="307"/>
                </a:cubicBezTo>
                <a:cubicBezTo>
                  <a:pt x="467" y="307"/>
                  <a:pt x="467" y="305"/>
                  <a:pt x="468" y="304"/>
                </a:cubicBezTo>
                <a:cubicBezTo>
                  <a:pt x="473" y="300"/>
                  <a:pt x="473" y="300"/>
                  <a:pt x="473" y="300"/>
                </a:cubicBezTo>
                <a:cubicBezTo>
                  <a:pt x="474" y="300"/>
                  <a:pt x="475" y="300"/>
                  <a:pt x="476" y="300"/>
                </a:cubicBezTo>
                <a:cubicBezTo>
                  <a:pt x="483" y="306"/>
                  <a:pt x="483" y="306"/>
                  <a:pt x="483" y="306"/>
                </a:cubicBezTo>
                <a:cubicBezTo>
                  <a:pt x="484" y="306"/>
                  <a:pt x="485" y="305"/>
                  <a:pt x="486" y="305"/>
                </a:cubicBezTo>
                <a:cubicBezTo>
                  <a:pt x="488" y="296"/>
                  <a:pt x="488" y="296"/>
                  <a:pt x="488" y="296"/>
                </a:cubicBezTo>
                <a:cubicBezTo>
                  <a:pt x="488" y="295"/>
                  <a:pt x="489" y="294"/>
                  <a:pt x="490" y="294"/>
                </a:cubicBezTo>
                <a:cubicBezTo>
                  <a:pt x="496" y="294"/>
                  <a:pt x="496" y="294"/>
                  <a:pt x="496" y="294"/>
                </a:cubicBezTo>
                <a:cubicBezTo>
                  <a:pt x="497" y="294"/>
                  <a:pt x="498" y="295"/>
                  <a:pt x="498" y="296"/>
                </a:cubicBezTo>
                <a:cubicBezTo>
                  <a:pt x="500" y="305"/>
                  <a:pt x="500" y="305"/>
                  <a:pt x="500" y="305"/>
                </a:cubicBezTo>
                <a:cubicBezTo>
                  <a:pt x="501" y="305"/>
                  <a:pt x="502" y="306"/>
                  <a:pt x="503" y="306"/>
                </a:cubicBezTo>
                <a:cubicBezTo>
                  <a:pt x="510" y="300"/>
                  <a:pt x="510" y="300"/>
                  <a:pt x="510" y="300"/>
                </a:cubicBezTo>
                <a:cubicBezTo>
                  <a:pt x="511" y="300"/>
                  <a:pt x="512" y="300"/>
                  <a:pt x="513" y="300"/>
                </a:cubicBezTo>
                <a:cubicBezTo>
                  <a:pt x="518" y="304"/>
                  <a:pt x="518" y="304"/>
                  <a:pt x="518" y="304"/>
                </a:cubicBezTo>
                <a:cubicBezTo>
                  <a:pt x="519" y="305"/>
                  <a:pt x="519" y="307"/>
                  <a:pt x="518" y="307"/>
                </a:cubicBezTo>
                <a:cubicBezTo>
                  <a:pt x="514" y="315"/>
                  <a:pt x="514" y="315"/>
                  <a:pt x="514" y="315"/>
                </a:cubicBezTo>
                <a:cubicBezTo>
                  <a:pt x="514" y="316"/>
                  <a:pt x="515" y="317"/>
                  <a:pt x="515" y="318"/>
                </a:cubicBezTo>
                <a:cubicBezTo>
                  <a:pt x="524" y="318"/>
                  <a:pt x="524" y="318"/>
                  <a:pt x="524" y="318"/>
                </a:cubicBezTo>
                <a:cubicBezTo>
                  <a:pt x="525" y="318"/>
                  <a:pt x="526" y="319"/>
                  <a:pt x="527" y="320"/>
                </a:cubicBezTo>
                <a:cubicBezTo>
                  <a:pt x="528" y="326"/>
                  <a:pt x="528" y="326"/>
                  <a:pt x="528" y="326"/>
                </a:cubicBezTo>
                <a:cubicBezTo>
                  <a:pt x="528" y="327"/>
                  <a:pt x="527" y="328"/>
                  <a:pt x="526" y="328"/>
                </a:cubicBezTo>
                <a:cubicBezTo>
                  <a:pt x="518" y="332"/>
                  <a:pt x="518" y="332"/>
                  <a:pt x="518" y="332"/>
                </a:cubicBezTo>
                <a:cubicBezTo>
                  <a:pt x="518" y="333"/>
                  <a:pt x="518" y="334"/>
                  <a:pt x="517" y="335"/>
                </a:cubicBezTo>
                <a:cubicBezTo>
                  <a:pt x="524" y="340"/>
                  <a:pt x="524" y="340"/>
                  <a:pt x="524" y="340"/>
                </a:cubicBezTo>
                <a:cubicBezTo>
                  <a:pt x="525" y="341"/>
                  <a:pt x="525" y="342"/>
                  <a:pt x="525" y="343"/>
                </a:cubicBezTo>
                <a:cubicBezTo>
                  <a:pt x="522" y="349"/>
                  <a:pt x="522" y="349"/>
                  <a:pt x="522" y="349"/>
                </a:cubicBezTo>
                <a:cubicBezTo>
                  <a:pt x="521" y="350"/>
                  <a:pt x="520" y="350"/>
                  <a:pt x="519" y="350"/>
                </a:cubicBezTo>
                <a:cubicBezTo>
                  <a:pt x="510" y="347"/>
                  <a:pt x="510" y="347"/>
                  <a:pt x="510" y="347"/>
                </a:cubicBezTo>
                <a:cubicBezTo>
                  <a:pt x="510" y="347"/>
                  <a:pt x="510" y="348"/>
                  <a:pt x="509" y="348"/>
                </a:cubicBezTo>
                <a:cubicBezTo>
                  <a:pt x="511" y="357"/>
                  <a:pt x="511" y="357"/>
                  <a:pt x="511" y="357"/>
                </a:cubicBezTo>
                <a:cubicBezTo>
                  <a:pt x="511" y="358"/>
                  <a:pt x="511" y="359"/>
                  <a:pt x="510" y="360"/>
                </a:cubicBezTo>
                <a:cubicBezTo>
                  <a:pt x="504" y="362"/>
                  <a:pt x="504" y="362"/>
                  <a:pt x="504" y="362"/>
                </a:cubicBezTo>
                <a:cubicBezTo>
                  <a:pt x="503" y="363"/>
                  <a:pt x="502" y="362"/>
                  <a:pt x="501" y="362"/>
                </a:cubicBezTo>
                <a:cubicBezTo>
                  <a:pt x="496" y="354"/>
                  <a:pt x="496" y="354"/>
                  <a:pt x="496" y="354"/>
                </a:cubicBezTo>
                <a:cubicBezTo>
                  <a:pt x="495" y="354"/>
                  <a:pt x="494" y="354"/>
                  <a:pt x="493" y="354"/>
                </a:cubicBezTo>
                <a:cubicBezTo>
                  <a:pt x="493" y="354"/>
                  <a:pt x="493" y="354"/>
                  <a:pt x="493" y="354"/>
                </a:cubicBezTo>
                <a:cubicBezTo>
                  <a:pt x="489" y="362"/>
                  <a:pt x="489" y="362"/>
                  <a:pt x="489" y="362"/>
                </a:cubicBezTo>
                <a:cubicBezTo>
                  <a:pt x="488" y="363"/>
                  <a:pt x="487" y="363"/>
                  <a:pt x="486" y="363"/>
                </a:cubicBezTo>
                <a:cubicBezTo>
                  <a:pt x="480" y="361"/>
                  <a:pt x="480" y="361"/>
                  <a:pt x="480" y="361"/>
                </a:cubicBezTo>
                <a:cubicBezTo>
                  <a:pt x="479" y="361"/>
                  <a:pt x="478" y="360"/>
                  <a:pt x="478" y="359"/>
                </a:cubicBezTo>
                <a:cubicBezTo>
                  <a:pt x="479" y="350"/>
                  <a:pt x="479" y="350"/>
                  <a:pt x="479" y="350"/>
                </a:cubicBezTo>
                <a:cubicBezTo>
                  <a:pt x="478" y="349"/>
                  <a:pt x="478" y="349"/>
                  <a:pt x="477" y="348"/>
                </a:cubicBezTo>
                <a:cubicBezTo>
                  <a:pt x="468" y="351"/>
                  <a:pt x="468" y="351"/>
                  <a:pt x="468" y="351"/>
                </a:cubicBezTo>
                <a:cubicBezTo>
                  <a:pt x="467" y="351"/>
                  <a:pt x="466" y="351"/>
                  <a:pt x="465" y="350"/>
                </a:cubicBezTo>
                <a:cubicBezTo>
                  <a:pt x="462" y="345"/>
                  <a:pt x="462" y="345"/>
                  <a:pt x="462" y="345"/>
                </a:cubicBezTo>
                <a:cubicBezTo>
                  <a:pt x="462" y="344"/>
                  <a:pt x="462" y="343"/>
                  <a:pt x="462" y="342"/>
                </a:cubicBezTo>
                <a:cubicBezTo>
                  <a:pt x="469" y="336"/>
                  <a:pt x="469" y="336"/>
                  <a:pt x="469" y="336"/>
                </a:cubicBezTo>
                <a:cubicBezTo>
                  <a:pt x="469" y="335"/>
                  <a:pt x="468" y="333"/>
                  <a:pt x="468" y="332"/>
                </a:cubicBezTo>
                <a:cubicBezTo>
                  <a:pt x="460" y="328"/>
                  <a:pt x="460" y="328"/>
                  <a:pt x="460" y="328"/>
                </a:cubicBezTo>
                <a:cubicBezTo>
                  <a:pt x="459" y="328"/>
                  <a:pt x="458" y="327"/>
                  <a:pt x="459" y="326"/>
                </a:cubicBezTo>
                <a:close/>
                <a:moveTo>
                  <a:pt x="480" y="329"/>
                </a:moveTo>
                <a:cubicBezTo>
                  <a:pt x="480" y="336"/>
                  <a:pt x="486" y="342"/>
                  <a:pt x="493" y="342"/>
                </a:cubicBezTo>
                <a:cubicBezTo>
                  <a:pt x="500" y="342"/>
                  <a:pt x="506" y="336"/>
                  <a:pt x="506" y="329"/>
                </a:cubicBezTo>
                <a:cubicBezTo>
                  <a:pt x="506" y="322"/>
                  <a:pt x="500" y="316"/>
                  <a:pt x="493" y="316"/>
                </a:cubicBezTo>
                <a:cubicBezTo>
                  <a:pt x="486" y="316"/>
                  <a:pt x="480" y="322"/>
                  <a:pt x="480" y="329"/>
                </a:cubicBezTo>
                <a:close/>
                <a:moveTo>
                  <a:pt x="454" y="363"/>
                </a:moveTo>
                <a:cubicBezTo>
                  <a:pt x="460" y="363"/>
                  <a:pt x="460" y="363"/>
                  <a:pt x="460" y="363"/>
                </a:cubicBezTo>
                <a:cubicBezTo>
                  <a:pt x="461" y="363"/>
                  <a:pt x="462" y="364"/>
                  <a:pt x="462" y="365"/>
                </a:cubicBezTo>
                <a:cubicBezTo>
                  <a:pt x="464" y="374"/>
                  <a:pt x="464" y="374"/>
                  <a:pt x="464" y="374"/>
                </a:cubicBezTo>
                <a:cubicBezTo>
                  <a:pt x="465" y="374"/>
                  <a:pt x="466" y="375"/>
                  <a:pt x="467" y="375"/>
                </a:cubicBezTo>
                <a:cubicBezTo>
                  <a:pt x="474" y="369"/>
                  <a:pt x="474" y="369"/>
                  <a:pt x="474" y="369"/>
                </a:cubicBezTo>
                <a:cubicBezTo>
                  <a:pt x="475" y="369"/>
                  <a:pt x="476" y="369"/>
                  <a:pt x="477" y="369"/>
                </a:cubicBezTo>
                <a:cubicBezTo>
                  <a:pt x="482" y="373"/>
                  <a:pt x="482" y="373"/>
                  <a:pt x="482" y="373"/>
                </a:cubicBezTo>
                <a:cubicBezTo>
                  <a:pt x="483" y="374"/>
                  <a:pt x="483" y="375"/>
                  <a:pt x="482" y="376"/>
                </a:cubicBezTo>
                <a:cubicBezTo>
                  <a:pt x="478" y="384"/>
                  <a:pt x="478" y="384"/>
                  <a:pt x="478" y="384"/>
                </a:cubicBezTo>
                <a:cubicBezTo>
                  <a:pt x="478" y="385"/>
                  <a:pt x="479" y="386"/>
                  <a:pt x="479" y="387"/>
                </a:cubicBezTo>
                <a:cubicBezTo>
                  <a:pt x="488" y="387"/>
                  <a:pt x="488" y="387"/>
                  <a:pt x="488" y="387"/>
                </a:cubicBezTo>
                <a:cubicBezTo>
                  <a:pt x="489" y="387"/>
                  <a:pt x="490" y="387"/>
                  <a:pt x="491" y="389"/>
                </a:cubicBezTo>
                <a:cubicBezTo>
                  <a:pt x="492" y="395"/>
                  <a:pt x="492" y="395"/>
                  <a:pt x="492" y="395"/>
                </a:cubicBezTo>
                <a:cubicBezTo>
                  <a:pt x="492" y="396"/>
                  <a:pt x="491" y="397"/>
                  <a:pt x="490" y="397"/>
                </a:cubicBezTo>
                <a:cubicBezTo>
                  <a:pt x="482" y="401"/>
                  <a:pt x="482" y="401"/>
                  <a:pt x="482" y="401"/>
                </a:cubicBezTo>
                <a:cubicBezTo>
                  <a:pt x="482" y="402"/>
                  <a:pt x="482" y="403"/>
                  <a:pt x="481" y="403"/>
                </a:cubicBezTo>
                <a:cubicBezTo>
                  <a:pt x="488" y="409"/>
                  <a:pt x="488" y="409"/>
                  <a:pt x="488" y="409"/>
                </a:cubicBezTo>
                <a:cubicBezTo>
                  <a:pt x="489" y="410"/>
                  <a:pt x="489" y="411"/>
                  <a:pt x="489" y="412"/>
                </a:cubicBezTo>
                <a:cubicBezTo>
                  <a:pt x="486" y="418"/>
                  <a:pt x="486" y="418"/>
                  <a:pt x="486" y="418"/>
                </a:cubicBezTo>
                <a:cubicBezTo>
                  <a:pt x="485" y="419"/>
                  <a:pt x="484" y="419"/>
                  <a:pt x="483" y="419"/>
                </a:cubicBezTo>
                <a:cubicBezTo>
                  <a:pt x="474" y="416"/>
                  <a:pt x="474" y="416"/>
                  <a:pt x="474" y="416"/>
                </a:cubicBezTo>
                <a:cubicBezTo>
                  <a:pt x="474" y="416"/>
                  <a:pt x="474" y="417"/>
                  <a:pt x="473" y="417"/>
                </a:cubicBezTo>
                <a:cubicBezTo>
                  <a:pt x="475" y="426"/>
                  <a:pt x="475" y="426"/>
                  <a:pt x="475" y="426"/>
                </a:cubicBezTo>
                <a:cubicBezTo>
                  <a:pt x="475" y="427"/>
                  <a:pt x="475" y="428"/>
                  <a:pt x="474" y="429"/>
                </a:cubicBezTo>
                <a:cubicBezTo>
                  <a:pt x="468" y="431"/>
                  <a:pt x="468" y="431"/>
                  <a:pt x="468" y="431"/>
                </a:cubicBezTo>
                <a:cubicBezTo>
                  <a:pt x="467" y="432"/>
                  <a:pt x="466" y="431"/>
                  <a:pt x="465" y="431"/>
                </a:cubicBezTo>
                <a:cubicBezTo>
                  <a:pt x="460" y="423"/>
                  <a:pt x="460" y="423"/>
                  <a:pt x="460" y="423"/>
                </a:cubicBezTo>
                <a:cubicBezTo>
                  <a:pt x="459" y="423"/>
                  <a:pt x="458" y="423"/>
                  <a:pt x="457" y="423"/>
                </a:cubicBezTo>
                <a:cubicBezTo>
                  <a:pt x="457" y="423"/>
                  <a:pt x="457" y="423"/>
                  <a:pt x="457" y="423"/>
                </a:cubicBezTo>
                <a:cubicBezTo>
                  <a:pt x="453" y="431"/>
                  <a:pt x="453" y="431"/>
                  <a:pt x="453" y="431"/>
                </a:cubicBezTo>
                <a:cubicBezTo>
                  <a:pt x="452" y="432"/>
                  <a:pt x="451" y="432"/>
                  <a:pt x="450" y="432"/>
                </a:cubicBezTo>
                <a:cubicBezTo>
                  <a:pt x="444" y="430"/>
                  <a:pt x="444" y="430"/>
                  <a:pt x="444" y="430"/>
                </a:cubicBezTo>
                <a:cubicBezTo>
                  <a:pt x="443" y="430"/>
                  <a:pt x="442" y="429"/>
                  <a:pt x="442" y="428"/>
                </a:cubicBezTo>
                <a:cubicBezTo>
                  <a:pt x="443" y="419"/>
                  <a:pt x="443" y="419"/>
                  <a:pt x="443" y="419"/>
                </a:cubicBezTo>
                <a:cubicBezTo>
                  <a:pt x="442" y="418"/>
                  <a:pt x="442" y="418"/>
                  <a:pt x="441" y="417"/>
                </a:cubicBezTo>
                <a:cubicBezTo>
                  <a:pt x="432" y="420"/>
                  <a:pt x="432" y="420"/>
                  <a:pt x="432" y="420"/>
                </a:cubicBezTo>
                <a:cubicBezTo>
                  <a:pt x="431" y="420"/>
                  <a:pt x="430" y="420"/>
                  <a:pt x="429" y="419"/>
                </a:cubicBezTo>
                <a:cubicBezTo>
                  <a:pt x="426" y="414"/>
                  <a:pt x="426" y="414"/>
                  <a:pt x="426" y="414"/>
                </a:cubicBezTo>
                <a:cubicBezTo>
                  <a:pt x="426" y="413"/>
                  <a:pt x="426" y="412"/>
                  <a:pt x="426" y="411"/>
                </a:cubicBezTo>
                <a:cubicBezTo>
                  <a:pt x="433" y="405"/>
                  <a:pt x="433" y="405"/>
                  <a:pt x="433" y="405"/>
                </a:cubicBezTo>
                <a:cubicBezTo>
                  <a:pt x="433" y="403"/>
                  <a:pt x="432" y="402"/>
                  <a:pt x="432" y="401"/>
                </a:cubicBezTo>
                <a:cubicBezTo>
                  <a:pt x="424" y="397"/>
                  <a:pt x="424" y="397"/>
                  <a:pt x="424" y="397"/>
                </a:cubicBezTo>
                <a:cubicBezTo>
                  <a:pt x="423" y="397"/>
                  <a:pt x="422" y="396"/>
                  <a:pt x="423" y="395"/>
                </a:cubicBezTo>
                <a:cubicBezTo>
                  <a:pt x="423" y="389"/>
                  <a:pt x="423" y="389"/>
                  <a:pt x="423" y="389"/>
                </a:cubicBezTo>
                <a:cubicBezTo>
                  <a:pt x="424" y="387"/>
                  <a:pt x="425" y="387"/>
                  <a:pt x="426" y="387"/>
                </a:cubicBezTo>
                <a:cubicBezTo>
                  <a:pt x="435" y="387"/>
                  <a:pt x="435" y="387"/>
                  <a:pt x="435" y="387"/>
                </a:cubicBezTo>
                <a:cubicBezTo>
                  <a:pt x="435" y="386"/>
                  <a:pt x="436" y="385"/>
                  <a:pt x="436" y="384"/>
                </a:cubicBezTo>
                <a:cubicBezTo>
                  <a:pt x="432" y="376"/>
                  <a:pt x="432" y="376"/>
                  <a:pt x="432" y="376"/>
                </a:cubicBezTo>
                <a:cubicBezTo>
                  <a:pt x="431" y="375"/>
                  <a:pt x="431" y="374"/>
                  <a:pt x="432" y="373"/>
                </a:cubicBezTo>
                <a:cubicBezTo>
                  <a:pt x="437" y="369"/>
                  <a:pt x="437" y="369"/>
                  <a:pt x="437" y="369"/>
                </a:cubicBezTo>
                <a:cubicBezTo>
                  <a:pt x="438" y="369"/>
                  <a:pt x="439" y="369"/>
                  <a:pt x="440" y="369"/>
                </a:cubicBezTo>
                <a:cubicBezTo>
                  <a:pt x="447" y="375"/>
                  <a:pt x="447" y="375"/>
                  <a:pt x="447" y="375"/>
                </a:cubicBezTo>
                <a:cubicBezTo>
                  <a:pt x="448" y="375"/>
                  <a:pt x="449" y="374"/>
                  <a:pt x="450" y="374"/>
                </a:cubicBezTo>
                <a:cubicBezTo>
                  <a:pt x="452" y="365"/>
                  <a:pt x="452" y="365"/>
                  <a:pt x="452" y="365"/>
                </a:cubicBezTo>
                <a:cubicBezTo>
                  <a:pt x="452" y="364"/>
                  <a:pt x="453" y="363"/>
                  <a:pt x="454" y="363"/>
                </a:cubicBezTo>
                <a:close/>
                <a:moveTo>
                  <a:pt x="457" y="385"/>
                </a:moveTo>
                <a:cubicBezTo>
                  <a:pt x="450" y="385"/>
                  <a:pt x="444" y="391"/>
                  <a:pt x="444" y="398"/>
                </a:cubicBezTo>
                <a:cubicBezTo>
                  <a:pt x="444" y="405"/>
                  <a:pt x="450" y="411"/>
                  <a:pt x="457" y="411"/>
                </a:cubicBezTo>
                <a:cubicBezTo>
                  <a:pt x="464" y="411"/>
                  <a:pt x="470" y="405"/>
                  <a:pt x="470" y="398"/>
                </a:cubicBezTo>
                <a:cubicBezTo>
                  <a:pt x="470" y="391"/>
                  <a:pt x="464" y="385"/>
                  <a:pt x="457" y="385"/>
                </a:cubicBezTo>
                <a:close/>
                <a:moveTo>
                  <a:pt x="457" y="404"/>
                </a:moveTo>
                <a:cubicBezTo>
                  <a:pt x="460" y="404"/>
                  <a:pt x="463" y="401"/>
                  <a:pt x="463" y="398"/>
                </a:cubicBezTo>
                <a:cubicBezTo>
                  <a:pt x="463" y="395"/>
                  <a:pt x="460" y="392"/>
                  <a:pt x="457" y="392"/>
                </a:cubicBezTo>
                <a:cubicBezTo>
                  <a:pt x="454" y="392"/>
                  <a:pt x="451" y="395"/>
                  <a:pt x="451" y="398"/>
                </a:cubicBezTo>
                <a:cubicBezTo>
                  <a:pt x="451" y="401"/>
                  <a:pt x="454" y="404"/>
                  <a:pt x="457" y="404"/>
                </a:cubicBezTo>
                <a:close/>
                <a:moveTo>
                  <a:pt x="493" y="335"/>
                </a:moveTo>
                <a:cubicBezTo>
                  <a:pt x="496" y="335"/>
                  <a:pt x="499" y="332"/>
                  <a:pt x="499" y="329"/>
                </a:cubicBezTo>
                <a:cubicBezTo>
                  <a:pt x="499" y="326"/>
                  <a:pt x="496" y="323"/>
                  <a:pt x="493" y="323"/>
                </a:cubicBezTo>
                <a:cubicBezTo>
                  <a:pt x="490" y="323"/>
                  <a:pt x="487" y="326"/>
                  <a:pt x="487" y="329"/>
                </a:cubicBezTo>
                <a:cubicBezTo>
                  <a:pt x="487" y="332"/>
                  <a:pt x="490" y="335"/>
                  <a:pt x="493" y="335"/>
                </a:cubicBezTo>
                <a:close/>
                <a:moveTo>
                  <a:pt x="596" y="363"/>
                </a:moveTo>
                <a:cubicBezTo>
                  <a:pt x="602" y="363"/>
                  <a:pt x="602" y="363"/>
                  <a:pt x="602" y="363"/>
                </a:cubicBezTo>
                <a:cubicBezTo>
                  <a:pt x="603" y="363"/>
                  <a:pt x="604" y="364"/>
                  <a:pt x="604" y="365"/>
                </a:cubicBezTo>
                <a:cubicBezTo>
                  <a:pt x="606" y="374"/>
                  <a:pt x="606" y="374"/>
                  <a:pt x="606" y="374"/>
                </a:cubicBezTo>
                <a:cubicBezTo>
                  <a:pt x="607" y="374"/>
                  <a:pt x="608" y="375"/>
                  <a:pt x="609" y="375"/>
                </a:cubicBezTo>
                <a:cubicBezTo>
                  <a:pt x="616" y="369"/>
                  <a:pt x="616" y="369"/>
                  <a:pt x="616" y="369"/>
                </a:cubicBezTo>
                <a:cubicBezTo>
                  <a:pt x="616" y="369"/>
                  <a:pt x="618" y="369"/>
                  <a:pt x="619" y="369"/>
                </a:cubicBezTo>
                <a:cubicBezTo>
                  <a:pt x="623" y="373"/>
                  <a:pt x="623" y="373"/>
                  <a:pt x="623" y="373"/>
                </a:cubicBezTo>
                <a:cubicBezTo>
                  <a:pt x="624" y="374"/>
                  <a:pt x="625" y="375"/>
                  <a:pt x="624" y="376"/>
                </a:cubicBezTo>
                <a:cubicBezTo>
                  <a:pt x="620" y="384"/>
                  <a:pt x="620" y="384"/>
                  <a:pt x="620" y="384"/>
                </a:cubicBezTo>
                <a:cubicBezTo>
                  <a:pt x="620" y="385"/>
                  <a:pt x="621" y="386"/>
                  <a:pt x="621" y="387"/>
                </a:cubicBezTo>
                <a:cubicBezTo>
                  <a:pt x="630" y="387"/>
                  <a:pt x="630" y="387"/>
                  <a:pt x="630" y="387"/>
                </a:cubicBezTo>
                <a:cubicBezTo>
                  <a:pt x="631" y="387"/>
                  <a:pt x="632" y="387"/>
                  <a:pt x="632" y="389"/>
                </a:cubicBezTo>
                <a:cubicBezTo>
                  <a:pt x="634" y="395"/>
                  <a:pt x="634" y="395"/>
                  <a:pt x="634" y="395"/>
                </a:cubicBezTo>
                <a:cubicBezTo>
                  <a:pt x="634" y="396"/>
                  <a:pt x="633" y="397"/>
                  <a:pt x="632" y="397"/>
                </a:cubicBezTo>
                <a:cubicBezTo>
                  <a:pt x="624" y="401"/>
                  <a:pt x="624" y="401"/>
                  <a:pt x="624" y="401"/>
                </a:cubicBezTo>
                <a:cubicBezTo>
                  <a:pt x="623" y="402"/>
                  <a:pt x="623" y="403"/>
                  <a:pt x="623" y="403"/>
                </a:cubicBezTo>
                <a:cubicBezTo>
                  <a:pt x="630" y="409"/>
                  <a:pt x="630" y="409"/>
                  <a:pt x="630" y="409"/>
                </a:cubicBezTo>
                <a:cubicBezTo>
                  <a:pt x="631" y="410"/>
                  <a:pt x="631" y="411"/>
                  <a:pt x="631" y="412"/>
                </a:cubicBezTo>
                <a:cubicBezTo>
                  <a:pt x="628" y="418"/>
                  <a:pt x="628" y="418"/>
                  <a:pt x="628" y="418"/>
                </a:cubicBezTo>
                <a:cubicBezTo>
                  <a:pt x="627" y="419"/>
                  <a:pt x="626" y="419"/>
                  <a:pt x="625" y="419"/>
                </a:cubicBezTo>
                <a:cubicBezTo>
                  <a:pt x="616" y="416"/>
                  <a:pt x="616" y="416"/>
                  <a:pt x="616" y="416"/>
                </a:cubicBezTo>
                <a:cubicBezTo>
                  <a:pt x="616" y="416"/>
                  <a:pt x="615" y="417"/>
                  <a:pt x="615" y="417"/>
                </a:cubicBezTo>
                <a:cubicBezTo>
                  <a:pt x="617" y="426"/>
                  <a:pt x="617" y="426"/>
                  <a:pt x="617" y="426"/>
                </a:cubicBezTo>
                <a:cubicBezTo>
                  <a:pt x="617" y="427"/>
                  <a:pt x="616" y="428"/>
                  <a:pt x="615" y="429"/>
                </a:cubicBezTo>
                <a:cubicBezTo>
                  <a:pt x="610" y="431"/>
                  <a:pt x="610" y="431"/>
                  <a:pt x="610" y="431"/>
                </a:cubicBezTo>
                <a:cubicBezTo>
                  <a:pt x="609" y="432"/>
                  <a:pt x="608" y="431"/>
                  <a:pt x="607" y="431"/>
                </a:cubicBezTo>
                <a:cubicBezTo>
                  <a:pt x="602" y="423"/>
                  <a:pt x="602" y="423"/>
                  <a:pt x="602" y="423"/>
                </a:cubicBezTo>
                <a:cubicBezTo>
                  <a:pt x="601" y="423"/>
                  <a:pt x="600" y="423"/>
                  <a:pt x="599" y="423"/>
                </a:cubicBezTo>
                <a:cubicBezTo>
                  <a:pt x="599" y="423"/>
                  <a:pt x="599" y="423"/>
                  <a:pt x="599" y="423"/>
                </a:cubicBezTo>
                <a:cubicBezTo>
                  <a:pt x="594" y="431"/>
                  <a:pt x="594" y="431"/>
                  <a:pt x="594" y="431"/>
                </a:cubicBezTo>
                <a:cubicBezTo>
                  <a:pt x="594" y="432"/>
                  <a:pt x="593" y="432"/>
                  <a:pt x="592" y="432"/>
                </a:cubicBezTo>
                <a:cubicBezTo>
                  <a:pt x="585" y="430"/>
                  <a:pt x="585" y="430"/>
                  <a:pt x="585" y="430"/>
                </a:cubicBezTo>
                <a:cubicBezTo>
                  <a:pt x="585" y="430"/>
                  <a:pt x="584" y="429"/>
                  <a:pt x="584" y="428"/>
                </a:cubicBezTo>
                <a:cubicBezTo>
                  <a:pt x="585" y="419"/>
                  <a:pt x="585" y="419"/>
                  <a:pt x="585" y="419"/>
                </a:cubicBezTo>
                <a:cubicBezTo>
                  <a:pt x="584" y="418"/>
                  <a:pt x="583" y="418"/>
                  <a:pt x="582" y="417"/>
                </a:cubicBezTo>
                <a:cubicBezTo>
                  <a:pt x="574" y="420"/>
                  <a:pt x="574" y="420"/>
                  <a:pt x="574" y="420"/>
                </a:cubicBezTo>
                <a:cubicBezTo>
                  <a:pt x="573" y="420"/>
                  <a:pt x="572" y="420"/>
                  <a:pt x="571" y="419"/>
                </a:cubicBezTo>
                <a:cubicBezTo>
                  <a:pt x="568" y="414"/>
                  <a:pt x="568" y="414"/>
                  <a:pt x="568" y="414"/>
                </a:cubicBezTo>
                <a:cubicBezTo>
                  <a:pt x="567" y="413"/>
                  <a:pt x="567" y="412"/>
                  <a:pt x="568" y="411"/>
                </a:cubicBezTo>
                <a:cubicBezTo>
                  <a:pt x="575" y="405"/>
                  <a:pt x="575" y="405"/>
                  <a:pt x="575" y="405"/>
                </a:cubicBezTo>
                <a:cubicBezTo>
                  <a:pt x="574" y="403"/>
                  <a:pt x="574" y="402"/>
                  <a:pt x="574" y="401"/>
                </a:cubicBezTo>
                <a:cubicBezTo>
                  <a:pt x="566" y="397"/>
                  <a:pt x="566" y="397"/>
                  <a:pt x="566" y="397"/>
                </a:cubicBezTo>
                <a:cubicBezTo>
                  <a:pt x="565" y="397"/>
                  <a:pt x="564" y="396"/>
                  <a:pt x="564" y="395"/>
                </a:cubicBezTo>
                <a:cubicBezTo>
                  <a:pt x="565" y="389"/>
                  <a:pt x="565" y="389"/>
                  <a:pt x="565" y="389"/>
                </a:cubicBezTo>
                <a:cubicBezTo>
                  <a:pt x="566" y="387"/>
                  <a:pt x="566" y="387"/>
                  <a:pt x="568" y="387"/>
                </a:cubicBezTo>
                <a:cubicBezTo>
                  <a:pt x="577" y="387"/>
                  <a:pt x="577" y="387"/>
                  <a:pt x="577" y="387"/>
                </a:cubicBezTo>
                <a:cubicBezTo>
                  <a:pt x="577" y="386"/>
                  <a:pt x="577" y="385"/>
                  <a:pt x="578" y="384"/>
                </a:cubicBezTo>
                <a:cubicBezTo>
                  <a:pt x="573" y="376"/>
                  <a:pt x="573" y="376"/>
                  <a:pt x="573" y="376"/>
                </a:cubicBezTo>
                <a:cubicBezTo>
                  <a:pt x="573" y="375"/>
                  <a:pt x="573" y="374"/>
                  <a:pt x="574" y="373"/>
                </a:cubicBezTo>
                <a:cubicBezTo>
                  <a:pt x="579" y="369"/>
                  <a:pt x="579" y="369"/>
                  <a:pt x="579" y="369"/>
                </a:cubicBezTo>
                <a:cubicBezTo>
                  <a:pt x="580" y="369"/>
                  <a:pt x="581" y="369"/>
                  <a:pt x="582" y="369"/>
                </a:cubicBezTo>
                <a:cubicBezTo>
                  <a:pt x="589" y="375"/>
                  <a:pt x="589" y="375"/>
                  <a:pt x="589" y="375"/>
                </a:cubicBezTo>
                <a:cubicBezTo>
                  <a:pt x="590" y="375"/>
                  <a:pt x="591" y="374"/>
                  <a:pt x="592" y="374"/>
                </a:cubicBezTo>
                <a:cubicBezTo>
                  <a:pt x="593" y="365"/>
                  <a:pt x="593" y="365"/>
                  <a:pt x="593" y="365"/>
                </a:cubicBezTo>
                <a:cubicBezTo>
                  <a:pt x="594" y="364"/>
                  <a:pt x="595" y="363"/>
                  <a:pt x="596" y="363"/>
                </a:cubicBezTo>
                <a:close/>
                <a:moveTo>
                  <a:pt x="599" y="385"/>
                </a:moveTo>
                <a:cubicBezTo>
                  <a:pt x="592" y="385"/>
                  <a:pt x="585" y="391"/>
                  <a:pt x="585" y="398"/>
                </a:cubicBezTo>
                <a:cubicBezTo>
                  <a:pt x="585" y="405"/>
                  <a:pt x="592" y="411"/>
                  <a:pt x="599" y="411"/>
                </a:cubicBezTo>
                <a:cubicBezTo>
                  <a:pt x="606" y="411"/>
                  <a:pt x="612" y="405"/>
                  <a:pt x="612" y="398"/>
                </a:cubicBezTo>
                <a:cubicBezTo>
                  <a:pt x="612" y="391"/>
                  <a:pt x="606" y="385"/>
                  <a:pt x="599" y="385"/>
                </a:cubicBezTo>
                <a:close/>
                <a:moveTo>
                  <a:pt x="599" y="404"/>
                </a:moveTo>
                <a:cubicBezTo>
                  <a:pt x="602" y="404"/>
                  <a:pt x="604" y="401"/>
                  <a:pt x="604" y="398"/>
                </a:cubicBezTo>
                <a:cubicBezTo>
                  <a:pt x="604" y="395"/>
                  <a:pt x="602" y="392"/>
                  <a:pt x="599" y="392"/>
                </a:cubicBezTo>
                <a:cubicBezTo>
                  <a:pt x="596" y="392"/>
                  <a:pt x="593" y="395"/>
                  <a:pt x="593" y="398"/>
                </a:cubicBezTo>
                <a:cubicBezTo>
                  <a:pt x="593" y="401"/>
                  <a:pt x="596" y="404"/>
                  <a:pt x="599" y="404"/>
                </a:cubicBezTo>
                <a:close/>
                <a:moveTo>
                  <a:pt x="525" y="363"/>
                </a:moveTo>
                <a:cubicBezTo>
                  <a:pt x="531" y="363"/>
                  <a:pt x="531" y="363"/>
                  <a:pt x="531" y="363"/>
                </a:cubicBezTo>
                <a:cubicBezTo>
                  <a:pt x="532" y="363"/>
                  <a:pt x="533" y="364"/>
                  <a:pt x="533" y="365"/>
                </a:cubicBezTo>
                <a:cubicBezTo>
                  <a:pt x="535" y="374"/>
                  <a:pt x="535" y="374"/>
                  <a:pt x="535" y="374"/>
                </a:cubicBezTo>
                <a:cubicBezTo>
                  <a:pt x="536" y="374"/>
                  <a:pt x="537" y="375"/>
                  <a:pt x="538" y="375"/>
                </a:cubicBezTo>
                <a:cubicBezTo>
                  <a:pt x="545" y="369"/>
                  <a:pt x="545" y="369"/>
                  <a:pt x="545" y="369"/>
                </a:cubicBezTo>
                <a:cubicBezTo>
                  <a:pt x="546" y="369"/>
                  <a:pt x="547" y="369"/>
                  <a:pt x="548" y="369"/>
                </a:cubicBezTo>
                <a:cubicBezTo>
                  <a:pt x="553" y="373"/>
                  <a:pt x="553" y="373"/>
                  <a:pt x="553" y="373"/>
                </a:cubicBezTo>
                <a:cubicBezTo>
                  <a:pt x="553" y="374"/>
                  <a:pt x="554" y="375"/>
                  <a:pt x="553" y="376"/>
                </a:cubicBezTo>
                <a:cubicBezTo>
                  <a:pt x="549" y="384"/>
                  <a:pt x="549" y="384"/>
                  <a:pt x="549" y="384"/>
                </a:cubicBezTo>
                <a:cubicBezTo>
                  <a:pt x="549" y="385"/>
                  <a:pt x="550" y="386"/>
                  <a:pt x="550" y="387"/>
                </a:cubicBezTo>
                <a:cubicBezTo>
                  <a:pt x="559" y="387"/>
                  <a:pt x="559" y="387"/>
                  <a:pt x="559" y="387"/>
                </a:cubicBezTo>
                <a:cubicBezTo>
                  <a:pt x="560" y="387"/>
                  <a:pt x="561" y="387"/>
                  <a:pt x="561" y="389"/>
                </a:cubicBezTo>
                <a:cubicBezTo>
                  <a:pt x="563" y="395"/>
                  <a:pt x="563" y="395"/>
                  <a:pt x="563" y="395"/>
                </a:cubicBezTo>
                <a:cubicBezTo>
                  <a:pt x="563" y="396"/>
                  <a:pt x="562" y="397"/>
                  <a:pt x="561" y="397"/>
                </a:cubicBezTo>
                <a:cubicBezTo>
                  <a:pt x="553" y="401"/>
                  <a:pt x="553" y="401"/>
                  <a:pt x="553" y="401"/>
                </a:cubicBezTo>
                <a:cubicBezTo>
                  <a:pt x="553" y="402"/>
                  <a:pt x="553" y="403"/>
                  <a:pt x="552" y="403"/>
                </a:cubicBezTo>
                <a:cubicBezTo>
                  <a:pt x="559" y="409"/>
                  <a:pt x="559" y="409"/>
                  <a:pt x="559" y="409"/>
                </a:cubicBezTo>
                <a:cubicBezTo>
                  <a:pt x="560" y="410"/>
                  <a:pt x="560" y="411"/>
                  <a:pt x="560" y="412"/>
                </a:cubicBezTo>
                <a:cubicBezTo>
                  <a:pt x="557" y="418"/>
                  <a:pt x="557" y="418"/>
                  <a:pt x="557" y="418"/>
                </a:cubicBezTo>
                <a:cubicBezTo>
                  <a:pt x="556" y="419"/>
                  <a:pt x="555" y="419"/>
                  <a:pt x="554" y="419"/>
                </a:cubicBezTo>
                <a:cubicBezTo>
                  <a:pt x="545" y="416"/>
                  <a:pt x="545" y="416"/>
                  <a:pt x="545" y="416"/>
                </a:cubicBezTo>
                <a:cubicBezTo>
                  <a:pt x="545" y="416"/>
                  <a:pt x="545" y="417"/>
                  <a:pt x="544" y="417"/>
                </a:cubicBezTo>
                <a:cubicBezTo>
                  <a:pt x="546" y="426"/>
                  <a:pt x="546" y="426"/>
                  <a:pt x="546" y="426"/>
                </a:cubicBezTo>
                <a:cubicBezTo>
                  <a:pt x="546" y="427"/>
                  <a:pt x="546" y="428"/>
                  <a:pt x="545" y="429"/>
                </a:cubicBezTo>
                <a:cubicBezTo>
                  <a:pt x="539" y="431"/>
                  <a:pt x="539" y="431"/>
                  <a:pt x="539" y="431"/>
                </a:cubicBezTo>
                <a:cubicBezTo>
                  <a:pt x="538" y="432"/>
                  <a:pt x="537" y="431"/>
                  <a:pt x="536" y="431"/>
                </a:cubicBezTo>
                <a:cubicBezTo>
                  <a:pt x="531" y="423"/>
                  <a:pt x="531" y="423"/>
                  <a:pt x="531" y="423"/>
                </a:cubicBezTo>
                <a:cubicBezTo>
                  <a:pt x="530" y="423"/>
                  <a:pt x="529" y="423"/>
                  <a:pt x="528" y="423"/>
                </a:cubicBezTo>
                <a:cubicBezTo>
                  <a:pt x="528" y="423"/>
                  <a:pt x="528" y="423"/>
                  <a:pt x="528" y="423"/>
                </a:cubicBezTo>
                <a:cubicBezTo>
                  <a:pt x="523" y="431"/>
                  <a:pt x="523" y="431"/>
                  <a:pt x="523" y="431"/>
                </a:cubicBezTo>
                <a:cubicBezTo>
                  <a:pt x="523" y="432"/>
                  <a:pt x="522" y="432"/>
                  <a:pt x="521" y="432"/>
                </a:cubicBezTo>
                <a:cubicBezTo>
                  <a:pt x="515" y="430"/>
                  <a:pt x="515" y="430"/>
                  <a:pt x="515" y="430"/>
                </a:cubicBezTo>
                <a:cubicBezTo>
                  <a:pt x="514" y="430"/>
                  <a:pt x="513" y="429"/>
                  <a:pt x="513" y="428"/>
                </a:cubicBezTo>
                <a:cubicBezTo>
                  <a:pt x="514" y="419"/>
                  <a:pt x="514" y="419"/>
                  <a:pt x="514" y="419"/>
                </a:cubicBezTo>
                <a:cubicBezTo>
                  <a:pt x="513" y="418"/>
                  <a:pt x="512" y="418"/>
                  <a:pt x="511" y="417"/>
                </a:cubicBezTo>
                <a:cubicBezTo>
                  <a:pt x="503" y="420"/>
                  <a:pt x="503" y="420"/>
                  <a:pt x="503" y="420"/>
                </a:cubicBezTo>
                <a:cubicBezTo>
                  <a:pt x="502" y="420"/>
                  <a:pt x="501" y="420"/>
                  <a:pt x="500" y="419"/>
                </a:cubicBezTo>
                <a:cubicBezTo>
                  <a:pt x="497" y="414"/>
                  <a:pt x="497" y="414"/>
                  <a:pt x="497" y="414"/>
                </a:cubicBezTo>
                <a:cubicBezTo>
                  <a:pt x="496" y="413"/>
                  <a:pt x="496" y="412"/>
                  <a:pt x="497" y="411"/>
                </a:cubicBezTo>
                <a:cubicBezTo>
                  <a:pt x="504" y="405"/>
                  <a:pt x="504" y="405"/>
                  <a:pt x="504" y="405"/>
                </a:cubicBezTo>
                <a:cubicBezTo>
                  <a:pt x="504" y="403"/>
                  <a:pt x="503" y="402"/>
                  <a:pt x="503" y="401"/>
                </a:cubicBezTo>
                <a:cubicBezTo>
                  <a:pt x="495" y="397"/>
                  <a:pt x="495" y="397"/>
                  <a:pt x="495" y="397"/>
                </a:cubicBezTo>
                <a:cubicBezTo>
                  <a:pt x="494" y="397"/>
                  <a:pt x="493" y="396"/>
                  <a:pt x="493" y="395"/>
                </a:cubicBezTo>
                <a:cubicBezTo>
                  <a:pt x="494" y="389"/>
                  <a:pt x="494" y="389"/>
                  <a:pt x="494" y="389"/>
                </a:cubicBezTo>
                <a:cubicBezTo>
                  <a:pt x="495" y="387"/>
                  <a:pt x="496" y="387"/>
                  <a:pt x="497" y="387"/>
                </a:cubicBezTo>
                <a:cubicBezTo>
                  <a:pt x="506" y="387"/>
                  <a:pt x="506" y="387"/>
                  <a:pt x="506" y="387"/>
                </a:cubicBezTo>
                <a:cubicBezTo>
                  <a:pt x="506" y="386"/>
                  <a:pt x="507" y="385"/>
                  <a:pt x="507" y="384"/>
                </a:cubicBezTo>
                <a:cubicBezTo>
                  <a:pt x="503" y="376"/>
                  <a:pt x="503" y="376"/>
                  <a:pt x="503" y="376"/>
                </a:cubicBezTo>
                <a:cubicBezTo>
                  <a:pt x="502" y="375"/>
                  <a:pt x="502" y="374"/>
                  <a:pt x="503" y="373"/>
                </a:cubicBezTo>
                <a:cubicBezTo>
                  <a:pt x="508" y="369"/>
                  <a:pt x="508" y="369"/>
                  <a:pt x="508" y="369"/>
                </a:cubicBezTo>
                <a:cubicBezTo>
                  <a:pt x="509" y="369"/>
                  <a:pt x="510" y="369"/>
                  <a:pt x="511" y="369"/>
                </a:cubicBezTo>
                <a:cubicBezTo>
                  <a:pt x="518" y="375"/>
                  <a:pt x="518" y="375"/>
                  <a:pt x="518" y="375"/>
                </a:cubicBezTo>
                <a:cubicBezTo>
                  <a:pt x="519" y="375"/>
                  <a:pt x="520" y="374"/>
                  <a:pt x="521" y="374"/>
                </a:cubicBezTo>
                <a:cubicBezTo>
                  <a:pt x="523" y="365"/>
                  <a:pt x="523" y="365"/>
                  <a:pt x="523" y="365"/>
                </a:cubicBezTo>
                <a:cubicBezTo>
                  <a:pt x="523" y="364"/>
                  <a:pt x="524" y="363"/>
                  <a:pt x="525" y="363"/>
                </a:cubicBezTo>
                <a:close/>
                <a:moveTo>
                  <a:pt x="528" y="385"/>
                </a:moveTo>
                <a:cubicBezTo>
                  <a:pt x="521" y="385"/>
                  <a:pt x="515" y="391"/>
                  <a:pt x="515" y="398"/>
                </a:cubicBezTo>
                <a:cubicBezTo>
                  <a:pt x="515" y="405"/>
                  <a:pt x="521" y="411"/>
                  <a:pt x="528" y="411"/>
                </a:cubicBezTo>
                <a:cubicBezTo>
                  <a:pt x="535" y="411"/>
                  <a:pt x="541" y="405"/>
                  <a:pt x="541" y="398"/>
                </a:cubicBezTo>
                <a:cubicBezTo>
                  <a:pt x="541" y="391"/>
                  <a:pt x="535" y="385"/>
                  <a:pt x="528" y="385"/>
                </a:cubicBezTo>
                <a:close/>
                <a:moveTo>
                  <a:pt x="528" y="404"/>
                </a:moveTo>
                <a:cubicBezTo>
                  <a:pt x="531" y="404"/>
                  <a:pt x="534" y="401"/>
                  <a:pt x="534" y="398"/>
                </a:cubicBezTo>
                <a:cubicBezTo>
                  <a:pt x="534" y="395"/>
                  <a:pt x="531" y="392"/>
                  <a:pt x="528" y="392"/>
                </a:cubicBezTo>
                <a:cubicBezTo>
                  <a:pt x="525" y="392"/>
                  <a:pt x="522" y="395"/>
                  <a:pt x="522" y="398"/>
                </a:cubicBezTo>
                <a:cubicBezTo>
                  <a:pt x="522" y="401"/>
                  <a:pt x="525" y="404"/>
                  <a:pt x="528" y="404"/>
                </a:cubicBezTo>
                <a:close/>
                <a:moveTo>
                  <a:pt x="138" y="561"/>
                </a:moveTo>
                <a:cubicBezTo>
                  <a:pt x="134" y="569"/>
                  <a:pt x="134" y="569"/>
                  <a:pt x="134" y="569"/>
                </a:cubicBezTo>
                <a:cubicBezTo>
                  <a:pt x="133" y="570"/>
                  <a:pt x="132" y="570"/>
                  <a:pt x="131" y="570"/>
                </a:cubicBezTo>
                <a:cubicBezTo>
                  <a:pt x="125" y="568"/>
                  <a:pt x="125" y="568"/>
                  <a:pt x="125" y="568"/>
                </a:cubicBezTo>
                <a:cubicBezTo>
                  <a:pt x="124" y="568"/>
                  <a:pt x="124" y="567"/>
                  <a:pt x="124" y="566"/>
                </a:cubicBezTo>
                <a:cubicBezTo>
                  <a:pt x="125" y="557"/>
                  <a:pt x="125" y="557"/>
                  <a:pt x="125" y="557"/>
                </a:cubicBezTo>
                <a:cubicBezTo>
                  <a:pt x="124" y="556"/>
                  <a:pt x="123" y="555"/>
                  <a:pt x="122" y="555"/>
                </a:cubicBezTo>
                <a:cubicBezTo>
                  <a:pt x="114" y="558"/>
                  <a:pt x="114" y="558"/>
                  <a:pt x="114" y="558"/>
                </a:cubicBezTo>
                <a:cubicBezTo>
                  <a:pt x="113" y="558"/>
                  <a:pt x="111" y="558"/>
                  <a:pt x="111" y="557"/>
                </a:cubicBezTo>
                <a:cubicBezTo>
                  <a:pt x="107" y="552"/>
                  <a:pt x="107" y="552"/>
                  <a:pt x="107" y="552"/>
                </a:cubicBezTo>
                <a:cubicBezTo>
                  <a:pt x="107" y="551"/>
                  <a:pt x="107" y="550"/>
                  <a:pt x="108" y="549"/>
                </a:cubicBezTo>
                <a:cubicBezTo>
                  <a:pt x="114" y="542"/>
                  <a:pt x="114" y="543"/>
                  <a:pt x="114" y="543"/>
                </a:cubicBezTo>
                <a:cubicBezTo>
                  <a:pt x="114" y="541"/>
                  <a:pt x="114" y="540"/>
                  <a:pt x="114" y="539"/>
                </a:cubicBezTo>
                <a:cubicBezTo>
                  <a:pt x="105" y="535"/>
                  <a:pt x="105" y="535"/>
                  <a:pt x="105" y="535"/>
                </a:cubicBezTo>
                <a:cubicBezTo>
                  <a:pt x="104" y="535"/>
                  <a:pt x="104" y="534"/>
                  <a:pt x="104" y="533"/>
                </a:cubicBezTo>
                <a:cubicBezTo>
                  <a:pt x="105" y="527"/>
                  <a:pt x="105" y="527"/>
                  <a:pt x="105" y="527"/>
                </a:cubicBezTo>
                <a:cubicBezTo>
                  <a:pt x="105" y="525"/>
                  <a:pt x="106" y="524"/>
                  <a:pt x="107" y="524"/>
                </a:cubicBezTo>
                <a:cubicBezTo>
                  <a:pt x="116" y="524"/>
                  <a:pt x="116" y="524"/>
                  <a:pt x="116" y="524"/>
                </a:cubicBezTo>
                <a:cubicBezTo>
                  <a:pt x="117" y="523"/>
                  <a:pt x="117" y="523"/>
                  <a:pt x="118" y="522"/>
                </a:cubicBezTo>
                <a:cubicBezTo>
                  <a:pt x="113" y="514"/>
                  <a:pt x="113" y="514"/>
                  <a:pt x="113" y="514"/>
                </a:cubicBezTo>
                <a:cubicBezTo>
                  <a:pt x="113" y="513"/>
                  <a:pt x="113" y="512"/>
                  <a:pt x="114" y="511"/>
                </a:cubicBezTo>
                <a:cubicBezTo>
                  <a:pt x="118" y="507"/>
                  <a:pt x="118" y="507"/>
                  <a:pt x="118" y="507"/>
                </a:cubicBezTo>
                <a:cubicBezTo>
                  <a:pt x="119" y="507"/>
                  <a:pt x="121" y="507"/>
                  <a:pt x="122" y="507"/>
                </a:cubicBezTo>
                <a:cubicBezTo>
                  <a:pt x="129" y="513"/>
                  <a:pt x="129" y="513"/>
                  <a:pt x="129" y="513"/>
                </a:cubicBezTo>
                <a:cubicBezTo>
                  <a:pt x="129" y="512"/>
                  <a:pt x="130" y="512"/>
                  <a:pt x="131" y="512"/>
                </a:cubicBezTo>
                <a:cubicBezTo>
                  <a:pt x="133" y="503"/>
                  <a:pt x="133" y="503"/>
                  <a:pt x="133" y="503"/>
                </a:cubicBezTo>
                <a:cubicBezTo>
                  <a:pt x="133" y="502"/>
                  <a:pt x="134" y="501"/>
                  <a:pt x="135" y="501"/>
                </a:cubicBezTo>
                <a:cubicBezTo>
                  <a:pt x="142" y="501"/>
                  <a:pt x="142" y="501"/>
                  <a:pt x="142" y="501"/>
                </a:cubicBezTo>
                <a:cubicBezTo>
                  <a:pt x="143" y="501"/>
                  <a:pt x="144" y="502"/>
                  <a:pt x="144" y="503"/>
                </a:cubicBezTo>
                <a:cubicBezTo>
                  <a:pt x="146" y="512"/>
                  <a:pt x="146" y="512"/>
                  <a:pt x="146" y="512"/>
                </a:cubicBezTo>
                <a:cubicBezTo>
                  <a:pt x="147" y="512"/>
                  <a:pt x="148" y="512"/>
                  <a:pt x="148" y="513"/>
                </a:cubicBezTo>
                <a:cubicBezTo>
                  <a:pt x="156" y="507"/>
                  <a:pt x="156" y="507"/>
                  <a:pt x="156" y="507"/>
                </a:cubicBezTo>
                <a:cubicBezTo>
                  <a:pt x="156" y="507"/>
                  <a:pt x="158" y="507"/>
                  <a:pt x="159" y="507"/>
                </a:cubicBezTo>
                <a:cubicBezTo>
                  <a:pt x="163" y="511"/>
                  <a:pt x="163" y="511"/>
                  <a:pt x="163" y="511"/>
                </a:cubicBezTo>
                <a:cubicBezTo>
                  <a:pt x="164" y="512"/>
                  <a:pt x="164" y="513"/>
                  <a:pt x="164" y="514"/>
                </a:cubicBezTo>
                <a:cubicBezTo>
                  <a:pt x="160" y="522"/>
                  <a:pt x="160" y="522"/>
                  <a:pt x="160" y="522"/>
                </a:cubicBezTo>
                <a:cubicBezTo>
                  <a:pt x="160" y="523"/>
                  <a:pt x="160" y="523"/>
                  <a:pt x="161" y="524"/>
                </a:cubicBezTo>
                <a:cubicBezTo>
                  <a:pt x="170" y="524"/>
                  <a:pt x="170" y="524"/>
                  <a:pt x="170" y="524"/>
                </a:cubicBezTo>
                <a:cubicBezTo>
                  <a:pt x="171" y="524"/>
                  <a:pt x="172" y="525"/>
                  <a:pt x="172" y="527"/>
                </a:cubicBezTo>
                <a:cubicBezTo>
                  <a:pt x="173" y="532"/>
                  <a:pt x="173" y="532"/>
                  <a:pt x="173" y="532"/>
                </a:cubicBezTo>
                <a:cubicBezTo>
                  <a:pt x="173" y="534"/>
                  <a:pt x="173" y="535"/>
                  <a:pt x="172" y="535"/>
                </a:cubicBezTo>
                <a:cubicBezTo>
                  <a:pt x="163" y="539"/>
                  <a:pt x="163" y="539"/>
                  <a:pt x="163" y="539"/>
                </a:cubicBezTo>
                <a:cubicBezTo>
                  <a:pt x="163" y="539"/>
                  <a:pt x="163" y="540"/>
                  <a:pt x="163" y="541"/>
                </a:cubicBezTo>
                <a:cubicBezTo>
                  <a:pt x="170" y="547"/>
                  <a:pt x="170" y="547"/>
                  <a:pt x="170" y="547"/>
                </a:cubicBezTo>
                <a:cubicBezTo>
                  <a:pt x="171" y="548"/>
                  <a:pt x="171" y="549"/>
                  <a:pt x="170" y="550"/>
                </a:cubicBezTo>
                <a:cubicBezTo>
                  <a:pt x="167" y="555"/>
                  <a:pt x="167" y="555"/>
                  <a:pt x="167" y="555"/>
                </a:cubicBezTo>
                <a:cubicBezTo>
                  <a:pt x="167" y="556"/>
                  <a:pt x="166" y="557"/>
                  <a:pt x="164" y="557"/>
                </a:cubicBezTo>
                <a:cubicBezTo>
                  <a:pt x="156" y="554"/>
                  <a:pt x="156" y="554"/>
                  <a:pt x="156" y="554"/>
                </a:cubicBezTo>
                <a:cubicBezTo>
                  <a:pt x="156" y="554"/>
                  <a:pt x="155" y="555"/>
                  <a:pt x="155" y="555"/>
                </a:cubicBezTo>
                <a:cubicBezTo>
                  <a:pt x="156" y="564"/>
                  <a:pt x="156" y="564"/>
                  <a:pt x="156" y="564"/>
                </a:cubicBezTo>
                <a:cubicBezTo>
                  <a:pt x="157" y="565"/>
                  <a:pt x="156" y="566"/>
                  <a:pt x="155" y="566"/>
                </a:cubicBezTo>
                <a:cubicBezTo>
                  <a:pt x="149" y="569"/>
                  <a:pt x="149" y="569"/>
                  <a:pt x="149" y="569"/>
                </a:cubicBezTo>
                <a:cubicBezTo>
                  <a:pt x="148" y="570"/>
                  <a:pt x="147" y="569"/>
                  <a:pt x="147" y="568"/>
                </a:cubicBezTo>
                <a:cubicBezTo>
                  <a:pt x="141" y="561"/>
                  <a:pt x="141" y="561"/>
                  <a:pt x="141" y="561"/>
                </a:cubicBezTo>
                <a:cubicBezTo>
                  <a:pt x="141" y="561"/>
                  <a:pt x="140" y="561"/>
                  <a:pt x="139" y="561"/>
                </a:cubicBezTo>
                <a:cubicBezTo>
                  <a:pt x="138" y="561"/>
                  <a:pt x="138" y="561"/>
                  <a:pt x="138" y="561"/>
                </a:cubicBezTo>
                <a:close/>
                <a:moveTo>
                  <a:pt x="139" y="549"/>
                </a:moveTo>
                <a:cubicBezTo>
                  <a:pt x="146" y="549"/>
                  <a:pt x="152" y="543"/>
                  <a:pt x="152" y="536"/>
                </a:cubicBezTo>
                <a:cubicBezTo>
                  <a:pt x="152" y="528"/>
                  <a:pt x="146" y="523"/>
                  <a:pt x="139" y="523"/>
                </a:cubicBezTo>
                <a:cubicBezTo>
                  <a:pt x="131" y="523"/>
                  <a:pt x="125" y="528"/>
                  <a:pt x="125" y="536"/>
                </a:cubicBezTo>
                <a:cubicBezTo>
                  <a:pt x="125" y="543"/>
                  <a:pt x="131" y="549"/>
                  <a:pt x="139" y="549"/>
                </a:cubicBezTo>
                <a:close/>
                <a:moveTo>
                  <a:pt x="215" y="674"/>
                </a:moveTo>
                <a:cubicBezTo>
                  <a:pt x="215" y="670"/>
                  <a:pt x="213" y="668"/>
                  <a:pt x="210" y="668"/>
                </a:cubicBezTo>
                <a:cubicBezTo>
                  <a:pt x="206" y="668"/>
                  <a:pt x="204" y="670"/>
                  <a:pt x="204" y="674"/>
                </a:cubicBezTo>
                <a:cubicBezTo>
                  <a:pt x="204" y="677"/>
                  <a:pt x="206" y="679"/>
                  <a:pt x="210" y="679"/>
                </a:cubicBezTo>
                <a:cubicBezTo>
                  <a:pt x="213" y="679"/>
                  <a:pt x="215" y="677"/>
                  <a:pt x="215" y="674"/>
                </a:cubicBezTo>
                <a:close/>
                <a:moveTo>
                  <a:pt x="144" y="536"/>
                </a:moveTo>
                <a:cubicBezTo>
                  <a:pt x="144" y="533"/>
                  <a:pt x="142" y="530"/>
                  <a:pt x="139" y="530"/>
                </a:cubicBezTo>
                <a:cubicBezTo>
                  <a:pt x="135" y="530"/>
                  <a:pt x="133" y="533"/>
                  <a:pt x="133" y="536"/>
                </a:cubicBezTo>
                <a:cubicBezTo>
                  <a:pt x="133" y="539"/>
                  <a:pt x="135" y="542"/>
                  <a:pt x="139" y="542"/>
                </a:cubicBezTo>
                <a:cubicBezTo>
                  <a:pt x="142" y="542"/>
                  <a:pt x="144" y="539"/>
                  <a:pt x="144" y="536"/>
                </a:cubicBezTo>
                <a:close/>
                <a:moveTo>
                  <a:pt x="280" y="128"/>
                </a:moveTo>
                <a:cubicBezTo>
                  <a:pt x="284" y="128"/>
                  <a:pt x="286" y="125"/>
                  <a:pt x="286" y="122"/>
                </a:cubicBezTo>
                <a:cubicBezTo>
                  <a:pt x="286" y="120"/>
                  <a:pt x="285" y="118"/>
                  <a:pt x="283" y="117"/>
                </a:cubicBezTo>
                <a:cubicBezTo>
                  <a:pt x="280" y="119"/>
                  <a:pt x="277" y="121"/>
                  <a:pt x="275" y="123"/>
                </a:cubicBezTo>
                <a:cubicBezTo>
                  <a:pt x="275" y="126"/>
                  <a:pt x="277" y="128"/>
                  <a:pt x="280" y="128"/>
                </a:cubicBezTo>
                <a:close/>
                <a:moveTo>
                  <a:pt x="561" y="501"/>
                </a:moveTo>
                <a:cubicBezTo>
                  <a:pt x="567" y="501"/>
                  <a:pt x="567" y="501"/>
                  <a:pt x="567" y="501"/>
                </a:cubicBezTo>
                <a:cubicBezTo>
                  <a:pt x="568" y="501"/>
                  <a:pt x="569" y="502"/>
                  <a:pt x="569" y="503"/>
                </a:cubicBezTo>
                <a:cubicBezTo>
                  <a:pt x="571" y="512"/>
                  <a:pt x="571" y="512"/>
                  <a:pt x="571" y="512"/>
                </a:cubicBezTo>
                <a:cubicBezTo>
                  <a:pt x="572" y="512"/>
                  <a:pt x="573" y="512"/>
                  <a:pt x="574" y="513"/>
                </a:cubicBezTo>
                <a:cubicBezTo>
                  <a:pt x="581" y="507"/>
                  <a:pt x="581" y="507"/>
                  <a:pt x="581" y="507"/>
                </a:cubicBezTo>
                <a:cubicBezTo>
                  <a:pt x="582" y="507"/>
                  <a:pt x="583" y="507"/>
                  <a:pt x="584" y="507"/>
                </a:cubicBezTo>
                <a:cubicBezTo>
                  <a:pt x="589" y="511"/>
                  <a:pt x="589" y="511"/>
                  <a:pt x="589" y="511"/>
                </a:cubicBezTo>
                <a:cubicBezTo>
                  <a:pt x="589" y="512"/>
                  <a:pt x="590" y="513"/>
                  <a:pt x="589" y="514"/>
                </a:cubicBezTo>
                <a:cubicBezTo>
                  <a:pt x="585" y="522"/>
                  <a:pt x="585" y="522"/>
                  <a:pt x="585" y="522"/>
                </a:cubicBezTo>
                <a:cubicBezTo>
                  <a:pt x="585" y="523"/>
                  <a:pt x="586" y="523"/>
                  <a:pt x="586" y="524"/>
                </a:cubicBezTo>
                <a:cubicBezTo>
                  <a:pt x="595" y="524"/>
                  <a:pt x="595" y="524"/>
                  <a:pt x="595" y="524"/>
                </a:cubicBezTo>
                <a:cubicBezTo>
                  <a:pt x="596" y="524"/>
                  <a:pt x="597" y="525"/>
                  <a:pt x="597" y="527"/>
                </a:cubicBezTo>
                <a:cubicBezTo>
                  <a:pt x="599" y="532"/>
                  <a:pt x="599" y="532"/>
                  <a:pt x="599" y="532"/>
                </a:cubicBezTo>
                <a:cubicBezTo>
                  <a:pt x="599" y="534"/>
                  <a:pt x="598" y="535"/>
                  <a:pt x="597" y="535"/>
                </a:cubicBezTo>
                <a:cubicBezTo>
                  <a:pt x="589" y="539"/>
                  <a:pt x="589" y="539"/>
                  <a:pt x="589" y="539"/>
                </a:cubicBezTo>
                <a:cubicBezTo>
                  <a:pt x="589" y="539"/>
                  <a:pt x="589" y="540"/>
                  <a:pt x="588" y="541"/>
                </a:cubicBezTo>
                <a:cubicBezTo>
                  <a:pt x="595" y="547"/>
                  <a:pt x="595" y="547"/>
                  <a:pt x="595" y="547"/>
                </a:cubicBezTo>
                <a:cubicBezTo>
                  <a:pt x="596" y="548"/>
                  <a:pt x="596" y="549"/>
                  <a:pt x="596" y="550"/>
                </a:cubicBezTo>
                <a:cubicBezTo>
                  <a:pt x="593" y="555"/>
                  <a:pt x="593" y="555"/>
                  <a:pt x="593" y="555"/>
                </a:cubicBezTo>
                <a:cubicBezTo>
                  <a:pt x="592" y="556"/>
                  <a:pt x="591" y="557"/>
                  <a:pt x="590" y="557"/>
                </a:cubicBezTo>
                <a:cubicBezTo>
                  <a:pt x="581" y="554"/>
                  <a:pt x="581" y="554"/>
                  <a:pt x="581" y="554"/>
                </a:cubicBezTo>
                <a:cubicBezTo>
                  <a:pt x="581" y="554"/>
                  <a:pt x="581" y="555"/>
                  <a:pt x="580" y="555"/>
                </a:cubicBezTo>
                <a:cubicBezTo>
                  <a:pt x="582" y="564"/>
                  <a:pt x="582" y="564"/>
                  <a:pt x="582" y="564"/>
                </a:cubicBezTo>
                <a:cubicBezTo>
                  <a:pt x="582" y="565"/>
                  <a:pt x="582" y="566"/>
                  <a:pt x="581" y="566"/>
                </a:cubicBezTo>
                <a:cubicBezTo>
                  <a:pt x="575" y="569"/>
                  <a:pt x="575" y="569"/>
                  <a:pt x="575" y="569"/>
                </a:cubicBezTo>
                <a:cubicBezTo>
                  <a:pt x="574" y="570"/>
                  <a:pt x="573" y="569"/>
                  <a:pt x="572" y="568"/>
                </a:cubicBezTo>
                <a:cubicBezTo>
                  <a:pt x="567" y="561"/>
                  <a:pt x="567" y="561"/>
                  <a:pt x="567" y="561"/>
                </a:cubicBezTo>
                <a:cubicBezTo>
                  <a:pt x="566" y="561"/>
                  <a:pt x="565" y="561"/>
                  <a:pt x="564" y="561"/>
                </a:cubicBezTo>
                <a:cubicBezTo>
                  <a:pt x="564" y="561"/>
                  <a:pt x="564" y="561"/>
                  <a:pt x="564" y="561"/>
                </a:cubicBezTo>
                <a:cubicBezTo>
                  <a:pt x="559" y="569"/>
                  <a:pt x="559" y="569"/>
                  <a:pt x="559" y="569"/>
                </a:cubicBezTo>
                <a:cubicBezTo>
                  <a:pt x="559" y="570"/>
                  <a:pt x="558" y="570"/>
                  <a:pt x="557" y="570"/>
                </a:cubicBezTo>
                <a:cubicBezTo>
                  <a:pt x="551" y="568"/>
                  <a:pt x="551" y="568"/>
                  <a:pt x="551" y="568"/>
                </a:cubicBezTo>
                <a:cubicBezTo>
                  <a:pt x="550" y="568"/>
                  <a:pt x="549" y="567"/>
                  <a:pt x="549" y="566"/>
                </a:cubicBezTo>
                <a:cubicBezTo>
                  <a:pt x="550" y="557"/>
                  <a:pt x="550" y="557"/>
                  <a:pt x="550" y="557"/>
                </a:cubicBezTo>
                <a:cubicBezTo>
                  <a:pt x="549" y="556"/>
                  <a:pt x="548" y="555"/>
                  <a:pt x="547" y="555"/>
                </a:cubicBezTo>
                <a:cubicBezTo>
                  <a:pt x="539" y="558"/>
                  <a:pt x="539" y="558"/>
                  <a:pt x="539" y="558"/>
                </a:cubicBezTo>
                <a:cubicBezTo>
                  <a:pt x="538" y="558"/>
                  <a:pt x="537" y="558"/>
                  <a:pt x="536" y="557"/>
                </a:cubicBezTo>
                <a:cubicBezTo>
                  <a:pt x="533" y="552"/>
                  <a:pt x="533" y="552"/>
                  <a:pt x="533" y="552"/>
                </a:cubicBezTo>
                <a:cubicBezTo>
                  <a:pt x="532" y="551"/>
                  <a:pt x="532" y="550"/>
                  <a:pt x="533" y="549"/>
                </a:cubicBezTo>
                <a:cubicBezTo>
                  <a:pt x="540" y="542"/>
                  <a:pt x="540" y="543"/>
                  <a:pt x="540" y="543"/>
                </a:cubicBezTo>
                <a:cubicBezTo>
                  <a:pt x="540" y="541"/>
                  <a:pt x="539" y="540"/>
                  <a:pt x="539" y="539"/>
                </a:cubicBezTo>
                <a:cubicBezTo>
                  <a:pt x="531" y="535"/>
                  <a:pt x="531" y="535"/>
                  <a:pt x="531" y="535"/>
                </a:cubicBezTo>
                <a:cubicBezTo>
                  <a:pt x="530" y="535"/>
                  <a:pt x="529" y="534"/>
                  <a:pt x="529" y="533"/>
                </a:cubicBezTo>
                <a:cubicBezTo>
                  <a:pt x="530" y="527"/>
                  <a:pt x="530" y="527"/>
                  <a:pt x="530" y="527"/>
                </a:cubicBezTo>
                <a:cubicBezTo>
                  <a:pt x="531" y="525"/>
                  <a:pt x="532" y="524"/>
                  <a:pt x="533" y="524"/>
                </a:cubicBezTo>
                <a:cubicBezTo>
                  <a:pt x="542" y="524"/>
                  <a:pt x="542" y="524"/>
                  <a:pt x="542" y="524"/>
                </a:cubicBezTo>
                <a:cubicBezTo>
                  <a:pt x="542" y="523"/>
                  <a:pt x="543" y="523"/>
                  <a:pt x="543" y="522"/>
                </a:cubicBezTo>
                <a:cubicBezTo>
                  <a:pt x="539" y="514"/>
                  <a:pt x="539" y="514"/>
                  <a:pt x="539" y="514"/>
                </a:cubicBezTo>
                <a:cubicBezTo>
                  <a:pt x="538" y="513"/>
                  <a:pt x="538" y="512"/>
                  <a:pt x="539" y="511"/>
                </a:cubicBezTo>
                <a:cubicBezTo>
                  <a:pt x="544" y="507"/>
                  <a:pt x="544" y="507"/>
                  <a:pt x="544" y="507"/>
                </a:cubicBezTo>
                <a:cubicBezTo>
                  <a:pt x="545" y="507"/>
                  <a:pt x="546" y="507"/>
                  <a:pt x="547" y="507"/>
                </a:cubicBezTo>
                <a:cubicBezTo>
                  <a:pt x="554" y="513"/>
                  <a:pt x="554" y="513"/>
                  <a:pt x="554" y="513"/>
                </a:cubicBezTo>
                <a:cubicBezTo>
                  <a:pt x="555" y="512"/>
                  <a:pt x="556" y="512"/>
                  <a:pt x="557" y="512"/>
                </a:cubicBezTo>
                <a:cubicBezTo>
                  <a:pt x="559" y="503"/>
                  <a:pt x="559" y="503"/>
                  <a:pt x="559" y="503"/>
                </a:cubicBezTo>
                <a:cubicBezTo>
                  <a:pt x="559" y="502"/>
                  <a:pt x="560" y="501"/>
                  <a:pt x="561" y="501"/>
                </a:cubicBezTo>
                <a:close/>
                <a:moveTo>
                  <a:pt x="564" y="523"/>
                </a:moveTo>
                <a:cubicBezTo>
                  <a:pt x="557" y="523"/>
                  <a:pt x="551" y="528"/>
                  <a:pt x="551" y="536"/>
                </a:cubicBezTo>
                <a:cubicBezTo>
                  <a:pt x="551" y="543"/>
                  <a:pt x="557" y="549"/>
                  <a:pt x="564" y="549"/>
                </a:cubicBezTo>
                <a:cubicBezTo>
                  <a:pt x="571" y="549"/>
                  <a:pt x="577" y="543"/>
                  <a:pt x="577" y="536"/>
                </a:cubicBezTo>
                <a:cubicBezTo>
                  <a:pt x="577" y="528"/>
                  <a:pt x="571" y="523"/>
                  <a:pt x="564" y="523"/>
                </a:cubicBezTo>
                <a:close/>
                <a:moveTo>
                  <a:pt x="639" y="387"/>
                </a:moveTo>
                <a:cubicBezTo>
                  <a:pt x="637" y="387"/>
                  <a:pt x="636" y="387"/>
                  <a:pt x="636" y="389"/>
                </a:cubicBezTo>
                <a:cubicBezTo>
                  <a:pt x="636" y="389"/>
                  <a:pt x="636" y="389"/>
                  <a:pt x="635" y="395"/>
                </a:cubicBezTo>
                <a:cubicBezTo>
                  <a:pt x="635" y="396"/>
                  <a:pt x="636" y="397"/>
                  <a:pt x="636" y="397"/>
                </a:cubicBezTo>
                <a:cubicBezTo>
                  <a:pt x="636" y="397"/>
                  <a:pt x="636" y="397"/>
                  <a:pt x="645" y="401"/>
                </a:cubicBezTo>
                <a:cubicBezTo>
                  <a:pt x="645" y="402"/>
                  <a:pt x="645" y="403"/>
                  <a:pt x="646" y="405"/>
                </a:cubicBezTo>
                <a:cubicBezTo>
                  <a:pt x="646" y="405"/>
                  <a:pt x="646" y="405"/>
                  <a:pt x="639" y="411"/>
                </a:cubicBezTo>
                <a:cubicBezTo>
                  <a:pt x="638" y="412"/>
                  <a:pt x="638" y="413"/>
                  <a:pt x="639" y="414"/>
                </a:cubicBezTo>
                <a:cubicBezTo>
                  <a:pt x="639" y="414"/>
                  <a:pt x="639" y="414"/>
                  <a:pt x="642" y="419"/>
                </a:cubicBezTo>
                <a:cubicBezTo>
                  <a:pt x="643" y="420"/>
                  <a:pt x="644" y="420"/>
                  <a:pt x="645" y="420"/>
                </a:cubicBezTo>
                <a:cubicBezTo>
                  <a:pt x="645" y="420"/>
                  <a:pt x="645" y="420"/>
                  <a:pt x="649" y="419"/>
                </a:cubicBezTo>
                <a:cubicBezTo>
                  <a:pt x="649" y="370"/>
                  <a:pt x="649" y="370"/>
                  <a:pt x="649" y="370"/>
                </a:cubicBezTo>
                <a:cubicBezTo>
                  <a:pt x="649" y="370"/>
                  <a:pt x="647" y="371"/>
                  <a:pt x="645" y="373"/>
                </a:cubicBezTo>
                <a:cubicBezTo>
                  <a:pt x="644" y="374"/>
                  <a:pt x="644" y="375"/>
                  <a:pt x="644" y="376"/>
                </a:cubicBezTo>
                <a:cubicBezTo>
                  <a:pt x="644" y="376"/>
                  <a:pt x="644" y="376"/>
                  <a:pt x="649" y="384"/>
                </a:cubicBezTo>
                <a:cubicBezTo>
                  <a:pt x="648" y="385"/>
                  <a:pt x="648" y="386"/>
                  <a:pt x="647" y="387"/>
                </a:cubicBezTo>
                <a:cubicBezTo>
                  <a:pt x="647" y="387"/>
                  <a:pt x="647" y="387"/>
                  <a:pt x="639" y="387"/>
                </a:cubicBezTo>
                <a:close/>
                <a:moveTo>
                  <a:pt x="209" y="699"/>
                </a:moveTo>
                <a:cubicBezTo>
                  <a:pt x="205" y="707"/>
                  <a:pt x="205" y="707"/>
                  <a:pt x="205" y="707"/>
                </a:cubicBezTo>
                <a:cubicBezTo>
                  <a:pt x="204" y="708"/>
                  <a:pt x="203" y="708"/>
                  <a:pt x="202" y="708"/>
                </a:cubicBezTo>
                <a:cubicBezTo>
                  <a:pt x="196" y="706"/>
                  <a:pt x="196" y="706"/>
                  <a:pt x="196" y="706"/>
                </a:cubicBezTo>
                <a:cubicBezTo>
                  <a:pt x="195" y="706"/>
                  <a:pt x="195" y="705"/>
                  <a:pt x="195" y="703"/>
                </a:cubicBezTo>
                <a:cubicBezTo>
                  <a:pt x="195" y="694"/>
                  <a:pt x="195" y="694"/>
                  <a:pt x="195" y="694"/>
                </a:cubicBezTo>
                <a:cubicBezTo>
                  <a:pt x="195" y="694"/>
                  <a:pt x="194" y="693"/>
                  <a:pt x="193" y="693"/>
                </a:cubicBezTo>
                <a:cubicBezTo>
                  <a:pt x="184" y="696"/>
                  <a:pt x="184" y="696"/>
                  <a:pt x="184" y="696"/>
                </a:cubicBezTo>
                <a:cubicBezTo>
                  <a:pt x="184" y="696"/>
                  <a:pt x="182" y="696"/>
                  <a:pt x="182" y="695"/>
                </a:cubicBezTo>
                <a:cubicBezTo>
                  <a:pt x="178" y="690"/>
                  <a:pt x="178" y="690"/>
                  <a:pt x="178" y="690"/>
                </a:cubicBezTo>
                <a:cubicBezTo>
                  <a:pt x="178" y="689"/>
                  <a:pt x="178" y="687"/>
                  <a:pt x="179" y="686"/>
                </a:cubicBezTo>
                <a:cubicBezTo>
                  <a:pt x="185" y="680"/>
                  <a:pt x="185" y="680"/>
                  <a:pt x="185" y="680"/>
                </a:cubicBezTo>
                <a:cubicBezTo>
                  <a:pt x="185" y="679"/>
                  <a:pt x="185" y="678"/>
                  <a:pt x="185" y="676"/>
                </a:cubicBezTo>
                <a:cubicBezTo>
                  <a:pt x="176" y="673"/>
                  <a:pt x="176" y="673"/>
                  <a:pt x="176" y="673"/>
                </a:cubicBezTo>
                <a:cubicBezTo>
                  <a:pt x="175" y="673"/>
                  <a:pt x="175" y="671"/>
                  <a:pt x="175" y="670"/>
                </a:cubicBezTo>
                <a:cubicBezTo>
                  <a:pt x="176" y="664"/>
                  <a:pt x="176" y="664"/>
                  <a:pt x="176" y="664"/>
                </a:cubicBezTo>
                <a:cubicBezTo>
                  <a:pt x="176" y="663"/>
                  <a:pt x="177" y="662"/>
                  <a:pt x="178" y="662"/>
                </a:cubicBezTo>
                <a:cubicBezTo>
                  <a:pt x="187" y="662"/>
                  <a:pt x="187" y="662"/>
                  <a:pt x="187" y="662"/>
                </a:cubicBezTo>
                <a:cubicBezTo>
                  <a:pt x="187" y="661"/>
                  <a:pt x="188" y="661"/>
                  <a:pt x="188" y="660"/>
                </a:cubicBezTo>
                <a:cubicBezTo>
                  <a:pt x="184" y="652"/>
                  <a:pt x="184" y="652"/>
                  <a:pt x="184" y="652"/>
                </a:cubicBezTo>
                <a:cubicBezTo>
                  <a:pt x="184" y="651"/>
                  <a:pt x="184" y="650"/>
                  <a:pt x="185" y="649"/>
                </a:cubicBezTo>
                <a:cubicBezTo>
                  <a:pt x="189" y="645"/>
                  <a:pt x="189" y="645"/>
                  <a:pt x="189" y="645"/>
                </a:cubicBezTo>
                <a:cubicBezTo>
                  <a:pt x="190" y="644"/>
                  <a:pt x="191" y="644"/>
                  <a:pt x="192" y="645"/>
                </a:cubicBezTo>
                <a:cubicBezTo>
                  <a:pt x="199" y="650"/>
                  <a:pt x="199" y="650"/>
                  <a:pt x="199" y="650"/>
                </a:cubicBezTo>
                <a:cubicBezTo>
                  <a:pt x="200" y="650"/>
                  <a:pt x="201" y="650"/>
                  <a:pt x="202" y="650"/>
                </a:cubicBezTo>
                <a:cubicBezTo>
                  <a:pt x="204" y="641"/>
                  <a:pt x="204" y="641"/>
                  <a:pt x="204" y="641"/>
                </a:cubicBezTo>
                <a:cubicBezTo>
                  <a:pt x="204" y="640"/>
                  <a:pt x="205" y="639"/>
                  <a:pt x="206" y="639"/>
                </a:cubicBezTo>
                <a:cubicBezTo>
                  <a:pt x="213" y="639"/>
                  <a:pt x="213" y="639"/>
                  <a:pt x="213" y="639"/>
                </a:cubicBezTo>
                <a:cubicBezTo>
                  <a:pt x="214" y="639"/>
                  <a:pt x="215" y="640"/>
                  <a:pt x="215" y="641"/>
                </a:cubicBezTo>
                <a:cubicBezTo>
                  <a:pt x="217" y="650"/>
                  <a:pt x="217" y="650"/>
                  <a:pt x="217" y="650"/>
                </a:cubicBezTo>
                <a:cubicBezTo>
                  <a:pt x="218" y="650"/>
                  <a:pt x="218" y="650"/>
                  <a:pt x="219" y="650"/>
                </a:cubicBezTo>
                <a:cubicBezTo>
                  <a:pt x="226" y="645"/>
                  <a:pt x="226" y="645"/>
                  <a:pt x="226" y="645"/>
                </a:cubicBezTo>
                <a:cubicBezTo>
                  <a:pt x="227" y="644"/>
                  <a:pt x="229" y="644"/>
                  <a:pt x="229" y="645"/>
                </a:cubicBezTo>
                <a:cubicBezTo>
                  <a:pt x="234" y="649"/>
                  <a:pt x="234" y="649"/>
                  <a:pt x="234" y="649"/>
                </a:cubicBezTo>
                <a:cubicBezTo>
                  <a:pt x="235" y="650"/>
                  <a:pt x="235" y="651"/>
                  <a:pt x="235" y="652"/>
                </a:cubicBezTo>
                <a:cubicBezTo>
                  <a:pt x="230" y="660"/>
                  <a:pt x="230" y="660"/>
                  <a:pt x="230" y="660"/>
                </a:cubicBezTo>
                <a:cubicBezTo>
                  <a:pt x="231" y="661"/>
                  <a:pt x="231" y="661"/>
                  <a:pt x="232" y="662"/>
                </a:cubicBezTo>
                <a:cubicBezTo>
                  <a:pt x="241" y="662"/>
                  <a:pt x="241" y="662"/>
                  <a:pt x="241" y="662"/>
                </a:cubicBezTo>
                <a:cubicBezTo>
                  <a:pt x="242" y="662"/>
                  <a:pt x="243" y="663"/>
                  <a:pt x="243" y="664"/>
                </a:cubicBezTo>
                <a:cubicBezTo>
                  <a:pt x="244" y="670"/>
                  <a:pt x="244" y="670"/>
                  <a:pt x="244" y="670"/>
                </a:cubicBezTo>
                <a:cubicBezTo>
                  <a:pt x="244" y="671"/>
                  <a:pt x="244" y="673"/>
                  <a:pt x="243" y="673"/>
                </a:cubicBezTo>
                <a:cubicBezTo>
                  <a:pt x="234" y="676"/>
                  <a:pt x="234" y="676"/>
                  <a:pt x="234" y="676"/>
                </a:cubicBezTo>
                <a:cubicBezTo>
                  <a:pt x="234" y="677"/>
                  <a:pt x="234" y="678"/>
                  <a:pt x="234" y="679"/>
                </a:cubicBezTo>
                <a:cubicBezTo>
                  <a:pt x="241" y="685"/>
                  <a:pt x="241" y="685"/>
                  <a:pt x="241" y="685"/>
                </a:cubicBezTo>
                <a:cubicBezTo>
                  <a:pt x="241" y="686"/>
                  <a:pt x="242" y="687"/>
                  <a:pt x="241" y="688"/>
                </a:cubicBezTo>
                <a:cubicBezTo>
                  <a:pt x="238" y="693"/>
                  <a:pt x="238" y="693"/>
                  <a:pt x="238" y="693"/>
                </a:cubicBezTo>
                <a:cubicBezTo>
                  <a:pt x="238" y="694"/>
                  <a:pt x="237" y="695"/>
                  <a:pt x="235" y="694"/>
                </a:cubicBezTo>
                <a:cubicBezTo>
                  <a:pt x="227" y="692"/>
                  <a:pt x="227" y="692"/>
                  <a:pt x="227" y="692"/>
                </a:cubicBezTo>
                <a:cubicBezTo>
                  <a:pt x="226" y="692"/>
                  <a:pt x="226" y="692"/>
                  <a:pt x="226" y="693"/>
                </a:cubicBezTo>
                <a:cubicBezTo>
                  <a:pt x="227" y="702"/>
                  <a:pt x="227" y="702"/>
                  <a:pt x="227" y="702"/>
                </a:cubicBezTo>
                <a:cubicBezTo>
                  <a:pt x="228" y="703"/>
                  <a:pt x="227" y="704"/>
                  <a:pt x="226" y="704"/>
                </a:cubicBezTo>
                <a:cubicBezTo>
                  <a:pt x="220" y="707"/>
                  <a:pt x="220" y="707"/>
                  <a:pt x="220" y="707"/>
                </a:cubicBezTo>
                <a:cubicBezTo>
                  <a:pt x="219" y="707"/>
                  <a:pt x="218" y="707"/>
                  <a:pt x="218" y="706"/>
                </a:cubicBezTo>
                <a:cubicBezTo>
                  <a:pt x="212" y="698"/>
                  <a:pt x="212" y="698"/>
                  <a:pt x="212" y="698"/>
                </a:cubicBezTo>
                <a:cubicBezTo>
                  <a:pt x="211" y="699"/>
                  <a:pt x="210" y="699"/>
                  <a:pt x="210" y="699"/>
                </a:cubicBezTo>
                <a:cubicBezTo>
                  <a:pt x="209" y="699"/>
                  <a:pt x="209" y="699"/>
                  <a:pt x="209" y="699"/>
                </a:cubicBezTo>
                <a:close/>
                <a:moveTo>
                  <a:pt x="210" y="687"/>
                </a:moveTo>
                <a:cubicBezTo>
                  <a:pt x="217" y="687"/>
                  <a:pt x="223" y="681"/>
                  <a:pt x="223" y="674"/>
                </a:cubicBezTo>
                <a:cubicBezTo>
                  <a:pt x="223" y="666"/>
                  <a:pt x="217" y="660"/>
                  <a:pt x="210" y="660"/>
                </a:cubicBezTo>
                <a:cubicBezTo>
                  <a:pt x="202" y="660"/>
                  <a:pt x="196" y="666"/>
                  <a:pt x="196" y="674"/>
                </a:cubicBezTo>
                <a:cubicBezTo>
                  <a:pt x="196" y="681"/>
                  <a:pt x="202" y="687"/>
                  <a:pt x="210" y="687"/>
                </a:cubicBezTo>
                <a:close/>
                <a:moveTo>
                  <a:pt x="73" y="536"/>
                </a:moveTo>
                <a:cubicBezTo>
                  <a:pt x="73" y="533"/>
                  <a:pt x="71" y="530"/>
                  <a:pt x="68" y="530"/>
                </a:cubicBezTo>
                <a:cubicBezTo>
                  <a:pt x="64" y="530"/>
                  <a:pt x="62" y="533"/>
                  <a:pt x="62" y="536"/>
                </a:cubicBezTo>
                <a:cubicBezTo>
                  <a:pt x="62" y="539"/>
                  <a:pt x="64" y="542"/>
                  <a:pt x="68" y="542"/>
                </a:cubicBezTo>
                <a:cubicBezTo>
                  <a:pt x="71" y="542"/>
                  <a:pt x="73" y="539"/>
                  <a:pt x="73" y="536"/>
                </a:cubicBezTo>
                <a:close/>
                <a:moveTo>
                  <a:pt x="280" y="266"/>
                </a:moveTo>
                <a:cubicBezTo>
                  <a:pt x="284" y="266"/>
                  <a:pt x="286" y="263"/>
                  <a:pt x="286" y="260"/>
                </a:cubicBezTo>
                <a:cubicBezTo>
                  <a:pt x="286" y="257"/>
                  <a:pt x="284" y="255"/>
                  <a:pt x="280" y="255"/>
                </a:cubicBezTo>
                <a:cubicBezTo>
                  <a:pt x="277" y="255"/>
                  <a:pt x="275" y="257"/>
                  <a:pt x="275" y="260"/>
                </a:cubicBezTo>
                <a:cubicBezTo>
                  <a:pt x="275" y="263"/>
                  <a:pt x="277" y="266"/>
                  <a:pt x="280" y="266"/>
                </a:cubicBezTo>
                <a:close/>
                <a:moveTo>
                  <a:pt x="277" y="225"/>
                </a:moveTo>
                <a:cubicBezTo>
                  <a:pt x="284" y="225"/>
                  <a:pt x="284" y="225"/>
                  <a:pt x="284" y="225"/>
                </a:cubicBezTo>
                <a:cubicBezTo>
                  <a:pt x="284" y="225"/>
                  <a:pt x="286" y="226"/>
                  <a:pt x="286" y="227"/>
                </a:cubicBezTo>
                <a:cubicBezTo>
                  <a:pt x="288" y="236"/>
                  <a:pt x="288" y="236"/>
                  <a:pt x="288" y="236"/>
                </a:cubicBezTo>
                <a:cubicBezTo>
                  <a:pt x="288" y="236"/>
                  <a:pt x="289" y="237"/>
                  <a:pt x="290" y="237"/>
                </a:cubicBezTo>
                <a:cubicBezTo>
                  <a:pt x="297" y="232"/>
                  <a:pt x="297" y="232"/>
                  <a:pt x="297" y="232"/>
                </a:cubicBezTo>
                <a:cubicBezTo>
                  <a:pt x="298" y="231"/>
                  <a:pt x="299" y="231"/>
                  <a:pt x="300" y="232"/>
                </a:cubicBezTo>
                <a:cubicBezTo>
                  <a:pt x="305" y="236"/>
                  <a:pt x="305" y="236"/>
                  <a:pt x="305" y="236"/>
                </a:cubicBezTo>
                <a:cubicBezTo>
                  <a:pt x="306" y="236"/>
                  <a:pt x="306" y="238"/>
                  <a:pt x="306" y="239"/>
                </a:cubicBezTo>
                <a:cubicBezTo>
                  <a:pt x="301" y="247"/>
                  <a:pt x="301" y="247"/>
                  <a:pt x="301" y="247"/>
                </a:cubicBezTo>
                <a:cubicBezTo>
                  <a:pt x="302" y="247"/>
                  <a:pt x="302" y="248"/>
                  <a:pt x="303" y="249"/>
                </a:cubicBezTo>
                <a:cubicBezTo>
                  <a:pt x="312" y="249"/>
                  <a:pt x="312" y="249"/>
                  <a:pt x="312" y="249"/>
                </a:cubicBezTo>
                <a:cubicBezTo>
                  <a:pt x="313" y="249"/>
                  <a:pt x="314" y="250"/>
                  <a:pt x="314" y="251"/>
                </a:cubicBezTo>
                <a:cubicBezTo>
                  <a:pt x="315" y="257"/>
                  <a:pt x="315" y="257"/>
                  <a:pt x="315" y="257"/>
                </a:cubicBezTo>
                <a:cubicBezTo>
                  <a:pt x="315" y="258"/>
                  <a:pt x="314" y="259"/>
                  <a:pt x="314" y="260"/>
                </a:cubicBezTo>
                <a:cubicBezTo>
                  <a:pt x="305" y="263"/>
                  <a:pt x="305" y="263"/>
                  <a:pt x="305" y="263"/>
                </a:cubicBezTo>
                <a:cubicBezTo>
                  <a:pt x="305" y="264"/>
                  <a:pt x="305" y="265"/>
                  <a:pt x="305" y="266"/>
                </a:cubicBezTo>
                <a:cubicBezTo>
                  <a:pt x="312" y="272"/>
                  <a:pt x="312" y="272"/>
                  <a:pt x="312" y="272"/>
                </a:cubicBezTo>
                <a:cubicBezTo>
                  <a:pt x="312" y="272"/>
                  <a:pt x="313" y="273"/>
                  <a:pt x="312" y="274"/>
                </a:cubicBezTo>
                <a:cubicBezTo>
                  <a:pt x="309" y="280"/>
                  <a:pt x="309" y="280"/>
                  <a:pt x="309" y="280"/>
                </a:cubicBezTo>
                <a:cubicBezTo>
                  <a:pt x="309" y="281"/>
                  <a:pt x="307" y="281"/>
                  <a:pt x="306" y="281"/>
                </a:cubicBezTo>
                <a:cubicBezTo>
                  <a:pt x="298" y="278"/>
                  <a:pt x="298" y="278"/>
                  <a:pt x="298" y="278"/>
                </a:cubicBezTo>
                <a:cubicBezTo>
                  <a:pt x="297" y="279"/>
                  <a:pt x="297" y="279"/>
                  <a:pt x="296" y="280"/>
                </a:cubicBezTo>
                <a:cubicBezTo>
                  <a:pt x="298" y="288"/>
                  <a:pt x="298" y="288"/>
                  <a:pt x="298" y="288"/>
                </a:cubicBezTo>
                <a:cubicBezTo>
                  <a:pt x="299" y="289"/>
                  <a:pt x="298" y="291"/>
                  <a:pt x="297" y="291"/>
                </a:cubicBezTo>
                <a:cubicBezTo>
                  <a:pt x="291" y="293"/>
                  <a:pt x="291" y="293"/>
                  <a:pt x="291" y="293"/>
                </a:cubicBezTo>
                <a:cubicBezTo>
                  <a:pt x="290" y="294"/>
                  <a:pt x="289" y="293"/>
                  <a:pt x="288" y="293"/>
                </a:cubicBezTo>
                <a:cubicBezTo>
                  <a:pt x="283" y="285"/>
                  <a:pt x="283" y="285"/>
                  <a:pt x="283" y="285"/>
                </a:cubicBezTo>
                <a:cubicBezTo>
                  <a:pt x="282" y="285"/>
                  <a:pt x="281" y="285"/>
                  <a:pt x="280" y="285"/>
                </a:cubicBezTo>
                <a:cubicBezTo>
                  <a:pt x="280" y="285"/>
                  <a:pt x="280" y="285"/>
                  <a:pt x="280" y="285"/>
                </a:cubicBezTo>
                <a:cubicBezTo>
                  <a:pt x="276" y="293"/>
                  <a:pt x="276" y="293"/>
                  <a:pt x="276" y="293"/>
                </a:cubicBezTo>
                <a:cubicBezTo>
                  <a:pt x="275" y="294"/>
                  <a:pt x="274" y="295"/>
                  <a:pt x="273" y="294"/>
                </a:cubicBezTo>
                <a:cubicBezTo>
                  <a:pt x="267" y="292"/>
                  <a:pt x="267" y="292"/>
                  <a:pt x="267" y="292"/>
                </a:cubicBezTo>
                <a:cubicBezTo>
                  <a:pt x="266" y="292"/>
                  <a:pt x="265" y="291"/>
                  <a:pt x="265" y="290"/>
                </a:cubicBezTo>
                <a:cubicBezTo>
                  <a:pt x="266" y="281"/>
                  <a:pt x="266" y="281"/>
                  <a:pt x="266" y="281"/>
                </a:cubicBezTo>
                <a:cubicBezTo>
                  <a:pt x="265" y="280"/>
                  <a:pt x="265" y="280"/>
                  <a:pt x="264" y="279"/>
                </a:cubicBezTo>
                <a:cubicBezTo>
                  <a:pt x="255" y="282"/>
                  <a:pt x="255" y="282"/>
                  <a:pt x="255" y="282"/>
                </a:cubicBezTo>
                <a:cubicBezTo>
                  <a:pt x="254" y="283"/>
                  <a:pt x="253" y="282"/>
                  <a:pt x="253" y="281"/>
                </a:cubicBezTo>
                <a:cubicBezTo>
                  <a:pt x="249" y="276"/>
                  <a:pt x="249" y="276"/>
                  <a:pt x="249" y="276"/>
                </a:cubicBezTo>
                <a:cubicBezTo>
                  <a:pt x="249" y="275"/>
                  <a:pt x="249" y="274"/>
                  <a:pt x="250" y="273"/>
                </a:cubicBezTo>
                <a:cubicBezTo>
                  <a:pt x="256" y="267"/>
                  <a:pt x="256" y="267"/>
                  <a:pt x="256" y="267"/>
                </a:cubicBezTo>
                <a:cubicBezTo>
                  <a:pt x="256" y="266"/>
                  <a:pt x="256" y="264"/>
                  <a:pt x="256" y="263"/>
                </a:cubicBezTo>
                <a:cubicBezTo>
                  <a:pt x="247" y="260"/>
                  <a:pt x="247" y="260"/>
                  <a:pt x="247" y="260"/>
                </a:cubicBezTo>
                <a:cubicBezTo>
                  <a:pt x="246" y="259"/>
                  <a:pt x="246" y="258"/>
                  <a:pt x="246" y="257"/>
                </a:cubicBezTo>
                <a:cubicBezTo>
                  <a:pt x="247" y="251"/>
                  <a:pt x="247" y="251"/>
                  <a:pt x="247" y="251"/>
                </a:cubicBezTo>
                <a:cubicBezTo>
                  <a:pt x="247" y="250"/>
                  <a:pt x="248" y="249"/>
                  <a:pt x="249" y="249"/>
                </a:cubicBezTo>
                <a:cubicBezTo>
                  <a:pt x="258" y="249"/>
                  <a:pt x="258" y="249"/>
                  <a:pt x="258" y="249"/>
                </a:cubicBezTo>
                <a:cubicBezTo>
                  <a:pt x="258" y="248"/>
                  <a:pt x="259" y="247"/>
                  <a:pt x="259" y="247"/>
                </a:cubicBezTo>
                <a:cubicBezTo>
                  <a:pt x="255" y="239"/>
                  <a:pt x="255" y="239"/>
                  <a:pt x="255" y="239"/>
                </a:cubicBezTo>
                <a:cubicBezTo>
                  <a:pt x="254" y="238"/>
                  <a:pt x="255" y="236"/>
                  <a:pt x="256" y="236"/>
                </a:cubicBezTo>
                <a:cubicBezTo>
                  <a:pt x="260" y="232"/>
                  <a:pt x="260" y="232"/>
                  <a:pt x="260" y="232"/>
                </a:cubicBezTo>
                <a:cubicBezTo>
                  <a:pt x="261" y="231"/>
                  <a:pt x="262" y="231"/>
                  <a:pt x="263" y="232"/>
                </a:cubicBezTo>
                <a:cubicBezTo>
                  <a:pt x="270" y="237"/>
                  <a:pt x="270" y="237"/>
                  <a:pt x="270" y="237"/>
                </a:cubicBezTo>
                <a:cubicBezTo>
                  <a:pt x="271" y="237"/>
                  <a:pt x="272" y="236"/>
                  <a:pt x="273" y="236"/>
                </a:cubicBezTo>
                <a:cubicBezTo>
                  <a:pt x="275" y="227"/>
                  <a:pt x="275" y="227"/>
                  <a:pt x="275" y="227"/>
                </a:cubicBezTo>
                <a:cubicBezTo>
                  <a:pt x="275" y="226"/>
                  <a:pt x="276" y="225"/>
                  <a:pt x="277" y="225"/>
                </a:cubicBezTo>
                <a:close/>
                <a:moveTo>
                  <a:pt x="280" y="247"/>
                </a:moveTo>
                <a:cubicBezTo>
                  <a:pt x="273" y="247"/>
                  <a:pt x="267" y="253"/>
                  <a:pt x="267" y="260"/>
                </a:cubicBezTo>
                <a:cubicBezTo>
                  <a:pt x="267" y="268"/>
                  <a:pt x="273" y="273"/>
                  <a:pt x="280" y="273"/>
                </a:cubicBezTo>
                <a:cubicBezTo>
                  <a:pt x="288" y="273"/>
                  <a:pt x="294" y="268"/>
                  <a:pt x="294" y="260"/>
                </a:cubicBezTo>
                <a:cubicBezTo>
                  <a:pt x="294" y="253"/>
                  <a:pt x="288" y="247"/>
                  <a:pt x="280" y="247"/>
                </a:cubicBezTo>
                <a:close/>
                <a:moveTo>
                  <a:pt x="383" y="363"/>
                </a:moveTo>
                <a:cubicBezTo>
                  <a:pt x="389" y="363"/>
                  <a:pt x="389" y="363"/>
                  <a:pt x="389" y="363"/>
                </a:cubicBezTo>
                <a:cubicBezTo>
                  <a:pt x="390" y="363"/>
                  <a:pt x="391" y="364"/>
                  <a:pt x="391" y="365"/>
                </a:cubicBezTo>
                <a:cubicBezTo>
                  <a:pt x="393" y="374"/>
                  <a:pt x="393" y="374"/>
                  <a:pt x="393" y="374"/>
                </a:cubicBezTo>
                <a:cubicBezTo>
                  <a:pt x="394" y="374"/>
                  <a:pt x="395" y="375"/>
                  <a:pt x="396" y="375"/>
                </a:cubicBezTo>
                <a:cubicBezTo>
                  <a:pt x="403" y="369"/>
                  <a:pt x="403" y="369"/>
                  <a:pt x="403" y="369"/>
                </a:cubicBezTo>
                <a:cubicBezTo>
                  <a:pt x="404" y="369"/>
                  <a:pt x="405" y="369"/>
                  <a:pt x="406" y="369"/>
                </a:cubicBezTo>
                <a:cubicBezTo>
                  <a:pt x="411" y="373"/>
                  <a:pt x="411" y="373"/>
                  <a:pt x="411" y="373"/>
                </a:cubicBezTo>
                <a:cubicBezTo>
                  <a:pt x="412" y="374"/>
                  <a:pt x="412" y="375"/>
                  <a:pt x="411" y="376"/>
                </a:cubicBezTo>
                <a:cubicBezTo>
                  <a:pt x="407" y="384"/>
                  <a:pt x="407" y="384"/>
                  <a:pt x="407" y="384"/>
                </a:cubicBezTo>
                <a:cubicBezTo>
                  <a:pt x="407" y="385"/>
                  <a:pt x="408" y="386"/>
                  <a:pt x="408" y="387"/>
                </a:cubicBezTo>
                <a:cubicBezTo>
                  <a:pt x="418" y="387"/>
                  <a:pt x="418" y="387"/>
                  <a:pt x="418" y="387"/>
                </a:cubicBezTo>
                <a:cubicBezTo>
                  <a:pt x="418" y="387"/>
                  <a:pt x="419" y="387"/>
                  <a:pt x="420" y="389"/>
                </a:cubicBezTo>
                <a:cubicBezTo>
                  <a:pt x="421" y="395"/>
                  <a:pt x="421" y="395"/>
                  <a:pt x="421" y="395"/>
                </a:cubicBezTo>
                <a:cubicBezTo>
                  <a:pt x="421" y="396"/>
                  <a:pt x="420" y="397"/>
                  <a:pt x="419" y="397"/>
                </a:cubicBezTo>
                <a:cubicBezTo>
                  <a:pt x="411" y="401"/>
                  <a:pt x="411" y="401"/>
                  <a:pt x="411" y="401"/>
                </a:cubicBezTo>
                <a:cubicBezTo>
                  <a:pt x="411" y="402"/>
                  <a:pt x="411" y="403"/>
                  <a:pt x="410" y="403"/>
                </a:cubicBezTo>
                <a:cubicBezTo>
                  <a:pt x="418" y="409"/>
                  <a:pt x="418" y="409"/>
                  <a:pt x="418" y="409"/>
                </a:cubicBezTo>
                <a:cubicBezTo>
                  <a:pt x="418" y="410"/>
                  <a:pt x="418" y="411"/>
                  <a:pt x="418" y="412"/>
                </a:cubicBezTo>
                <a:cubicBezTo>
                  <a:pt x="415" y="418"/>
                  <a:pt x="415" y="418"/>
                  <a:pt x="415" y="418"/>
                </a:cubicBezTo>
                <a:cubicBezTo>
                  <a:pt x="414" y="419"/>
                  <a:pt x="413" y="419"/>
                  <a:pt x="412" y="419"/>
                </a:cubicBezTo>
                <a:cubicBezTo>
                  <a:pt x="403" y="416"/>
                  <a:pt x="403" y="416"/>
                  <a:pt x="403" y="416"/>
                </a:cubicBezTo>
                <a:cubicBezTo>
                  <a:pt x="403" y="416"/>
                  <a:pt x="403" y="417"/>
                  <a:pt x="402" y="417"/>
                </a:cubicBezTo>
                <a:cubicBezTo>
                  <a:pt x="404" y="426"/>
                  <a:pt x="404" y="426"/>
                  <a:pt x="404" y="426"/>
                </a:cubicBezTo>
                <a:cubicBezTo>
                  <a:pt x="404" y="427"/>
                  <a:pt x="404" y="428"/>
                  <a:pt x="403" y="429"/>
                </a:cubicBezTo>
                <a:cubicBezTo>
                  <a:pt x="397" y="431"/>
                  <a:pt x="397" y="431"/>
                  <a:pt x="397" y="431"/>
                </a:cubicBezTo>
                <a:cubicBezTo>
                  <a:pt x="396" y="432"/>
                  <a:pt x="395" y="431"/>
                  <a:pt x="394" y="431"/>
                </a:cubicBezTo>
                <a:cubicBezTo>
                  <a:pt x="389" y="423"/>
                  <a:pt x="389" y="423"/>
                  <a:pt x="389" y="423"/>
                </a:cubicBezTo>
                <a:cubicBezTo>
                  <a:pt x="388" y="423"/>
                  <a:pt x="387" y="423"/>
                  <a:pt x="386" y="423"/>
                </a:cubicBezTo>
                <a:cubicBezTo>
                  <a:pt x="386" y="423"/>
                  <a:pt x="386" y="423"/>
                  <a:pt x="386" y="423"/>
                </a:cubicBezTo>
                <a:cubicBezTo>
                  <a:pt x="382" y="431"/>
                  <a:pt x="382" y="431"/>
                  <a:pt x="382" y="431"/>
                </a:cubicBezTo>
                <a:cubicBezTo>
                  <a:pt x="381" y="432"/>
                  <a:pt x="380" y="432"/>
                  <a:pt x="379" y="432"/>
                </a:cubicBezTo>
                <a:cubicBezTo>
                  <a:pt x="373" y="430"/>
                  <a:pt x="373" y="430"/>
                  <a:pt x="373" y="430"/>
                </a:cubicBezTo>
                <a:cubicBezTo>
                  <a:pt x="372" y="430"/>
                  <a:pt x="371" y="429"/>
                  <a:pt x="371" y="428"/>
                </a:cubicBezTo>
                <a:cubicBezTo>
                  <a:pt x="372" y="419"/>
                  <a:pt x="372" y="419"/>
                  <a:pt x="372" y="419"/>
                </a:cubicBezTo>
                <a:cubicBezTo>
                  <a:pt x="371" y="418"/>
                  <a:pt x="371" y="418"/>
                  <a:pt x="370" y="417"/>
                </a:cubicBezTo>
                <a:cubicBezTo>
                  <a:pt x="361" y="420"/>
                  <a:pt x="361" y="420"/>
                  <a:pt x="361" y="420"/>
                </a:cubicBezTo>
                <a:cubicBezTo>
                  <a:pt x="360" y="420"/>
                  <a:pt x="359" y="420"/>
                  <a:pt x="358" y="419"/>
                </a:cubicBezTo>
                <a:cubicBezTo>
                  <a:pt x="355" y="414"/>
                  <a:pt x="355" y="414"/>
                  <a:pt x="355" y="414"/>
                </a:cubicBezTo>
                <a:cubicBezTo>
                  <a:pt x="355" y="413"/>
                  <a:pt x="355" y="412"/>
                  <a:pt x="356" y="411"/>
                </a:cubicBezTo>
                <a:cubicBezTo>
                  <a:pt x="362" y="405"/>
                  <a:pt x="362" y="405"/>
                  <a:pt x="362" y="405"/>
                </a:cubicBezTo>
                <a:cubicBezTo>
                  <a:pt x="362" y="403"/>
                  <a:pt x="361" y="402"/>
                  <a:pt x="361" y="401"/>
                </a:cubicBezTo>
                <a:cubicBezTo>
                  <a:pt x="353" y="397"/>
                  <a:pt x="353" y="397"/>
                  <a:pt x="353" y="397"/>
                </a:cubicBezTo>
                <a:cubicBezTo>
                  <a:pt x="352" y="397"/>
                  <a:pt x="351" y="396"/>
                  <a:pt x="352" y="395"/>
                </a:cubicBezTo>
                <a:cubicBezTo>
                  <a:pt x="353" y="389"/>
                  <a:pt x="353" y="389"/>
                  <a:pt x="353" y="389"/>
                </a:cubicBezTo>
                <a:cubicBezTo>
                  <a:pt x="353" y="387"/>
                  <a:pt x="354" y="387"/>
                  <a:pt x="355" y="387"/>
                </a:cubicBezTo>
                <a:cubicBezTo>
                  <a:pt x="364" y="387"/>
                  <a:pt x="364" y="387"/>
                  <a:pt x="364" y="387"/>
                </a:cubicBezTo>
                <a:cubicBezTo>
                  <a:pt x="364" y="386"/>
                  <a:pt x="365" y="385"/>
                  <a:pt x="365" y="384"/>
                </a:cubicBezTo>
                <a:cubicBezTo>
                  <a:pt x="361" y="376"/>
                  <a:pt x="361" y="376"/>
                  <a:pt x="361" y="376"/>
                </a:cubicBezTo>
                <a:cubicBezTo>
                  <a:pt x="360" y="375"/>
                  <a:pt x="361" y="374"/>
                  <a:pt x="361" y="373"/>
                </a:cubicBezTo>
                <a:cubicBezTo>
                  <a:pt x="366" y="369"/>
                  <a:pt x="366" y="369"/>
                  <a:pt x="366" y="369"/>
                </a:cubicBezTo>
                <a:cubicBezTo>
                  <a:pt x="367" y="369"/>
                  <a:pt x="368" y="369"/>
                  <a:pt x="369" y="369"/>
                </a:cubicBezTo>
                <a:cubicBezTo>
                  <a:pt x="376" y="375"/>
                  <a:pt x="376" y="375"/>
                  <a:pt x="376" y="375"/>
                </a:cubicBezTo>
                <a:cubicBezTo>
                  <a:pt x="377" y="375"/>
                  <a:pt x="378" y="374"/>
                  <a:pt x="379" y="374"/>
                </a:cubicBezTo>
                <a:cubicBezTo>
                  <a:pt x="381" y="365"/>
                  <a:pt x="381" y="365"/>
                  <a:pt x="381" y="365"/>
                </a:cubicBezTo>
                <a:cubicBezTo>
                  <a:pt x="381" y="364"/>
                  <a:pt x="382" y="363"/>
                  <a:pt x="383" y="363"/>
                </a:cubicBezTo>
                <a:close/>
                <a:moveTo>
                  <a:pt x="386" y="385"/>
                </a:moveTo>
                <a:cubicBezTo>
                  <a:pt x="379" y="385"/>
                  <a:pt x="373" y="391"/>
                  <a:pt x="373" y="398"/>
                </a:cubicBezTo>
                <a:cubicBezTo>
                  <a:pt x="373" y="405"/>
                  <a:pt x="379" y="411"/>
                  <a:pt x="386" y="411"/>
                </a:cubicBezTo>
                <a:cubicBezTo>
                  <a:pt x="393" y="411"/>
                  <a:pt x="399" y="405"/>
                  <a:pt x="399" y="398"/>
                </a:cubicBezTo>
                <a:cubicBezTo>
                  <a:pt x="399" y="391"/>
                  <a:pt x="393" y="385"/>
                  <a:pt x="386" y="385"/>
                </a:cubicBezTo>
                <a:close/>
                <a:moveTo>
                  <a:pt x="79" y="362"/>
                </a:moveTo>
                <a:cubicBezTo>
                  <a:pt x="79" y="362"/>
                  <a:pt x="79" y="362"/>
                  <a:pt x="84" y="360"/>
                </a:cubicBezTo>
                <a:cubicBezTo>
                  <a:pt x="85" y="359"/>
                  <a:pt x="86" y="358"/>
                  <a:pt x="86" y="357"/>
                </a:cubicBezTo>
                <a:cubicBezTo>
                  <a:pt x="86" y="357"/>
                  <a:pt x="86" y="357"/>
                  <a:pt x="84" y="348"/>
                </a:cubicBezTo>
                <a:cubicBezTo>
                  <a:pt x="84" y="348"/>
                  <a:pt x="85" y="347"/>
                  <a:pt x="85" y="347"/>
                </a:cubicBezTo>
                <a:cubicBezTo>
                  <a:pt x="85" y="347"/>
                  <a:pt x="85" y="347"/>
                  <a:pt x="94" y="350"/>
                </a:cubicBezTo>
                <a:cubicBezTo>
                  <a:pt x="95" y="350"/>
                  <a:pt x="96" y="350"/>
                  <a:pt x="97" y="349"/>
                </a:cubicBezTo>
                <a:cubicBezTo>
                  <a:pt x="97" y="349"/>
                  <a:pt x="97" y="349"/>
                  <a:pt x="99" y="343"/>
                </a:cubicBezTo>
                <a:cubicBezTo>
                  <a:pt x="100" y="342"/>
                  <a:pt x="100" y="341"/>
                  <a:pt x="99" y="340"/>
                </a:cubicBezTo>
                <a:cubicBezTo>
                  <a:pt x="99" y="340"/>
                  <a:pt x="99" y="340"/>
                  <a:pt x="92" y="335"/>
                </a:cubicBezTo>
                <a:cubicBezTo>
                  <a:pt x="92" y="334"/>
                  <a:pt x="92" y="333"/>
                  <a:pt x="93" y="332"/>
                </a:cubicBezTo>
                <a:cubicBezTo>
                  <a:pt x="93" y="332"/>
                  <a:pt x="93" y="332"/>
                  <a:pt x="101" y="328"/>
                </a:cubicBezTo>
                <a:cubicBezTo>
                  <a:pt x="102" y="328"/>
                  <a:pt x="102" y="327"/>
                  <a:pt x="102" y="326"/>
                </a:cubicBezTo>
                <a:cubicBezTo>
                  <a:pt x="101" y="320"/>
                  <a:pt x="101" y="320"/>
                  <a:pt x="101" y="320"/>
                </a:cubicBezTo>
                <a:cubicBezTo>
                  <a:pt x="101" y="319"/>
                  <a:pt x="100" y="318"/>
                  <a:pt x="99" y="318"/>
                </a:cubicBezTo>
                <a:cubicBezTo>
                  <a:pt x="99" y="318"/>
                  <a:pt x="99" y="318"/>
                  <a:pt x="95" y="318"/>
                </a:cubicBezTo>
                <a:cubicBezTo>
                  <a:pt x="87" y="331"/>
                  <a:pt x="80" y="344"/>
                  <a:pt x="73" y="358"/>
                </a:cubicBezTo>
                <a:cubicBezTo>
                  <a:pt x="74" y="359"/>
                  <a:pt x="75" y="360"/>
                  <a:pt x="76" y="362"/>
                </a:cubicBezTo>
                <a:cubicBezTo>
                  <a:pt x="76" y="362"/>
                  <a:pt x="78" y="363"/>
                  <a:pt x="79" y="362"/>
                </a:cubicBezTo>
                <a:close/>
                <a:moveTo>
                  <a:pt x="493" y="542"/>
                </a:moveTo>
                <a:cubicBezTo>
                  <a:pt x="496" y="542"/>
                  <a:pt x="499" y="539"/>
                  <a:pt x="499" y="536"/>
                </a:cubicBezTo>
                <a:cubicBezTo>
                  <a:pt x="499" y="533"/>
                  <a:pt x="496" y="530"/>
                  <a:pt x="493" y="530"/>
                </a:cubicBezTo>
                <a:cubicBezTo>
                  <a:pt x="490" y="530"/>
                  <a:pt x="487" y="533"/>
                  <a:pt x="487" y="536"/>
                </a:cubicBezTo>
                <a:cubicBezTo>
                  <a:pt x="487" y="539"/>
                  <a:pt x="490" y="542"/>
                  <a:pt x="493" y="542"/>
                </a:cubicBezTo>
                <a:close/>
                <a:moveTo>
                  <a:pt x="386" y="404"/>
                </a:moveTo>
                <a:cubicBezTo>
                  <a:pt x="389" y="404"/>
                  <a:pt x="392" y="401"/>
                  <a:pt x="392" y="398"/>
                </a:cubicBezTo>
                <a:cubicBezTo>
                  <a:pt x="392" y="395"/>
                  <a:pt x="389" y="392"/>
                  <a:pt x="386" y="392"/>
                </a:cubicBezTo>
                <a:cubicBezTo>
                  <a:pt x="383" y="392"/>
                  <a:pt x="380" y="395"/>
                  <a:pt x="380" y="398"/>
                </a:cubicBezTo>
                <a:cubicBezTo>
                  <a:pt x="380" y="401"/>
                  <a:pt x="383" y="404"/>
                  <a:pt x="386" y="404"/>
                </a:cubicBezTo>
                <a:close/>
                <a:moveTo>
                  <a:pt x="490" y="501"/>
                </a:moveTo>
                <a:cubicBezTo>
                  <a:pt x="496" y="501"/>
                  <a:pt x="496" y="501"/>
                  <a:pt x="496" y="501"/>
                </a:cubicBezTo>
                <a:cubicBezTo>
                  <a:pt x="497" y="501"/>
                  <a:pt x="498" y="502"/>
                  <a:pt x="498" y="503"/>
                </a:cubicBezTo>
                <a:cubicBezTo>
                  <a:pt x="500" y="512"/>
                  <a:pt x="500" y="512"/>
                  <a:pt x="500" y="512"/>
                </a:cubicBezTo>
                <a:cubicBezTo>
                  <a:pt x="501" y="512"/>
                  <a:pt x="502" y="512"/>
                  <a:pt x="503" y="513"/>
                </a:cubicBezTo>
                <a:cubicBezTo>
                  <a:pt x="510" y="507"/>
                  <a:pt x="510" y="507"/>
                  <a:pt x="510" y="507"/>
                </a:cubicBezTo>
                <a:cubicBezTo>
                  <a:pt x="511" y="507"/>
                  <a:pt x="512" y="507"/>
                  <a:pt x="513" y="507"/>
                </a:cubicBezTo>
                <a:cubicBezTo>
                  <a:pt x="518" y="511"/>
                  <a:pt x="518" y="511"/>
                  <a:pt x="518" y="511"/>
                </a:cubicBezTo>
                <a:cubicBezTo>
                  <a:pt x="519" y="512"/>
                  <a:pt x="519" y="513"/>
                  <a:pt x="518" y="514"/>
                </a:cubicBezTo>
                <a:cubicBezTo>
                  <a:pt x="514" y="522"/>
                  <a:pt x="514" y="522"/>
                  <a:pt x="514" y="522"/>
                </a:cubicBezTo>
                <a:cubicBezTo>
                  <a:pt x="514" y="523"/>
                  <a:pt x="515" y="523"/>
                  <a:pt x="515" y="524"/>
                </a:cubicBezTo>
                <a:cubicBezTo>
                  <a:pt x="524" y="524"/>
                  <a:pt x="524" y="524"/>
                  <a:pt x="524" y="524"/>
                </a:cubicBezTo>
                <a:cubicBezTo>
                  <a:pt x="525" y="524"/>
                  <a:pt x="526" y="525"/>
                  <a:pt x="527" y="527"/>
                </a:cubicBezTo>
                <a:cubicBezTo>
                  <a:pt x="528" y="532"/>
                  <a:pt x="528" y="532"/>
                  <a:pt x="528" y="532"/>
                </a:cubicBezTo>
                <a:cubicBezTo>
                  <a:pt x="528" y="534"/>
                  <a:pt x="527" y="535"/>
                  <a:pt x="526" y="535"/>
                </a:cubicBezTo>
                <a:cubicBezTo>
                  <a:pt x="518" y="539"/>
                  <a:pt x="518" y="539"/>
                  <a:pt x="518" y="539"/>
                </a:cubicBezTo>
                <a:cubicBezTo>
                  <a:pt x="518" y="539"/>
                  <a:pt x="518" y="540"/>
                  <a:pt x="517" y="541"/>
                </a:cubicBezTo>
                <a:cubicBezTo>
                  <a:pt x="524" y="547"/>
                  <a:pt x="524" y="547"/>
                  <a:pt x="524" y="547"/>
                </a:cubicBezTo>
                <a:cubicBezTo>
                  <a:pt x="525" y="548"/>
                  <a:pt x="525" y="549"/>
                  <a:pt x="525" y="550"/>
                </a:cubicBezTo>
                <a:cubicBezTo>
                  <a:pt x="522" y="555"/>
                  <a:pt x="522" y="555"/>
                  <a:pt x="522" y="555"/>
                </a:cubicBezTo>
                <a:cubicBezTo>
                  <a:pt x="521" y="556"/>
                  <a:pt x="520" y="557"/>
                  <a:pt x="519" y="557"/>
                </a:cubicBezTo>
                <a:cubicBezTo>
                  <a:pt x="510" y="554"/>
                  <a:pt x="510" y="554"/>
                  <a:pt x="510" y="554"/>
                </a:cubicBezTo>
                <a:cubicBezTo>
                  <a:pt x="510" y="554"/>
                  <a:pt x="510" y="555"/>
                  <a:pt x="509" y="555"/>
                </a:cubicBezTo>
                <a:cubicBezTo>
                  <a:pt x="511" y="564"/>
                  <a:pt x="511" y="564"/>
                  <a:pt x="511" y="564"/>
                </a:cubicBezTo>
                <a:cubicBezTo>
                  <a:pt x="511" y="565"/>
                  <a:pt x="511" y="566"/>
                  <a:pt x="510" y="566"/>
                </a:cubicBezTo>
                <a:cubicBezTo>
                  <a:pt x="504" y="569"/>
                  <a:pt x="504" y="569"/>
                  <a:pt x="504" y="569"/>
                </a:cubicBezTo>
                <a:cubicBezTo>
                  <a:pt x="503" y="570"/>
                  <a:pt x="502" y="569"/>
                  <a:pt x="501" y="568"/>
                </a:cubicBezTo>
                <a:cubicBezTo>
                  <a:pt x="496" y="561"/>
                  <a:pt x="496" y="561"/>
                  <a:pt x="496" y="561"/>
                </a:cubicBezTo>
                <a:cubicBezTo>
                  <a:pt x="495" y="561"/>
                  <a:pt x="494" y="561"/>
                  <a:pt x="493" y="561"/>
                </a:cubicBezTo>
                <a:cubicBezTo>
                  <a:pt x="493" y="561"/>
                  <a:pt x="493" y="561"/>
                  <a:pt x="493" y="561"/>
                </a:cubicBezTo>
                <a:cubicBezTo>
                  <a:pt x="489" y="569"/>
                  <a:pt x="489" y="569"/>
                  <a:pt x="489" y="569"/>
                </a:cubicBezTo>
                <a:cubicBezTo>
                  <a:pt x="488" y="570"/>
                  <a:pt x="487" y="570"/>
                  <a:pt x="486" y="570"/>
                </a:cubicBezTo>
                <a:cubicBezTo>
                  <a:pt x="480" y="568"/>
                  <a:pt x="480" y="568"/>
                  <a:pt x="480" y="568"/>
                </a:cubicBezTo>
                <a:cubicBezTo>
                  <a:pt x="479" y="568"/>
                  <a:pt x="478" y="567"/>
                  <a:pt x="478" y="566"/>
                </a:cubicBezTo>
                <a:cubicBezTo>
                  <a:pt x="479" y="557"/>
                  <a:pt x="479" y="557"/>
                  <a:pt x="479" y="557"/>
                </a:cubicBezTo>
                <a:cubicBezTo>
                  <a:pt x="478" y="556"/>
                  <a:pt x="478" y="555"/>
                  <a:pt x="477" y="555"/>
                </a:cubicBezTo>
                <a:cubicBezTo>
                  <a:pt x="468" y="558"/>
                  <a:pt x="468" y="558"/>
                  <a:pt x="468" y="558"/>
                </a:cubicBezTo>
                <a:cubicBezTo>
                  <a:pt x="467" y="558"/>
                  <a:pt x="466" y="558"/>
                  <a:pt x="465" y="557"/>
                </a:cubicBezTo>
                <a:cubicBezTo>
                  <a:pt x="462" y="552"/>
                  <a:pt x="462" y="552"/>
                  <a:pt x="462" y="552"/>
                </a:cubicBezTo>
                <a:cubicBezTo>
                  <a:pt x="462" y="551"/>
                  <a:pt x="462" y="550"/>
                  <a:pt x="462" y="549"/>
                </a:cubicBezTo>
                <a:cubicBezTo>
                  <a:pt x="469" y="542"/>
                  <a:pt x="469" y="543"/>
                  <a:pt x="469" y="543"/>
                </a:cubicBezTo>
                <a:cubicBezTo>
                  <a:pt x="469" y="541"/>
                  <a:pt x="468" y="540"/>
                  <a:pt x="468" y="539"/>
                </a:cubicBezTo>
                <a:cubicBezTo>
                  <a:pt x="460" y="535"/>
                  <a:pt x="460" y="535"/>
                  <a:pt x="460" y="535"/>
                </a:cubicBezTo>
                <a:cubicBezTo>
                  <a:pt x="459" y="535"/>
                  <a:pt x="458" y="534"/>
                  <a:pt x="459" y="533"/>
                </a:cubicBezTo>
                <a:cubicBezTo>
                  <a:pt x="459" y="527"/>
                  <a:pt x="459" y="527"/>
                  <a:pt x="459" y="527"/>
                </a:cubicBezTo>
                <a:cubicBezTo>
                  <a:pt x="460" y="525"/>
                  <a:pt x="461" y="524"/>
                  <a:pt x="462" y="524"/>
                </a:cubicBezTo>
                <a:cubicBezTo>
                  <a:pt x="471" y="524"/>
                  <a:pt x="471" y="524"/>
                  <a:pt x="471" y="524"/>
                </a:cubicBezTo>
                <a:cubicBezTo>
                  <a:pt x="471" y="523"/>
                  <a:pt x="472" y="523"/>
                  <a:pt x="472" y="522"/>
                </a:cubicBezTo>
                <a:cubicBezTo>
                  <a:pt x="468" y="514"/>
                  <a:pt x="468" y="514"/>
                  <a:pt x="468" y="514"/>
                </a:cubicBezTo>
                <a:cubicBezTo>
                  <a:pt x="467" y="513"/>
                  <a:pt x="467" y="512"/>
                  <a:pt x="468" y="511"/>
                </a:cubicBezTo>
                <a:cubicBezTo>
                  <a:pt x="473" y="507"/>
                  <a:pt x="473" y="507"/>
                  <a:pt x="473" y="507"/>
                </a:cubicBezTo>
                <a:cubicBezTo>
                  <a:pt x="474" y="507"/>
                  <a:pt x="475" y="507"/>
                  <a:pt x="476" y="507"/>
                </a:cubicBezTo>
                <a:cubicBezTo>
                  <a:pt x="483" y="513"/>
                  <a:pt x="483" y="513"/>
                  <a:pt x="483" y="513"/>
                </a:cubicBezTo>
                <a:cubicBezTo>
                  <a:pt x="484" y="512"/>
                  <a:pt x="485" y="512"/>
                  <a:pt x="486" y="512"/>
                </a:cubicBezTo>
                <a:cubicBezTo>
                  <a:pt x="488" y="503"/>
                  <a:pt x="488" y="503"/>
                  <a:pt x="488" y="503"/>
                </a:cubicBezTo>
                <a:cubicBezTo>
                  <a:pt x="488" y="502"/>
                  <a:pt x="489" y="501"/>
                  <a:pt x="490" y="501"/>
                </a:cubicBezTo>
                <a:close/>
                <a:moveTo>
                  <a:pt x="493" y="523"/>
                </a:moveTo>
                <a:cubicBezTo>
                  <a:pt x="486" y="523"/>
                  <a:pt x="480" y="528"/>
                  <a:pt x="480" y="536"/>
                </a:cubicBezTo>
                <a:cubicBezTo>
                  <a:pt x="480" y="543"/>
                  <a:pt x="486" y="549"/>
                  <a:pt x="493" y="549"/>
                </a:cubicBezTo>
                <a:cubicBezTo>
                  <a:pt x="500" y="549"/>
                  <a:pt x="506" y="543"/>
                  <a:pt x="506" y="536"/>
                </a:cubicBezTo>
                <a:cubicBezTo>
                  <a:pt x="506" y="528"/>
                  <a:pt x="500" y="523"/>
                  <a:pt x="493" y="523"/>
                </a:cubicBezTo>
                <a:close/>
                <a:moveTo>
                  <a:pt x="280" y="699"/>
                </a:moveTo>
                <a:cubicBezTo>
                  <a:pt x="276" y="707"/>
                  <a:pt x="276" y="707"/>
                  <a:pt x="276" y="707"/>
                </a:cubicBezTo>
                <a:cubicBezTo>
                  <a:pt x="275" y="708"/>
                  <a:pt x="274" y="708"/>
                  <a:pt x="273" y="708"/>
                </a:cubicBezTo>
                <a:cubicBezTo>
                  <a:pt x="267" y="706"/>
                  <a:pt x="267" y="706"/>
                  <a:pt x="267" y="706"/>
                </a:cubicBezTo>
                <a:cubicBezTo>
                  <a:pt x="266" y="706"/>
                  <a:pt x="265" y="705"/>
                  <a:pt x="265" y="703"/>
                </a:cubicBezTo>
                <a:cubicBezTo>
                  <a:pt x="266" y="694"/>
                  <a:pt x="266" y="694"/>
                  <a:pt x="266" y="694"/>
                </a:cubicBezTo>
                <a:cubicBezTo>
                  <a:pt x="265" y="694"/>
                  <a:pt x="265" y="693"/>
                  <a:pt x="264" y="693"/>
                </a:cubicBezTo>
                <a:cubicBezTo>
                  <a:pt x="255" y="696"/>
                  <a:pt x="255" y="696"/>
                  <a:pt x="255" y="696"/>
                </a:cubicBezTo>
                <a:cubicBezTo>
                  <a:pt x="254" y="696"/>
                  <a:pt x="253" y="696"/>
                  <a:pt x="253" y="695"/>
                </a:cubicBezTo>
                <a:cubicBezTo>
                  <a:pt x="249" y="690"/>
                  <a:pt x="249" y="690"/>
                  <a:pt x="249" y="690"/>
                </a:cubicBezTo>
                <a:cubicBezTo>
                  <a:pt x="249" y="689"/>
                  <a:pt x="249" y="687"/>
                  <a:pt x="250" y="686"/>
                </a:cubicBezTo>
                <a:cubicBezTo>
                  <a:pt x="256" y="680"/>
                  <a:pt x="256" y="680"/>
                  <a:pt x="256" y="680"/>
                </a:cubicBezTo>
                <a:cubicBezTo>
                  <a:pt x="256" y="679"/>
                  <a:pt x="256" y="678"/>
                  <a:pt x="256" y="676"/>
                </a:cubicBezTo>
                <a:cubicBezTo>
                  <a:pt x="247" y="673"/>
                  <a:pt x="247" y="673"/>
                  <a:pt x="247" y="673"/>
                </a:cubicBezTo>
                <a:cubicBezTo>
                  <a:pt x="246" y="673"/>
                  <a:pt x="246" y="671"/>
                  <a:pt x="246" y="670"/>
                </a:cubicBezTo>
                <a:cubicBezTo>
                  <a:pt x="247" y="664"/>
                  <a:pt x="247" y="664"/>
                  <a:pt x="247" y="664"/>
                </a:cubicBezTo>
                <a:cubicBezTo>
                  <a:pt x="247" y="663"/>
                  <a:pt x="248" y="662"/>
                  <a:pt x="249" y="662"/>
                </a:cubicBezTo>
                <a:cubicBezTo>
                  <a:pt x="258" y="662"/>
                  <a:pt x="258" y="662"/>
                  <a:pt x="258" y="662"/>
                </a:cubicBezTo>
                <a:cubicBezTo>
                  <a:pt x="258" y="661"/>
                  <a:pt x="259" y="661"/>
                  <a:pt x="259" y="660"/>
                </a:cubicBezTo>
                <a:cubicBezTo>
                  <a:pt x="255" y="652"/>
                  <a:pt x="255" y="652"/>
                  <a:pt x="255" y="652"/>
                </a:cubicBezTo>
                <a:cubicBezTo>
                  <a:pt x="254" y="651"/>
                  <a:pt x="255" y="650"/>
                  <a:pt x="256" y="649"/>
                </a:cubicBezTo>
                <a:cubicBezTo>
                  <a:pt x="260" y="645"/>
                  <a:pt x="260" y="645"/>
                  <a:pt x="260" y="645"/>
                </a:cubicBezTo>
                <a:cubicBezTo>
                  <a:pt x="261" y="644"/>
                  <a:pt x="262" y="644"/>
                  <a:pt x="263" y="645"/>
                </a:cubicBezTo>
                <a:cubicBezTo>
                  <a:pt x="270" y="650"/>
                  <a:pt x="270" y="650"/>
                  <a:pt x="270" y="650"/>
                </a:cubicBezTo>
                <a:cubicBezTo>
                  <a:pt x="271" y="650"/>
                  <a:pt x="272" y="650"/>
                  <a:pt x="273" y="650"/>
                </a:cubicBezTo>
                <a:cubicBezTo>
                  <a:pt x="275" y="641"/>
                  <a:pt x="275" y="641"/>
                  <a:pt x="275" y="641"/>
                </a:cubicBezTo>
                <a:cubicBezTo>
                  <a:pt x="275" y="640"/>
                  <a:pt x="276" y="639"/>
                  <a:pt x="277" y="639"/>
                </a:cubicBezTo>
                <a:cubicBezTo>
                  <a:pt x="284" y="639"/>
                  <a:pt x="284" y="639"/>
                  <a:pt x="284" y="639"/>
                </a:cubicBezTo>
                <a:cubicBezTo>
                  <a:pt x="284" y="639"/>
                  <a:pt x="286" y="640"/>
                  <a:pt x="286" y="641"/>
                </a:cubicBezTo>
                <a:cubicBezTo>
                  <a:pt x="288" y="650"/>
                  <a:pt x="288" y="650"/>
                  <a:pt x="288" y="650"/>
                </a:cubicBezTo>
                <a:cubicBezTo>
                  <a:pt x="288" y="650"/>
                  <a:pt x="289" y="650"/>
                  <a:pt x="290" y="650"/>
                </a:cubicBezTo>
                <a:cubicBezTo>
                  <a:pt x="297" y="645"/>
                  <a:pt x="297" y="645"/>
                  <a:pt x="297" y="645"/>
                </a:cubicBezTo>
                <a:cubicBezTo>
                  <a:pt x="298" y="644"/>
                  <a:pt x="299" y="644"/>
                  <a:pt x="300" y="645"/>
                </a:cubicBezTo>
                <a:cubicBezTo>
                  <a:pt x="305" y="649"/>
                  <a:pt x="305" y="649"/>
                  <a:pt x="305" y="649"/>
                </a:cubicBezTo>
                <a:cubicBezTo>
                  <a:pt x="306" y="650"/>
                  <a:pt x="306" y="651"/>
                  <a:pt x="306" y="652"/>
                </a:cubicBezTo>
                <a:cubicBezTo>
                  <a:pt x="301" y="660"/>
                  <a:pt x="301" y="660"/>
                  <a:pt x="301" y="660"/>
                </a:cubicBezTo>
                <a:cubicBezTo>
                  <a:pt x="302" y="661"/>
                  <a:pt x="302" y="661"/>
                  <a:pt x="303" y="662"/>
                </a:cubicBezTo>
                <a:cubicBezTo>
                  <a:pt x="312" y="662"/>
                  <a:pt x="312" y="662"/>
                  <a:pt x="312" y="662"/>
                </a:cubicBezTo>
                <a:cubicBezTo>
                  <a:pt x="313" y="662"/>
                  <a:pt x="314" y="663"/>
                  <a:pt x="314" y="664"/>
                </a:cubicBezTo>
                <a:cubicBezTo>
                  <a:pt x="315" y="670"/>
                  <a:pt x="315" y="670"/>
                  <a:pt x="315" y="670"/>
                </a:cubicBezTo>
                <a:cubicBezTo>
                  <a:pt x="315" y="671"/>
                  <a:pt x="314" y="673"/>
                  <a:pt x="314" y="673"/>
                </a:cubicBezTo>
                <a:cubicBezTo>
                  <a:pt x="305" y="676"/>
                  <a:pt x="305" y="676"/>
                  <a:pt x="305" y="676"/>
                </a:cubicBezTo>
                <a:cubicBezTo>
                  <a:pt x="305" y="677"/>
                  <a:pt x="305" y="678"/>
                  <a:pt x="305" y="679"/>
                </a:cubicBezTo>
                <a:cubicBezTo>
                  <a:pt x="312" y="685"/>
                  <a:pt x="312" y="685"/>
                  <a:pt x="312" y="685"/>
                </a:cubicBezTo>
                <a:cubicBezTo>
                  <a:pt x="312" y="686"/>
                  <a:pt x="313" y="687"/>
                  <a:pt x="312" y="688"/>
                </a:cubicBezTo>
                <a:cubicBezTo>
                  <a:pt x="309" y="693"/>
                  <a:pt x="309" y="693"/>
                  <a:pt x="309" y="693"/>
                </a:cubicBezTo>
                <a:cubicBezTo>
                  <a:pt x="309" y="694"/>
                  <a:pt x="307" y="695"/>
                  <a:pt x="306" y="694"/>
                </a:cubicBezTo>
                <a:cubicBezTo>
                  <a:pt x="298" y="692"/>
                  <a:pt x="298" y="692"/>
                  <a:pt x="298" y="692"/>
                </a:cubicBezTo>
                <a:cubicBezTo>
                  <a:pt x="297" y="692"/>
                  <a:pt x="297" y="692"/>
                  <a:pt x="296" y="693"/>
                </a:cubicBezTo>
                <a:cubicBezTo>
                  <a:pt x="298" y="702"/>
                  <a:pt x="298" y="702"/>
                  <a:pt x="298" y="702"/>
                </a:cubicBezTo>
                <a:cubicBezTo>
                  <a:pt x="299" y="703"/>
                  <a:pt x="298" y="704"/>
                  <a:pt x="297" y="704"/>
                </a:cubicBezTo>
                <a:cubicBezTo>
                  <a:pt x="291" y="707"/>
                  <a:pt x="291" y="707"/>
                  <a:pt x="291" y="707"/>
                </a:cubicBezTo>
                <a:cubicBezTo>
                  <a:pt x="290" y="707"/>
                  <a:pt x="289" y="707"/>
                  <a:pt x="288" y="706"/>
                </a:cubicBezTo>
                <a:cubicBezTo>
                  <a:pt x="283" y="698"/>
                  <a:pt x="283" y="698"/>
                  <a:pt x="283" y="698"/>
                </a:cubicBezTo>
                <a:cubicBezTo>
                  <a:pt x="282" y="699"/>
                  <a:pt x="281" y="699"/>
                  <a:pt x="280" y="699"/>
                </a:cubicBezTo>
                <a:cubicBezTo>
                  <a:pt x="280" y="699"/>
                  <a:pt x="280" y="699"/>
                  <a:pt x="280" y="699"/>
                </a:cubicBezTo>
                <a:close/>
                <a:moveTo>
                  <a:pt x="280" y="687"/>
                </a:moveTo>
                <a:cubicBezTo>
                  <a:pt x="288" y="687"/>
                  <a:pt x="294" y="681"/>
                  <a:pt x="294" y="674"/>
                </a:cubicBezTo>
                <a:cubicBezTo>
                  <a:pt x="294" y="666"/>
                  <a:pt x="288" y="660"/>
                  <a:pt x="280" y="660"/>
                </a:cubicBezTo>
                <a:cubicBezTo>
                  <a:pt x="273" y="660"/>
                  <a:pt x="267" y="666"/>
                  <a:pt x="267" y="674"/>
                </a:cubicBezTo>
                <a:cubicBezTo>
                  <a:pt x="267" y="681"/>
                  <a:pt x="273" y="687"/>
                  <a:pt x="280" y="687"/>
                </a:cubicBezTo>
                <a:close/>
                <a:moveTo>
                  <a:pt x="103" y="392"/>
                </a:moveTo>
                <a:cubicBezTo>
                  <a:pt x="99" y="392"/>
                  <a:pt x="97" y="395"/>
                  <a:pt x="97" y="398"/>
                </a:cubicBezTo>
                <a:cubicBezTo>
                  <a:pt x="97" y="401"/>
                  <a:pt x="99" y="404"/>
                  <a:pt x="103" y="404"/>
                </a:cubicBezTo>
                <a:cubicBezTo>
                  <a:pt x="106" y="404"/>
                  <a:pt x="108" y="401"/>
                  <a:pt x="108" y="398"/>
                </a:cubicBezTo>
                <a:cubicBezTo>
                  <a:pt x="108" y="395"/>
                  <a:pt x="106" y="392"/>
                  <a:pt x="103" y="392"/>
                </a:cubicBezTo>
                <a:close/>
                <a:moveTo>
                  <a:pt x="138" y="354"/>
                </a:moveTo>
                <a:cubicBezTo>
                  <a:pt x="134" y="362"/>
                  <a:pt x="134" y="362"/>
                  <a:pt x="134" y="362"/>
                </a:cubicBezTo>
                <a:cubicBezTo>
                  <a:pt x="133" y="363"/>
                  <a:pt x="132" y="363"/>
                  <a:pt x="131" y="363"/>
                </a:cubicBezTo>
                <a:cubicBezTo>
                  <a:pt x="125" y="361"/>
                  <a:pt x="125" y="361"/>
                  <a:pt x="125" y="361"/>
                </a:cubicBezTo>
                <a:cubicBezTo>
                  <a:pt x="124" y="361"/>
                  <a:pt x="124" y="360"/>
                  <a:pt x="124" y="359"/>
                </a:cubicBezTo>
                <a:cubicBezTo>
                  <a:pt x="125" y="350"/>
                  <a:pt x="125" y="350"/>
                  <a:pt x="125" y="350"/>
                </a:cubicBezTo>
                <a:cubicBezTo>
                  <a:pt x="124" y="349"/>
                  <a:pt x="123" y="349"/>
                  <a:pt x="122" y="348"/>
                </a:cubicBezTo>
                <a:cubicBezTo>
                  <a:pt x="114" y="351"/>
                  <a:pt x="114" y="351"/>
                  <a:pt x="114" y="351"/>
                </a:cubicBezTo>
                <a:cubicBezTo>
                  <a:pt x="113" y="351"/>
                  <a:pt x="111" y="351"/>
                  <a:pt x="111" y="350"/>
                </a:cubicBezTo>
                <a:cubicBezTo>
                  <a:pt x="107" y="345"/>
                  <a:pt x="107" y="345"/>
                  <a:pt x="107" y="345"/>
                </a:cubicBezTo>
                <a:cubicBezTo>
                  <a:pt x="107" y="344"/>
                  <a:pt x="107" y="343"/>
                  <a:pt x="108" y="342"/>
                </a:cubicBezTo>
                <a:cubicBezTo>
                  <a:pt x="114" y="336"/>
                  <a:pt x="114" y="336"/>
                  <a:pt x="114" y="336"/>
                </a:cubicBezTo>
                <a:cubicBezTo>
                  <a:pt x="114" y="335"/>
                  <a:pt x="114" y="333"/>
                  <a:pt x="114" y="332"/>
                </a:cubicBezTo>
                <a:cubicBezTo>
                  <a:pt x="105" y="328"/>
                  <a:pt x="105" y="328"/>
                  <a:pt x="105" y="328"/>
                </a:cubicBezTo>
                <a:cubicBezTo>
                  <a:pt x="104" y="328"/>
                  <a:pt x="104" y="327"/>
                  <a:pt x="104" y="326"/>
                </a:cubicBezTo>
                <a:cubicBezTo>
                  <a:pt x="105" y="320"/>
                  <a:pt x="105" y="320"/>
                  <a:pt x="105" y="320"/>
                </a:cubicBezTo>
                <a:cubicBezTo>
                  <a:pt x="105" y="319"/>
                  <a:pt x="106" y="318"/>
                  <a:pt x="107" y="318"/>
                </a:cubicBezTo>
                <a:cubicBezTo>
                  <a:pt x="116" y="318"/>
                  <a:pt x="116" y="318"/>
                  <a:pt x="116" y="318"/>
                </a:cubicBezTo>
                <a:cubicBezTo>
                  <a:pt x="117" y="317"/>
                  <a:pt x="117" y="316"/>
                  <a:pt x="118" y="315"/>
                </a:cubicBezTo>
                <a:cubicBezTo>
                  <a:pt x="113" y="307"/>
                  <a:pt x="113" y="307"/>
                  <a:pt x="113" y="307"/>
                </a:cubicBezTo>
                <a:cubicBezTo>
                  <a:pt x="113" y="307"/>
                  <a:pt x="113" y="305"/>
                  <a:pt x="114" y="304"/>
                </a:cubicBezTo>
                <a:cubicBezTo>
                  <a:pt x="118" y="300"/>
                  <a:pt x="118" y="300"/>
                  <a:pt x="118" y="300"/>
                </a:cubicBezTo>
                <a:cubicBezTo>
                  <a:pt x="119" y="300"/>
                  <a:pt x="121" y="300"/>
                  <a:pt x="122" y="300"/>
                </a:cubicBezTo>
                <a:cubicBezTo>
                  <a:pt x="129" y="306"/>
                  <a:pt x="129" y="306"/>
                  <a:pt x="129" y="306"/>
                </a:cubicBezTo>
                <a:cubicBezTo>
                  <a:pt x="129" y="306"/>
                  <a:pt x="130" y="305"/>
                  <a:pt x="131" y="305"/>
                </a:cubicBezTo>
                <a:cubicBezTo>
                  <a:pt x="133" y="296"/>
                  <a:pt x="133" y="296"/>
                  <a:pt x="133" y="296"/>
                </a:cubicBezTo>
                <a:cubicBezTo>
                  <a:pt x="133" y="295"/>
                  <a:pt x="134" y="294"/>
                  <a:pt x="135" y="294"/>
                </a:cubicBezTo>
                <a:cubicBezTo>
                  <a:pt x="142" y="294"/>
                  <a:pt x="142" y="294"/>
                  <a:pt x="142" y="294"/>
                </a:cubicBezTo>
                <a:cubicBezTo>
                  <a:pt x="143" y="294"/>
                  <a:pt x="144" y="295"/>
                  <a:pt x="144" y="296"/>
                </a:cubicBezTo>
                <a:cubicBezTo>
                  <a:pt x="146" y="305"/>
                  <a:pt x="146" y="305"/>
                  <a:pt x="146" y="305"/>
                </a:cubicBezTo>
                <a:cubicBezTo>
                  <a:pt x="147" y="305"/>
                  <a:pt x="148" y="306"/>
                  <a:pt x="148" y="306"/>
                </a:cubicBezTo>
                <a:cubicBezTo>
                  <a:pt x="156" y="300"/>
                  <a:pt x="156" y="300"/>
                  <a:pt x="156" y="300"/>
                </a:cubicBezTo>
                <a:cubicBezTo>
                  <a:pt x="156" y="300"/>
                  <a:pt x="158" y="300"/>
                  <a:pt x="159" y="300"/>
                </a:cubicBezTo>
                <a:cubicBezTo>
                  <a:pt x="163" y="304"/>
                  <a:pt x="163" y="304"/>
                  <a:pt x="163" y="304"/>
                </a:cubicBezTo>
                <a:cubicBezTo>
                  <a:pt x="164" y="305"/>
                  <a:pt x="164" y="307"/>
                  <a:pt x="164" y="307"/>
                </a:cubicBezTo>
                <a:cubicBezTo>
                  <a:pt x="160" y="315"/>
                  <a:pt x="160" y="315"/>
                  <a:pt x="160" y="315"/>
                </a:cubicBezTo>
                <a:cubicBezTo>
                  <a:pt x="160" y="316"/>
                  <a:pt x="160" y="317"/>
                  <a:pt x="161" y="318"/>
                </a:cubicBezTo>
                <a:cubicBezTo>
                  <a:pt x="170" y="318"/>
                  <a:pt x="170" y="318"/>
                  <a:pt x="170" y="318"/>
                </a:cubicBezTo>
                <a:cubicBezTo>
                  <a:pt x="171" y="318"/>
                  <a:pt x="172" y="319"/>
                  <a:pt x="172" y="320"/>
                </a:cubicBezTo>
                <a:cubicBezTo>
                  <a:pt x="173" y="326"/>
                  <a:pt x="173" y="326"/>
                  <a:pt x="173" y="326"/>
                </a:cubicBezTo>
                <a:cubicBezTo>
                  <a:pt x="173" y="327"/>
                  <a:pt x="173" y="328"/>
                  <a:pt x="172" y="328"/>
                </a:cubicBezTo>
                <a:cubicBezTo>
                  <a:pt x="163" y="332"/>
                  <a:pt x="163" y="332"/>
                  <a:pt x="163" y="332"/>
                </a:cubicBezTo>
                <a:cubicBezTo>
                  <a:pt x="163" y="333"/>
                  <a:pt x="163" y="334"/>
                  <a:pt x="163" y="335"/>
                </a:cubicBezTo>
                <a:cubicBezTo>
                  <a:pt x="170" y="340"/>
                  <a:pt x="170" y="340"/>
                  <a:pt x="170" y="340"/>
                </a:cubicBezTo>
                <a:cubicBezTo>
                  <a:pt x="171" y="341"/>
                  <a:pt x="171" y="342"/>
                  <a:pt x="170" y="343"/>
                </a:cubicBezTo>
                <a:cubicBezTo>
                  <a:pt x="167" y="349"/>
                  <a:pt x="167" y="349"/>
                  <a:pt x="167" y="349"/>
                </a:cubicBezTo>
                <a:cubicBezTo>
                  <a:pt x="167" y="350"/>
                  <a:pt x="166" y="350"/>
                  <a:pt x="164" y="350"/>
                </a:cubicBezTo>
                <a:cubicBezTo>
                  <a:pt x="156" y="347"/>
                  <a:pt x="156" y="347"/>
                  <a:pt x="156" y="347"/>
                </a:cubicBezTo>
                <a:cubicBezTo>
                  <a:pt x="156" y="347"/>
                  <a:pt x="155" y="348"/>
                  <a:pt x="155" y="348"/>
                </a:cubicBezTo>
                <a:cubicBezTo>
                  <a:pt x="156" y="357"/>
                  <a:pt x="156" y="357"/>
                  <a:pt x="156" y="357"/>
                </a:cubicBezTo>
                <a:cubicBezTo>
                  <a:pt x="157" y="358"/>
                  <a:pt x="156" y="359"/>
                  <a:pt x="155" y="360"/>
                </a:cubicBezTo>
                <a:cubicBezTo>
                  <a:pt x="149" y="362"/>
                  <a:pt x="149" y="362"/>
                  <a:pt x="149" y="362"/>
                </a:cubicBezTo>
                <a:cubicBezTo>
                  <a:pt x="148" y="363"/>
                  <a:pt x="147" y="362"/>
                  <a:pt x="147" y="362"/>
                </a:cubicBezTo>
                <a:cubicBezTo>
                  <a:pt x="141" y="354"/>
                  <a:pt x="141" y="354"/>
                  <a:pt x="141" y="354"/>
                </a:cubicBezTo>
                <a:cubicBezTo>
                  <a:pt x="141" y="354"/>
                  <a:pt x="140" y="354"/>
                  <a:pt x="139" y="354"/>
                </a:cubicBezTo>
                <a:cubicBezTo>
                  <a:pt x="138" y="354"/>
                  <a:pt x="138" y="354"/>
                  <a:pt x="138" y="354"/>
                </a:cubicBezTo>
                <a:close/>
                <a:moveTo>
                  <a:pt x="139" y="342"/>
                </a:moveTo>
                <a:cubicBezTo>
                  <a:pt x="146" y="342"/>
                  <a:pt x="152" y="336"/>
                  <a:pt x="152" y="329"/>
                </a:cubicBezTo>
                <a:cubicBezTo>
                  <a:pt x="152" y="322"/>
                  <a:pt x="146" y="316"/>
                  <a:pt x="139" y="316"/>
                </a:cubicBezTo>
                <a:cubicBezTo>
                  <a:pt x="131" y="316"/>
                  <a:pt x="125" y="322"/>
                  <a:pt x="125" y="329"/>
                </a:cubicBezTo>
                <a:cubicBezTo>
                  <a:pt x="125" y="336"/>
                  <a:pt x="131" y="342"/>
                  <a:pt x="139" y="342"/>
                </a:cubicBezTo>
                <a:close/>
                <a:moveTo>
                  <a:pt x="373" y="812"/>
                </a:moveTo>
                <a:cubicBezTo>
                  <a:pt x="373" y="812"/>
                  <a:pt x="373" y="812"/>
                  <a:pt x="373" y="811"/>
                </a:cubicBezTo>
                <a:cubicBezTo>
                  <a:pt x="373" y="804"/>
                  <a:pt x="379" y="798"/>
                  <a:pt x="386" y="798"/>
                </a:cubicBezTo>
                <a:cubicBezTo>
                  <a:pt x="389" y="798"/>
                  <a:pt x="391" y="799"/>
                  <a:pt x="393" y="800"/>
                </a:cubicBezTo>
                <a:cubicBezTo>
                  <a:pt x="411" y="790"/>
                  <a:pt x="411" y="790"/>
                  <a:pt x="411" y="790"/>
                </a:cubicBezTo>
                <a:cubicBezTo>
                  <a:pt x="411" y="790"/>
                  <a:pt x="411" y="790"/>
                  <a:pt x="411" y="790"/>
                </a:cubicBezTo>
                <a:cubicBezTo>
                  <a:pt x="412" y="789"/>
                  <a:pt x="412" y="787"/>
                  <a:pt x="411" y="787"/>
                </a:cubicBezTo>
                <a:cubicBezTo>
                  <a:pt x="411" y="787"/>
                  <a:pt x="411" y="787"/>
                  <a:pt x="406" y="783"/>
                </a:cubicBezTo>
                <a:cubicBezTo>
                  <a:pt x="405" y="782"/>
                  <a:pt x="404" y="782"/>
                  <a:pt x="403" y="783"/>
                </a:cubicBezTo>
                <a:cubicBezTo>
                  <a:pt x="403" y="783"/>
                  <a:pt x="403" y="783"/>
                  <a:pt x="396" y="788"/>
                </a:cubicBezTo>
                <a:cubicBezTo>
                  <a:pt x="395" y="788"/>
                  <a:pt x="394" y="788"/>
                  <a:pt x="393" y="787"/>
                </a:cubicBezTo>
                <a:cubicBezTo>
                  <a:pt x="393" y="787"/>
                  <a:pt x="393" y="787"/>
                  <a:pt x="391" y="778"/>
                </a:cubicBezTo>
                <a:cubicBezTo>
                  <a:pt x="391" y="778"/>
                  <a:pt x="390" y="777"/>
                  <a:pt x="389" y="777"/>
                </a:cubicBezTo>
                <a:cubicBezTo>
                  <a:pt x="389" y="777"/>
                  <a:pt x="389" y="777"/>
                  <a:pt x="383" y="777"/>
                </a:cubicBezTo>
                <a:cubicBezTo>
                  <a:pt x="382" y="777"/>
                  <a:pt x="381" y="778"/>
                  <a:pt x="381" y="778"/>
                </a:cubicBezTo>
                <a:cubicBezTo>
                  <a:pt x="381" y="778"/>
                  <a:pt x="381" y="778"/>
                  <a:pt x="379" y="787"/>
                </a:cubicBezTo>
                <a:cubicBezTo>
                  <a:pt x="378" y="788"/>
                  <a:pt x="377" y="788"/>
                  <a:pt x="376" y="788"/>
                </a:cubicBezTo>
                <a:cubicBezTo>
                  <a:pt x="376" y="788"/>
                  <a:pt x="376" y="788"/>
                  <a:pt x="369" y="783"/>
                </a:cubicBezTo>
                <a:cubicBezTo>
                  <a:pt x="368" y="782"/>
                  <a:pt x="367" y="782"/>
                  <a:pt x="366" y="783"/>
                </a:cubicBezTo>
                <a:cubicBezTo>
                  <a:pt x="366" y="783"/>
                  <a:pt x="366" y="783"/>
                  <a:pt x="361" y="787"/>
                </a:cubicBezTo>
                <a:cubicBezTo>
                  <a:pt x="361" y="788"/>
                  <a:pt x="360" y="789"/>
                  <a:pt x="361" y="790"/>
                </a:cubicBezTo>
                <a:cubicBezTo>
                  <a:pt x="361" y="790"/>
                  <a:pt x="361" y="790"/>
                  <a:pt x="365" y="798"/>
                </a:cubicBezTo>
                <a:cubicBezTo>
                  <a:pt x="365" y="798"/>
                  <a:pt x="364" y="799"/>
                  <a:pt x="364" y="800"/>
                </a:cubicBezTo>
                <a:cubicBezTo>
                  <a:pt x="364" y="800"/>
                  <a:pt x="364" y="800"/>
                  <a:pt x="355" y="800"/>
                </a:cubicBezTo>
                <a:cubicBezTo>
                  <a:pt x="354" y="800"/>
                  <a:pt x="353" y="801"/>
                  <a:pt x="353" y="802"/>
                </a:cubicBezTo>
                <a:cubicBezTo>
                  <a:pt x="353" y="802"/>
                  <a:pt x="353" y="802"/>
                  <a:pt x="352" y="808"/>
                </a:cubicBezTo>
                <a:cubicBezTo>
                  <a:pt x="351" y="809"/>
                  <a:pt x="352" y="810"/>
                  <a:pt x="353" y="811"/>
                </a:cubicBezTo>
                <a:cubicBezTo>
                  <a:pt x="353" y="811"/>
                  <a:pt x="353" y="811"/>
                  <a:pt x="361" y="814"/>
                </a:cubicBezTo>
                <a:cubicBezTo>
                  <a:pt x="361" y="815"/>
                  <a:pt x="362" y="817"/>
                  <a:pt x="362" y="818"/>
                </a:cubicBezTo>
                <a:cubicBezTo>
                  <a:pt x="362" y="818"/>
                  <a:pt x="362" y="818"/>
                  <a:pt x="361" y="819"/>
                </a:cubicBezTo>
                <a:lnTo>
                  <a:pt x="373" y="812"/>
                </a:lnTo>
                <a:close/>
                <a:moveTo>
                  <a:pt x="286" y="674"/>
                </a:moveTo>
                <a:cubicBezTo>
                  <a:pt x="286" y="670"/>
                  <a:pt x="284" y="668"/>
                  <a:pt x="280" y="668"/>
                </a:cubicBezTo>
                <a:cubicBezTo>
                  <a:pt x="277" y="668"/>
                  <a:pt x="275" y="670"/>
                  <a:pt x="275" y="674"/>
                </a:cubicBezTo>
                <a:cubicBezTo>
                  <a:pt x="275" y="677"/>
                  <a:pt x="277" y="679"/>
                  <a:pt x="280" y="679"/>
                </a:cubicBezTo>
                <a:cubicBezTo>
                  <a:pt x="284" y="679"/>
                  <a:pt x="286" y="677"/>
                  <a:pt x="286" y="674"/>
                </a:cubicBezTo>
                <a:close/>
                <a:moveTo>
                  <a:pt x="144" y="329"/>
                </a:moveTo>
                <a:cubicBezTo>
                  <a:pt x="144" y="326"/>
                  <a:pt x="142" y="323"/>
                  <a:pt x="139" y="323"/>
                </a:cubicBezTo>
                <a:cubicBezTo>
                  <a:pt x="135" y="323"/>
                  <a:pt x="133" y="326"/>
                  <a:pt x="133" y="329"/>
                </a:cubicBezTo>
                <a:cubicBezTo>
                  <a:pt x="133" y="332"/>
                  <a:pt x="135" y="335"/>
                  <a:pt x="139" y="335"/>
                </a:cubicBezTo>
                <a:cubicBezTo>
                  <a:pt x="142" y="335"/>
                  <a:pt x="144" y="332"/>
                  <a:pt x="144" y="329"/>
                </a:cubicBezTo>
                <a:close/>
                <a:moveTo>
                  <a:pt x="137" y="395"/>
                </a:moveTo>
                <a:cubicBezTo>
                  <a:pt x="137" y="396"/>
                  <a:pt x="137" y="397"/>
                  <a:pt x="136" y="397"/>
                </a:cubicBezTo>
                <a:cubicBezTo>
                  <a:pt x="127" y="401"/>
                  <a:pt x="127" y="401"/>
                  <a:pt x="127" y="401"/>
                </a:cubicBezTo>
                <a:cubicBezTo>
                  <a:pt x="127" y="402"/>
                  <a:pt x="127" y="403"/>
                  <a:pt x="127" y="403"/>
                </a:cubicBezTo>
                <a:cubicBezTo>
                  <a:pt x="134" y="409"/>
                  <a:pt x="134" y="409"/>
                  <a:pt x="134" y="409"/>
                </a:cubicBezTo>
                <a:cubicBezTo>
                  <a:pt x="135" y="410"/>
                  <a:pt x="135" y="411"/>
                  <a:pt x="134" y="412"/>
                </a:cubicBezTo>
                <a:cubicBezTo>
                  <a:pt x="131" y="418"/>
                  <a:pt x="131" y="418"/>
                  <a:pt x="131" y="418"/>
                </a:cubicBezTo>
                <a:cubicBezTo>
                  <a:pt x="131" y="419"/>
                  <a:pt x="130" y="419"/>
                  <a:pt x="128" y="419"/>
                </a:cubicBezTo>
                <a:cubicBezTo>
                  <a:pt x="120" y="416"/>
                  <a:pt x="120" y="416"/>
                  <a:pt x="120" y="416"/>
                </a:cubicBezTo>
                <a:cubicBezTo>
                  <a:pt x="120" y="416"/>
                  <a:pt x="119" y="417"/>
                  <a:pt x="119" y="417"/>
                </a:cubicBezTo>
                <a:cubicBezTo>
                  <a:pt x="120" y="426"/>
                  <a:pt x="120" y="426"/>
                  <a:pt x="120" y="426"/>
                </a:cubicBezTo>
                <a:cubicBezTo>
                  <a:pt x="121" y="427"/>
                  <a:pt x="120" y="428"/>
                  <a:pt x="119" y="429"/>
                </a:cubicBezTo>
                <a:cubicBezTo>
                  <a:pt x="113" y="431"/>
                  <a:pt x="113" y="431"/>
                  <a:pt x="113" y="431"/>
                </a:cubicBezTo>
                <a:cubicBezTo>
                  <a:pt x="112" y="432"/>
                  <a:pt x="111" y="431"/>
                  <a:pt x="111" y="431"/>
                </a:cubicBezTo>
                <a:cubicBezTo>
                  <a:pt x="105" y="423"/>
                  <a:pt x="105" y="423"/>
                  <a:pt x="105" y="423"/>
                </a:cubicBezTo>
                <a:cubicBezTo>
                  <a:pt x="105" y="423"/>
                  <a:pt x="104" y="423"/>
                  <a:pt x="103" y="423"/>
                </a:cubicBezTo>
                <a:cubicBezTo>
                  <a:pt x="102" y="423"/>
                  <a:pt x="102" y="423"/>
                  <a:pt x="102" y="423"/>
                </a:cubicBezTo>
                <a:cubicBezTo>
                  <a:pt x="98" y="431"/>
                  <a:pt x="98" y="431"/>
                  <a:pt x="98" y="431"/>
                </a:cubicBezTo>
                <a:cubicBezTo>
                  <a:pt x="97" y="432"/>
                  <a:pt x="96" y="432"/>
                  <a:pt x="95" y="432"/>
                </a:cubicBezTo>
                <a:cubicBezTo>
                  <a:pt x="89" y="430"/>
                  <a:pt x="89" y="430"/>
                  <a:pt x="89" y="430"/>
                </a:cubicBezTo>
                <a:cubicBezTo>
                  <a:pt x="88" y="430"/>
                  <a:pt x="88" y="429"/>
                  <a:pt x="88" y="428"/>
                </a:cubicBezTo>
                <a:cubicBezTo>
                  <a:pt x="89" y="419"/>
                  <a:pt x="89" y="419"/>
                  <a:pt x="89" y="419"/>
                </a:cubicBezTo>
                <a:cubicBezTo>
                  <a:pt x="88" y="418"/>
                  <a:pt x="87" y="418"/>
                  <a:pt x="86" y="417"/>
                </a:cubicBezTo>
                <a:cubicBezTo>
                  <a:pt x="78" y="420"/>
                  <a:pt x="78" y="420"/>
                  <a:pt x="78" y="420"/>
                </a:cubicBezTo>
                <a:cubicBezTo>
                  <a:pt x="77" y="420"/>
                  <a:pt x="75" y="420"/>
                  <a:pt x="75" y="419"/>
                </a:cubicBezTo>
                <a:cubicBezTo>
                  <a:pt x="71" y="414"/>
                  <a:pt x="71" y="414"/>
                  <a:pt x="71" y="414"/>
                </a:cubicBezTo>
                <a:cubicBezTo>
                  <a:pt x="71" y="413"/>
                  <a:pt x="71" y="412"/>
                  <a:pt x="72" y="411"/>
                </a:cubicBezTo>
                <a:cubicBezTo>
                  <a:pt x="78" y="405"/>
                  <a:pt x="78" y="405"/>
                  <a:pt x="78" y="405"/>
                </a:cubicBezTo>
                <a:cubicBezTo>
                  <a:pt x="78" y="403"/>
                  <a:pt x="78" y="402"/>
                  <a:pt x="78" y="401"/>
                </a:cubicBezTo>
                <a:cubicBezTo>
                  <a:pt x="69" y="397"/>
                  <a:pt x="69" y="397"/>
                  <a:pt x="69" y="397"/>
                </a:cubicBezTo>
                <a:cubicBezTo>
                  <a:pt x="68" y="397"/>
                  <a:pt x="68" y="396"/>
                  <a:pt x="68" y="395"/>
                </a:cubicBezTo>
                <a:cubicBezTo>
                  <a:pt x="69" y="389"/>
                  <a:pt x="69" y="389"/>
                  <a:pt x="69" y="389"/>
                </a:cubicBezTo>
                <a:cubicBezTo>
                  <a:pt x="69" y="387"/>
                  <a:pt x="70" y="387"/>
                  <a:pt x="71" y="387"/>
                </a:cubicBezTo>
                <a:cubicBezTo>
                  <a:pt x="80" y="387"/>
                  <a:pt x="80" y="387"/>
                  <a:pt x="80" y="387"/>
                </a:cubicBezTo>
                <a:cubicBezTo>
                  <a:pt x="81" y="386"/>
                  <a:pt x="81" y="385"/>
                  <a:pt x="82" y="384"/>
                </a:cubicBezTo>
                <a:cubicBezTo>
                  <a:pt x="77" y="376"/>
                  <a:pt x="77" y="376"/>
                  <a:pt x="77" y="376"/>
                </a:cubicBezTo>
                <a:cubicBezTo>
                  <a:pt x="77" y="375"/>
                  <a:pt x="77" y="374"/>
                  <a:pt x="78" y="373"/>
                </a:cubicBezTo>
                <a:cubicBezTo>
                  <a:pt x="82" y="369"/>
                  <a:pt x="82" y="369"/>
                  <a:pt x="82" y="369"/>
                </a:cubicBezTo>
                <a:cubicBezTo>
                  <a:pt x="83" y="369"/>
                  <a:pt x="85" y="369"/>
                  <a:pt x="86" y="369"/>
                </a:cubicBezTo>
                <a:cubicBezTo>
                  <a:pt x="93" y="375"/>
                  <a:pt x="93" y="375"/>
                  <a:pt x="93" y="375"/>
                </a:cubicBezTo>
                <a:cubicBezTo>
                  <a:pt x="93" y="375"/>
                  <a:pt x="94" y="374"/>
                  <a:pt x="95" y="374"/>
                </a:cubicBezTo>
                <a:cubicBezTo>
                  <a:pt x="97" y="365"/>
                  <a:pt x="97" y="365"/>
                  <a:pt x="97" y="365"/>
                </a:cubicBezTo>
                <a:cubicBezTo>
                  <a:pt x="97" y="364"/>
                  <a:pt x="98" y="363"/>
                  <a:pt x="99" y="363"/>
                </a:cubicBezTo>
                <a:cubicBezTo>
                  <a:pt x="106" y="363"/>
                  <a:pt x="106" y="363"/>
                  <a:pt x="106" y="363"/>
                </a:cubicBezTo>
                <a:cubicBezTo>
                  <a:pt x="107" y="363"/>
                  <a:pt x="108" y="364"/>
                  <a:pt x="108" y="365"/>
                </a:cubicBezTo>
                <a:cubicBezTo>
                  <a:pt x="110" y="374"/>
                  <a:pt x="110" y="374"/>
                  <a:pt x="110" y="374"/>
                </a:cubicBezTo>
                <a:cubicBezTo>
                  <a:pt x="111" y="374"/>
                  <a:pt x="112" y="375"/>
                  <a:pt x="112" y="375"/>
                </a:cubicBezTo>
                <a:cubicBezTo>
                  <a:pt x="120" y="369"/>
                  <a:pt x="120" y="369"/>
                  <a:pt x="120" y="369"/>
                </a:cubicBezTo>
                <a:cubicBezTo>
                  <a:pt x="120" y="369"/>
                  <a:pt x="122" y="369"/>
                  <a:pt x="123" y="369"/>
                </a:cubicBezTo>
                <a:cubicBezTo>
                  <a:pt x="127" y="373"/>
                  <a:pt x="127" y="373"/>
                  <a:pt x="127" y="373"/>
                </a:cubicBezTo>
                <a:cubicBezTo>
                  <a:pt x="128" y="374"/>
                  <a:pt x="128" y="375"/>
                  <a:pt x="128" y="376"/>
                </a:cubicBezTo>
                <a:cubicBezTo>
                  <a:pt x="124" y="384"/>
                  <a:pt x="124" y="384"/>
                  <a:pt x="124" y="384"/>
                </a:cubicBezTo>
                <a:cubicBezTo>
                  <a:pt x="124" y="385"/>
                  <a:pt x="124" y="386"/>
                  <a:pt x="125" y="387"/>
                </a:cubicBezTo>
                <a:cubicBezTo>
                  <a:pt x="134" y="387"/>
                  <a:pt x="134" y="387"/>
                  <a:pt x="134" y="387"/>
                </a:cubicBezTo>
                <a:cubicBezTo>
                  <a:pt x="135" y="387"/>
                  <a:pt x="136" y="387"/>
                  <a:pt x="136" y="389"/>
                </a:cubicBezTo>
                <a:lnTo>
                  <a:pt x="137" y="395"/>
                </a:lnTo>
                <a:close/>
                <a:moveTo>
                  <a:pt x="116" y="398"/>
                </a:moveTo>
                <a:cubicBezTo>
                  <a:pt x="116" y="391"/>
                  <a:pt x="110" y="385"/>
                  <a:pt x="103" y="385"/>
                </a:cubicBezTo>
                <a:cubicBezTo>
                  <a:pt x="95" y="385"/>
                  <a:pt x="89" y="391"/>
                  <a:pt x="89" y="398"/>
                </a:cubicBezTo>
                <a:cubicBezTo>
                  <a:pt x="89" y="405"/>
                  <a:pt x="95" y="411"/>
                  <a:pt x="103" y="411"/>
                </a:cubicBezTo>
                <a:cubicBezTo>
                  <a:pt x="110" y="411"/>
                  <a:pt x="116" y="405"/>
                  <a:pt x="116" y="398"/>
                </a:cubicBezTo>
                <a:close/>
                <a:moveTo>
                  <a:pt x="290" y="113"/>
                </a:moveTo>
                <a:cubicBezTo>
                  <a:pt x="292" y="115"/>
                  <a:pt x="294" y="119"/>
                  <a:pt x="294" y="122"/>
                </a:cubicBezTo>
                <a:cubicBezTo>
                  <a:pt x="294" y="130"/>
                  <a:pt x="288" y="136"/>
                  <a:pt x="280" y="136"/>
                </a:cubicBezTo>
                <a:cubicBezTo>
                  <a:pt x="275" y="136"/>
                  <a:pt x="271" y="132"/>
                  <a:pt x="268" y="128"/>
                </a:cubicBezTo>
                <a:cubicBezTo>
                  <a:pt x="262" y="132"/>
                  <a:pt x="257" y="137"/>
                  <a:pt x="251" y="141"/>
                </a:cubicBezTo>
                <a:cubicBezTo>
                  <a:pt x="251" y="142"/>
                  <a:pt x="252" y="143"/>
                  <a:pt x="253" y="144"/>
                </a:cubicBezTo>
                <a:cubicBezTo>
                  <a:pt x="253" y="144"/>
                  <a:pt x="254" y="145"/>
                  <a:pt x="255" y="144"/>
                </a:cubicBezTo>
                <a:cubicBezTo>
                  <a:pt x="255" y="144"/>
                  <a:pt x="255" y="144"/>
                  <a:pt x="264" y="141"/>
                </a:cubicBezTo>
                <a:cubicBezTo>
                  <a:pt x="265" y="142"/>
                  <a:pt x="265" y="143"/>
                  <a:pt x="266" y="143"/>
                </a:cubicBezTo>
                <a:cubicBezTo>
                  <a:pt x="266" y="143"/>
                  <a:pt x="266" y="143"/>
                  <a:pt x="265" y="152"/>
                </a:cubicBezTo>
                <a:cubicBezTo>
                  <a:pt x="265" y="153"/>
                  <a:pt x="266" y="154"/>
                  <a:pt x="267" y="155"/>
                </a:cubicBezTo>
                <a:cubicBezTo>
                  <a:pt x="267" y="155"/>
                  <a:pt x="267" y="155"/>
                  <a:pt x="273" y="156"/>
                </a:cubicBezTo>
                <a:cubicBezTo>
                  <a:pt x="274" y="157"/>
                  <a:pt x="275" y="156"/>
                  <a:pt x="276" y="156"/>
                </a:cubicBezTo>
                <a:cubicBezTo>
                  <a:pt x="276" y="156"/>
                  <a:pt x="276" y="156"/>
                  <a:pt x="280" y="148"/>
                </a:cubicBezTo>
                <a:cubicBezTo>
                  <a:pt x="280" y="148"/>
                  <a:pt x="280" y="148"/>
                  <a:pt x="280" y="148"/>
                </a:cubicBezTo>
                <a:cubicBezTo>
                  <a:pt x="281" y="148"/>
                  <a:pt x="282" y="148"/>
                  <a:pt x="283" y="147"/>
                </a:cubicBezTo>
                <a:cubicBezTo>
                  <a:pt x="283" y="147"/>
                  <a:pt x="283" y="147"/>
                  <a:pt x="288" y="155"/>
                </a:cubicBezTo>
                <a:cubicBezTo>
                  <a:pt x="289" y="156"/>
                  <a:pt x="290" y="156"/>
                  <a:pt x="291" y="156"/>
                </a:cubicBezTo>
                <a:cubicBezTo>
                  <a:pt x="291" y="156"/>
                  <a:pt x="291" y="156"/>
                  <a:pt x="297" y="153"/>
                </a:cubicBezTo>
                <a:cubicBezTo>
                  <a:pt x="298" y="153"/>
                  <a:pt x="299" y="152"/>
                  <a:pt x="298" y="151"/>
                </a:cubicBezTo>
                <a:cubicBezTo>
                  <a:pt x="298" y="151"/>
                  <a:pt x="298" y="151"/>
                  <a:pt x="296" y="142"/>
                </a:cubicBezTo>
                <a:cubicBezTo>
                  <a:pt x="297" y="141"/>
                  <a:pt x="297" y="141"/>
                  <a:pt x="298" y="140"/>
                </a:cubicBezTo>
                <a:cubicBezTo>
                  <a:pt x="298" y="140"/>
                  <a:pt x="298" y="140"/>
                  <a:pt x="306" y="143"/>
                </a:cubicBezTo>
                <a:cubicBezTo>
                  <a:pt x="307" y="144"/>
                  <a:pt x="309" y="143"/>
                  <a:pt x="309" y="142"/>
                </a:cubicBezTo>
                <a:cubicBezTo>
                  <a:pt x="309" y="142"/>
                  <a:pt x="309" y="142"/>
                  <a:pt x="312" y="136"/>
                </a:cubicBezTo>
                <a:cubicBezTo>
                  <a:pt x="313" y="136"/>
                  <a:pt x="312" y="134"/>
                  <a:pt x="312" y="134"/>
                </a:cubicBezTo>
                <a:cubicBezTo>
                  <a:pt x="312" y="134"/>
                  <a:pt x="312" y="134"/>
                  <a:pt x="305" y="128"/>
                </a:cubicBezTo>
                <a:cubicBezTo>
                  <a:pt x="305" y="127"/>
                  <a:pt x="305" y="126"/>
                  <a:pt x="305" y="125"/>
                </a:cubicBezTo>
                <a:cubicBezTo>
                  <a:pt x="305" y="125"/>
                  <a:pt x="305" y="125"/>
                  <a:pt x="314" y="122"/>
                </a:cubicBezTo>
                <a:cubicBezTo>
                  <a:pt x="314" y="121"/>
                  <a:pt x="315" y="120"/>
                  <a:pt x="315" y="119"/>
                </a:cubicBezTo>
                <a:cubicBezTo>
                  <a:pt x="314" y="113"/>
                  <a:pt x="314" y="113"/>
                  <a:pt x="314" y="113"/>
                </a:cubicBezTo>
                <a:cubicBezTo>
                  <a:pt x="314" y="112"/>
                  <a:pt x="313" y="111"/>
                  <a:pt x="312" y="111"/>
                </a:cubicBezTo>
                <a:cubicBezTo>
                  <a:pt x="312" y="111"/>
                  <a:pt x="312" y="111"/>
                  <a:pt x="303" y="111"/>
                </a:cubicBezTo>
                <a:cubicBezTo>
                  <a:pt x="302" y="110"/>
                  <a:pt x="302" y="109"/>
                  <a:pt x="301" y="109"/>
                </a:cubicBezTo>
                <a:cubicBezTo>
                  <a:pt x="301" y="109"/>
                  <a:pt x="301" y="109"/>
                  <a:pt x="304" y="103"/>
                </a:cubicBezTo>
                <a:cubicBezTo>
                  <a:pt x="299" y="107"/>
                  <a:pt x="294" y="110"/>
                  <a:pt x="290" y="113"/>
                </a:cubicBezTo>
                <a:close/>
                <a:moveTo>
                  <a:pt x="65" y="940"/>
                </a:moveTo>
                <a:cubicBezTo>
                  <a:pt x="65" y="939"/>
                  <a:pt x="64" y="938"/>
                  <a:pt x="63" y="938"/>
                </a:cubicBezTo>
                <a:cubicBezTo>
                  <a:pt x="63" y="938"/>
                  <a:pt x="63" y="938"/>
                  <a:pt x="62" y="938"/>
                </a:cubicBezTo>
                <a:cubicBezTo>
                  <a:pt x="64" y="941"/>
                  <a:pt x="65" y="943"/>
                  <a:pt x="66" y="946"/>
                </a:cubicBezTo>
                <a:cubicBezTo>
                  <a:pt x="66" y="946"/>
                  <a:pt x="66" y="946"/>
                  <a:pt x="66" y="946"/>
                </a:cubicBezTo>
                <a:lnTo>
                  <a:pt x="65" y="940"/>
                </a:lnTo>
                <a:close/>
                <a:moveTo>
                  <a:pt x="108" y="811"/>
                </a:moveTo>
                <a:cubicBezTo>
                  <a:pt x="108" y="808"/>
                  <a:pt x="106" y="806"/>
                  <a:pt x="103" y="806"/>
                </a:cubicBezTo>
                <a:cubicBezTo>
                  <a:pt x="99" y="806"/>
                  <a:pt x="97" y="808"/>
                  <a:pt x="97" y="811"/>
                </a:cubicBezTo>
                <a:cubicBezTo>
                  <a:pt x="97" y="814"/>
                  <a:pt x="99" y="817"/>
                  <a:pt x="103" y="817"/>
                </a:cubicBezTo>
                <a:cubicBezTo>
                  <a:pt x="106" y="817"/>
                  <a:pt x="108" y="814"/>
                  <a:pt x="108" y="811"/>
                </a:cubicBezTo>
                <a:close/>
                <a:moveTo>
                  <a:pt x="561" y="88"/>
                </a:moveTo>
                <a:cubicBezTo>
                  <a:pt x="567" y="88"/>
                  <a:pt x="567" y="88"/>
                  <a:pt x="567" y="88"/>
                </a:cubicBezTo>
                <a:cubicBezTo>
                  <a:pt x="568" y="88"/>
                  <a:pt x="569" y="88"/>
                  <a:pt x="569" y="89"/>
                </a:cubicBezTo>
                <a:cubicBezTo>
                  <a:pt x="571" y="98"/>
                  <a:pt x="571" y="98"/>
                  <a:pt x="571" y="98"/>
                </a:cubicBezTo>
                <a:cubicBezTo>
                  <a:pt x="572" y="99"/>
                  <a:pt x="573" y="99"/>
                  <a:pt x="574" y="99"/>
                </a:cubicBezTo>
                <a:cubicBezTo>
                  <a:pt x="581" y="94"/>
                  <a:pt x="581" y="94"/>
                  <a:pt x="581" y="94"/>
                </a:cubicBezTo>
                <a:cubicBezTo>
                  <a:pt x="582" y="93"/>
                  <a:pt x="583" y="93"/>
                  <a:pt x="584" y="94"/>
                </a:cubicBezTo>
                <a:cubicBezTo>
                  <a:pt x="589" y="98"/>
                  <a:pt x="589" y="98"/>
                  <a:pt x="589" y="98"/>
                </a:cubicBezTo>
                <a:cubicBezTo>
                  <a:pt x="589" y="98"/>
                  <a:pt x="590" y="100"/>
                  <a:pt x="589" y="101"/>
                </a:cubicBezTo>
                <a:cubicBezTo>
                  <a:pt x="585" y="109"/>
                  <a:pt x="585" y="109"/>
                  <a:pt x="585" y="109"/>
                </a:cubicBezTo>
                <a:cubicBezTo>
                  <a:pt x="585" y="109"/>
                  <a:pt x="586" y="110"/>
                  <a:pt x="586" y="111"/>
                </a:cubicBezTo>
                <a:cubicBezTo>
                  <a:pt x="595" y="111"/>
                  <a:pt x="595" y="111"/>
                  <a:pt x="595" y="111"/>
                </a:cubicBezTo>
                <a:cubicBezTo>
                  <a:pt x="596" y="111"/>
                  <a:pt x="597" y="112"/>
                  <a:pt x="597" y="113"/>
                </a:cubicBezTo>
                <a:cubicBezTo>
                  <a:pt x="599" y="119"/>
                  <a:pt x="599" y="119"/>
                  <a:pt x="599" y="119"/>
                </a:cubicBezTo>
                <a:cubicBezTo>
                  <a:pt x="599" y="120"/>
                  <a:pt x="598" y="121"/>
                  <a:pt x="597" y="122"/>
                </a:cubicBezTo>
                <a:cubicBezTo>
                  <a:pt x="589" y="125"/>
                  <a:pt x="589" y="125"/>
                  <a:pt x="589" y="125"/>
                </a:cubicBezTo>
                <a:cubicBezTo>
                  <a:pt x="589" y="126"/>
                  <a:pt x="589" y="127"/>
                  <a:pt x="588" y="128"/>
                </a:cubicBezTo>
                <a:cubicBezTo>
                  <a:pt x="595" y="134"/>
                  <a:pt x="595" y="134"/>
                  <a:pt x="595" y="134"/>
                </a:cubicBezTo>
                <a:cubicBezTo>
                  <a:pt x="596" y="134"/>
                  <a:pt x="596" y="136"/>
                  <a:pt x="596" y="136"/>
                </a:cubicBezTo>
                <a:cubicBezTo>
                  <a:pt x="593" y="142"/>
                  <a:pt x="593" y="142"/>
                  <a:pt x="593" y="142"/>
                </a:cubicBezTo>
                <a:cubicBezTo>
                  <a:pt x="592" y="143"/>
                  <a:pt x="591" y="144"/>
                  <a:pt x="590" y="143"/>
                </a:cubicBezTo>
                <a:cubicBezTo>
                  <a:pt x="581" y="140"/>
                  <a:pt x="581" y="140"/>
                  <a:pt x="581" y="140"/>
                </a:cubicBezTo>
                <a:cubicBezTo>
                  <a:pt x="581" y="141"/>
                  <a:pt x="581" y="141"/>
                  <a:pt x="580" y="142"/>
                </a:cubicBezTo>
                <a:cubicBezTo>
                  <a:pt x="582" y="151"/>
                  <a:pt x="582" y="151"/>
                  <a:pt x="582" y="151"/>
                </a:cubicBezTo>
                <a:cubicBezTo>
                  <a:pt x="582" y="152"/>
                  <a:pt x="582" y="153"/>
                  <a:pt x="581" y="153"/>
                </a:cubicBezTo>
                <a:cubicBezTo>
                  <a:pt x="575" y="156"/>
                  <a:pt x="575" y="156"/>
                  <a:pt x="575" y="156"/>
                </a:cubicBezTo>
                <a:cubicBezTo>
                  <a:pt x="574" y="156"/>
                  <a:pt x="573" y="156"/>
                  <a:pt x="572" y="155"/>
                </a:cubicBezTo>
                <a:cubicBezTo>
                  <a:pt x="567" y="147"/>
                  <a:pt x="567" y="147"/>
                  <a:pt x="567" y="147"/>
                </a:cubicBezTo>
                <a:cubicBezTo>
                  <a:pt x="566" y="148"/>
                  <a:pt x="565" y="148"/>
                  <a:pt x="564" y="148"/>
                </a:cubicBezTo>
                <a:cubicBezTo>
                  <a:pt x="564" y="148"/>
                  <a:pt x="564" y="148"/>
                  <a:pt x="564" y="148"/>
                </a:cubicBezTo>
                <a:cubicBezTo>
                  <a:pt x="559" y="156"/>
                  <a:pt x="559" y="156"/>
                  <a:pt x="559" y="156"/>
                </a:cubicBezTo>
                <a:cubicBezTo>
                  <a:pt x="559" y="156"/>
                  <a:pt x="558" y="157"/>
                  <a:pt x="557" y="156"/>
                </a:cubicBezTo>
                <a:cubicBezTo>
                  <a:pt x="551" y="155"/>
                  <a:pt x="551" y="155"/>
                  <a:pt x="551" y="155"/>
                </a:cubicBezTo>
                <a:cubicBezTo>
                  <a:pt x="550" y="154"/>
                  <a:pt x="549" y="153"/>
                  <a:pt x="549" y="152"/>
                </a:cubicBezTo>
                <a:cubicBezTo>
                  <a:pt x="550" y="143"/>
                  <a:pt x="550" y="143"/>
                  <a:pt x="550" y="143"/>
                </a:cubicBezTo>
                <a:cubicBezTo>
                  <a:pt x="549" y="143"/>
                  <a:pt x="548" y="142"/>
                  <a:pt x="547" y="141"/>
                </a:cubicBezTo>
                <a:cubicBezTo>
                  <a:pt x="539" y="144"/>
                  <a:pt x="539" y="144"/>
                  <a:pt x="539" y="144"/>
                </a:cubicBezTo>
                <a:cubicBezTo>
                  <a:pt x="538" y="145"/>
                  <a:pt x="537" y="144"/>
                  <a:pt x="536" y="144"/>
                </a:cubicBezTo>
                <a:cubicBezTo>
                  <a:pt x="533" y="138"/>
                  <a:pt x="533" y="138"/>
                  <a:pt x="533" y="138"/>
                </a:cubicBezTo>
                <a:cubicBezTo>
                  <a:pt x="532" y="137"/>
                  <a:pt x="532" y="136"/>
                  <a:pt x="533" y="135"/>
                </a:cubicBezTo>
                <a:cubicBezTo>
                  <a:pt x="540" y="129"/>
                  <a:pt x="540" y="129"/>
                  <a:pt x="540" y="129"/>
                </a:cubicBezTo>
                <a:cubicBezTo>
                  <a:pt x="540" y="128"/>
                  <a:pt x="539" y="126"/>
                  <a:pt x="539" y="125"/>
                </a:cubicBezTo>
                <a:cubicBezTo>
                  <a:pt x="531" y="122"/>
                  <a:pt x="531" y="122"/>
                  <a:pt x="531" y="122"/>
                </a:cubicBezTo>
                <a:cubicBezTo>
                  <a:pt x="530" y="121"/>
                  <a:pt x="529" y="120"/>
                  <a:pt x="529" y="119"/>
                </a:cubicBezTo>
                <a:cubicBezTo>
                  <a:pt x="530" y="113"/>
                  <a:pt x="530" y="113"/>
                  <a:pt x="530" y="113"/>
                </a:cubicBezTo>
                <a:cubicBezTo>
                  <a:pt x="531" y="112"/>
                  <a:pt x="532" y="111"/>
                  <a:pt x="533" y="111"/>
                </a:cubicBezTo>
                <a:cubicBezTo>
                  <a:pt x="542" y="111"/>
                  <a:pt x="542" y="111"/>
                  <a:pt x="542" y="111"/>
                </a:cubicBezTo>
                <a:cubicBezTo>
                  <a:pt x="542" y="110"/>
                  <a:pt x="543" y="109"/>
                  <a:pt x="543" y="109"/>
                </a:cubicBezTo>
                <a:cubicBezTo>
                  <a:pt x="539" y="101"/>
                  <a:pt x="539" y="101"/>
                  <a:pt x="539" y="101"/>
                </a:cubicBezTo>
                <a:cubicBezTo>
                  <a:pt x="538" y="100"/>
                  <a:pt x="538" y="99"/>
                  <a:pt x="539" y="98"/>
                </a:cubicBezTo>
                <a:cubicBezTo>
                  <a:pt x="544" y="94"/>
                  <a:pt x="544" y="94"/>
                  <a:pt x="544" y="94"/>
                </a:cubicBezTo>
                <a:cubicBezTo>
                  <a:pt x="545" y="93"/>
                  <a:pt x="546" y="93"/>
                  <a:pt x="547" y="94"/>
                </a:cubicBezTo>
                <a:cubicBezTo>
                  <a:pt x="554" y="99"/>
                  <a:pt x="554" y="99"/>
                  <a:pt x="554" y="99"/>
                </a:cubicBezTo>
                <a:cubicBezTo>
                  <a:pt x="555" y="99"/>
                  <a:pt x="556" y="99"/>
                  <a:pt x="557" y="98"/>
                </a:cubicBezTo>
                <a:cubicBezTo>
                  <a:pt x="559" y="89"/>
                  <a:pt x="559" y="89"/>
                  <a:pt x="559" y="89"/>
                </a:cubicBezTo>
                <a:cubicBezTo>
                  <a:pt x="559" y="88"/>
                  <a:pt x="560" y="88"/>
                  <a:pt x="561" y="88"/>
                </a:cubicBezTo>
                <a:close/>
                <a:moveTo>
                  <a:pt x="564" y="109"/>
                </a:moveTo>
                <a:cubicBezTo>
                  <a:pt x="557" y="109"/>
                  <a:pt x="551" y="115"/>
                  <a:pt x="551" y="122"/>
                </a:cubicBezTo>
                <a:cubicBezTo>
                  <a:pt x="551" y="130"/>
                  <a:pt x="557" y="136"/>
                  <a:pt x="564" y="136"/>
                </a:cubicBezTo>
                <a:cubicBezTo>
                  <a:pt x="571" y="136"/>
                  <a:pt x="577" y="130"/>
                  <a:pt x="577" y="122"/>
                </a:cubicBezTo>
                <a:cubicBezTo>
                  <a:pt x="577" y="115"/>
                  <a:pt x="571" y="109"/>
                  <a:pt x="564" y="109"/>
                </a:cubicBezTo>
                <a:close/>
                <a:moveTo>
                  <a:pt x="564" y="128"/>
                </a:moveTo>
                <a:cubicBezTo>
                  <a:pt x="567" y="128"/>
                  <a:pt x="570" y="125"/>
                  <a:pt x="570" y="122"/>
                </a:cubicBezTo>
                <a:cubicBezTo>
                  <a:pt x="570" y="119"/>
                  <a:pt x="567" y="117"/>
                  <a:pt x="564" y="117"/>
                </a:cubicBezTo>
                <a:cubicBezTo>
                  <a:pt x="561" y="117"/>
                  <a:pt x="558" y="119"/>
                  <a:pt x="558" y="122"/>
                </a:cubicBezTo>
                <a:cubicBezTo>
                  <a:pt x="558" y="125"/>
                  <a:pt x="561" y="128"/>
                  <a:pt x="564" y="128"/>
                </a:cubicBezTo>
                <a:close/>
                <a:moveTo>
                  <a:pt x="635" y="128"/>
                </a:moveTo>
                <a:cubicBezTo>
                  <a:pt x="638" y="128"/>
                  <a:pt x="640" y="125"/>
                  <a:pt x="640" y="122"/>
                </a:cubicBezTo>
                <a:cubicBezTo>
                  <a:pt x="640" y="119"/>
                  <a:pt x="638" y="117"/>
                  <a:pt x="635" y="117"/>
                </a:cubicBezTo>
                <a:cubicBezTo>
                  <a:pt x="632" y="117"/>
                  <a:pt x="629" y="119"/>
                  <a:pt x="629" y="122"/>
                </a:cubicBezTo>
                <a:cubicBezTo>
                  <a:pt x="629" y="125"/>
                  <a:pt x="632" y="128"/>
                  <a:pt x="635" y="128"/>
                </a:cubicBezTo>
                <a:close/>
                <a:moveTo>
                  <a:pt x="297" y="852"/>
                </a:moveTo>
                <a:cubicBezTo>
                  <a:pt x="297" y="852"/>
                  <a:pt x="297" y="852"/>
                  <a:pt x="290" y="857"/>
                </a:cubicBezTo>
                <a:cubicBezTo>
                  <a:pt x="289" y="857"/>
                  <a:pt x="288" y="857"/>
                  <a:pt x="288" y="856"/>
                </a:cubicBezTo>
                <a:cubicBezTo>
                  <a:pt x="288" y="856"/>
                  <a:pt x="288" y="856"/>
                  <a:pt x="286" y="847"/>
                </a:cubicBezTo>
                <a:cubicBezTo>
                  <a:pt x="286" y="846"/>
                  <a:pt x="284" y="845"/>
                  <a:pt x="284" y="845"/>
                </a:cubicBezTo>
                <a:cubicBezTo>
                  <a:pt x="284" y="845"/>
                  <a:pt x="284" y="845"/>
                  <a:pt x="277" y="845"/>
                </a:cubicBezTo>
                <a:cubicBezTo>
                  <a:pt x="276" y="845"/>
                  <a:pt x="275" y="846"/>
                  <a:pt x="275" y="847"/>
                </a:cubicBezTo>
                <a:cubicBezTo>
                  <a:pt x="275" y="847"/>
                  <a:pt x="275" y="847"/>
                  <a:pt x="273" y="856"/>
                </a:cubicBezTo>
                <a:cubicBezTo>
                  <a:pt x="272" y="857"/>
                  <a:pt x="271" y="857"/>
                  <a:pt x="270" y="857"/>
                </a:cubicBezTo>
                <a:cubicBezTo>
                  <a:pt x="270" y="857"/>
                  <a:pt x="270" y="857"/>
                  <a:pt x="263" y="852"/>
                </a:cubicBezTo>
                <a:cubicBezTo>
                  <a:pt x="262" y="851"/>
                  <a:pt x="261" y="851"/>
                  <a:pt x="260" y="852"/>
                </a:cubicBezTo>
                <a:cubicBezTo>
                  <a:pt x="260" y="852"/>
                  <a:pt x="260" y="852"/>
                  <a:pt x="256" y="856"/>
                </a:cubicBezTo>
                <a:cubicBezTo>
                  <a:pt x="255" y="857"/>
                  <a:pt x="254" y="858"/>
                  <a:pt x="255" y="859"/>
                </a:cubicBezTo>
                <a:cubicBezTo>
                  <a:pt x="255" y="859"/>
                  <a:pt x="255" y="859"/>
                  <a:pt x="259" y="867"/>
                </a:cubicBezTo>
                <a:cubicBezTo>
                  <a:pt x="259" y="867"/>
                  <a:pt x="258" y="868"/>
                  <a:pt x="258" y="869"/>
                </a:cubicBezTo>
                <a:cubicBezTo>
                  <a:pt x="258" y="869"/>
                  <a:pt x="258" y="869"/>
                  <a:pt x="249" y="869"/>
                </a:cubicBezTo>
                <a:cubicBezTo>
                  <a:pt x="248" y="869"/>
                  <a:pt x="247" y="870"/>
                  <a:pt x="247" y="871"/>
                </a:cubicBezTo>
                <a:cubicBezTo>
                  <a:pt x="247" y="871"/>
                  <a:pt x="247" y="871"/>
                  <a:pt x="246" y="877"/>
                </a:cubicBezTo>
                <a:cubicBezTo>
                  <a:pt x="246" y="878"/>
                  <a:pt x="246" y="879"/>
                  <a:pt x="247" y="880"/>
                </a:cubicBezTo>
                <a:cubicBezTo>
                  <a:pt x="247" y="880"/>
                  <a:pt x="247" y="880"/>
                  <a:pt x="252" y="882"/>
                </a:cubicBezTo>
                <a:cubicBezTo>
                  <a:pt x="271" y="871"/>
                  <a:pt x="271" y="871"/>
                  <a:pt x="271" y="871"/>
                </a:cubicBezTo>
                <a:cubicBezTo>
                  <a:pt x="272" y="869"/>
                  <a:pt x="275" y="868"/>
                  <a:pt x="277" y="867"/>
                </a:cubicBezTo>
                <a:cubicBezTo>
                  <a:pt x="302" y="853"/>
                  <a:pt x="302" y="853"/>
                  <a:pt x="302" y="853"/>
                </a:cubicBezTo>
                <a:cubicBezTo>
                  <a:pt x="302" y="853"/>
                  <a:pt x="301" y="852"/>
                  <a:pt x="300" y="852"/>
                </a:cubicBezTo>
                <a:cubicBezTo>
                  <a:pt x="299" y="851"/>
                  <a:pt x="298" y="851"/>
                  <a:pt x="297" y="852"/>
                </a:cubicBezTo>
                <a:close/>
                <a:moveTo>
                  <a:pt x="103" y="837"/>
                </a:moveTo>
                <a:cubicBezTo>
                  <a:pt x="102" y="837"/>
                  <a:pt x="102" y="837"/>
                  <a:pt x="102" y="837"/>
                </a:cubicBezTo>
                <a:cubicBezTo>
                  <a:pt x="98" y="845"/>
                  <a:pt x="98" y="845"/>
                  <a:pt x="98" y="845"/>
                </a:cubicBezTo>
                <a:cubicBezTo>
                  <a:pt x="97" y="845"/>
                  <a:pt x="96" y="846"/>
                  <a:pt x="95" y="845"/>
                </a:cubicBezTo>
                <a:cubicBezTo>
                  <a:pt x="89" y="844"/>
                  <a:pt x="89" y="844"/>
                  <a:pt x="89" y="844"/>
                </a:cubicBezTo>
                <a:cubicBezTo>
                  <a:pt x="88" y="843"/>
                  <a:pt x="88" y="842"/>
                  <a:pt x="88" y="841"/>
                </a:cubicBezTo>
                <a:cubicBezTo>
                  <a:pt x="89" y="832"/>
                  <a:pt x="89" y="832"/>
                  <a:pt x="89" y="832"/>
                </a:cubicBezTo>
                <a:cubicBezTo>
                  <a:pt x="88" y="832"/>
                  <a:pt x="87" y="831"/>
                  <a:pt x="86" y="830"/>
                </a:cubicBezTo>
                <a:cubicBezTo>
                  <a:pt x="78" y="833"/>
                  <a:pt x="78" y="833"/>
                  <a:pt x="78" y="833"/>
                </a:cubicBezTo>
                <a:cubicBezTo>
                  <a:pt x="77" y="834"/>
                  <a:pt x="75" y="833"/>
                  <a:pt x="75" y="833"/>
                </a:cubicBezTo>
                <a:cubicBezTo>
                  <a:pt x="71" y="827"/>
                  <a:pt x="71" y="827"/>
                  <a:pt x="71" y="827"/>
                </a:cubicBezTo>
                <a:cubicBezTo>
                  <a:pt x="71" y="826"/>
                  <a:pt x="71" y="825"/>
                  <a:pt x="72" y="824"/>
                </a:cubicBezTo>
                <a:cubicBezTo>
                  <a:pt x="78" y="818"/>
                  <a:pt x="78" y="818"/>
                  <a:pt x="78" y="818"/>
                </a:cubicBezTo>
                <a:cubicBezTo>
                  <a:pt x="78" y="817"/>
                  <a:pt x="78" y="815"/>
                  <a:pt x="78" y="814"/>
                </a:cubicBezTo>
                <a:cubicBezTo>
                  <a:pt x="69" y="811"/>
                  <a:pt x="69" y="811"/>
                  <a:pt x="69" y="811"/>
                </a:cubicBezTo>
                <a:cubicBezTo>
                  <a:pt x="68" y="810"/>
                  <a:pt x="68" y="809"/>
                  <a:pt x="68" y="808"/>
                </a:cubicBezTo>
                <a:cubicBezTo>
                  <a:pt x="69" y="802"/>
                  <a:pt x="69" y="802"/>
                  <a:pt x="69" y="802"/>
                </a:cubicBezTo>
                <a:cubicBezTo>
                  <a:pt x="69" y="801"/>
                  <a:pt x="70" y="800"/>
                  <a:pt x="71" y="800"/>
                </a:cubicBezTo>
                <a:cubicBezTo>
                  <a:pt x="80" y="800"/>
                  <a:pt x="80" y="800"/>
                  <a:pt x="80" y="800"/>
                </a:cubicBezTo>
                <a:cubicBezTo>
                  <a:pt x="81" y="799"/>
                  <a:pt x="81" y="798"/>
                  <a:pt x="82" y="798"/>
                </a:cubicBezTo>
                <a:cubicBezTo>
                  <a:pt x="77" y="790"/>
                  <a:pt x="77" y="790"/>
                  <a:pt x="77" y="790"/>
                </a:cubicBezTo>
                <a:cubicBezTo>
                  <a:pt x="77" y="789"/>
                  <a:pt x="77" y="788"/>
                  <a:pt x="78" y="787"/>
                </a:cubicBezTo>
                <a:cubicBezTo>
                  <a:pt x="82" y="783"/>
                  <a:pt x="82" y="783"/>
                  <a:pt x="82" y="783"/>
                </a:cubicBezTo>
                <a:cubicBezTo>
                  <a:pt x="83" y="782"/>
                  <a:pt x="85" y="782"/>
                  <a:pt x="86" y="783"/>
                </a:cubicBezTo>
                <a:cubicBezTo>
                  <a:pt x="93" y="788"/>
                  <a:pt x="93" y="788"/>
                  <a:pt x="93" y="788"/>
                </a:cubicBezTo>
                <a:cubicBezTo>
                  <a:pt x="93" y="788"/>
                  <a:pt x="94" y="788"/>
                  <a:pt x="95" y="787"/>
                </a:cubicBezTo>
                <a:cubicBezTo>
                  <a:pt x="97" y="778"/>
                  <a:pt x="97" y="778"/>
                  <a:pt x="97" y="778"/>
                </a:cubicBezTo>
                <a:cubicBezTo>
                  <a:pt x="97" y="778"/>
                  <a:pt x="98" y="777"/>
                  <a:pt x="99" y="777"/>
                </a:cubicBezTo>
                <a:cubicBezTo>
                  <a:pt x="106" y="777"/>
                  <a:pt x="106" y="777"/>
                  <a:pt x="106" y="777"/>
                </a:cubicBezTo>
                <a:cubicBezTo>
                  <a:pt x="107" y="777"/>
                  <a:pt x="108" y="778"/>
                  <a:pt x="108" y="778"/>
                </a:cubicBezTo>
                <a:cubicBezTo>
                  <a:pt x="110" y="787"/>
                  <a:pt x="110" y="787"/>
                  <a:pt x="110" y="787"/>
                </a:cubicBezTo>
                <a:cubicBezTo>
                  <a:pt x="111" y="788"/>
                  <a:pt x="112" y="788"/>
                  <a:pt x="112" y="788"/>
                </a:cubicBezTo>
                <a:cubicBezTo>
                  <a:pt x="120" y="783"/>
                  <a:pt x="120" y="783"/>
                  <a:pt x="120" y="783"/>
                </a:cubicBezTo>
                <a:cubicBezTo>
                  <a:pt x="120" y="782"/>
                  <a:pt x="122" y="782"/>
                  <a:pt x="123" y="783"/>
                </a:cubicBezTo>
                <a:cubicBezTo>
                  <a:pt x="127" y="787"/>
                  <a:pt x="127" y="787"/>
                  <a:pt x="127" y="787"/>
                </a:cubicBezTo>
                <a:cubicBezTo>
                  <a:pt x="128" y="787"/>
                  <a:pt x="128" y="789"/>
                  <a:pt x="128" y="790"/>
                </a:cubicBezTo>
                <a:cubicBezTo>
                  <a:pt x="124" y="798"/>
                  <a:pt x="124" y="798"/>
                  <a:pt x="124" y="798"/>
                </a:cubicBezTo>
                <a:cubicBezTo>
                  <a:pt x="124" y="798"/>
                  <a:pt x="124" y="799"/>
                  <a:pt x="125" y="800"/>
                </a:cubicBezTo>
                <a:cubicBezTo>
                  <a:pt x="134" y="800"/>
                  <a:pt x="134" y="800"/>
                  <a:pt x="134" y="800"/>
                </a:cubicBezTo>
                <a:cubicBezTo>
                  <a:pt x="135" y="800"/>
                  <a:pt x="136" y="801"/>
                  <a:pt x="136" y="802"/>
                </a:cubicBezTo>
                <a:cubicBezTo>
                  <a:pt x="137" y="808"/>
                  <a:pt x="137" y="808"/>
                  <a:pt x="137" y="808"/>
                </a:cubicBezTo>
                <a:cubicBezTo>
                  <a:pt x="137" y="809"/>
                  <a:pt x="137" y="810"/>
                  <a:pt x="136" y="811"/>
                </a:cubicBezTo>
                <a:cubicBezTo>
                  <a:pt x="127" y="814"/>
                  <a:pt x="127" y="814"/>
                  <a:pt x="127" y="814"/>
                </a:cubicBezTo>
                <a:cubicBezTo>
                  <a:pt x="127" y="815"/>
                  <a:pt x="127" y="816"/>
                  <a:pt x="127" y="817"/>
                </a:cubicBezTo>
                <a:cubicBezTo>
                  <a:pt x="134" y="823"/>
                  <a:pt x="134" y="823"/>
                  <a:pt x="134" y="823"/>
                </a:cubicBezTo>
                <a:cubicBezTo>
                  <a:pt x="135" y="823"/>
                  <a:pt x="135" y="825"/>
                  <a:pt x="134" y="825"/>
                </a:cubicBezTo>
                <a:cubicBezTo>
                  <a:pt x="131" y="831"/>
                  <a:pt x="131" y="831"/>
                  <a:pt x="131" y="831"/>
                </a:cubicBezTo>
                <a:cubicBezTo>
                  <a:pt x="131" y="832"/>
                  <a:pt x="130" y="833"/>
                  <a:pt x="128" y="832"/>
                </a:cubicBezTo>
                <a:cubicBezTo>
                  <a:pt x="120" y="829"/>
                  <a:pt x="120" y="829"/>
                  <a:pt x="120" y="829"/>
                </a:cubicBezTo>
                <a:cubicBezTo>
                  <a:pt x="120" y="830"/>
                  <a:pt x="119" y="830"/>
                  <a:pt x="119" y="831"/>
                </a:cubicBezTo>
                <a:cubicBezTo>
                  <a:pt x="120" y="840"/>
                  <a:pt x="120" y="840"/>
                  <a:pt x="120" y="840"/>
                </a:cubicBezTo>
                <a:cubicBezTo>
                  <a:pt x="121" y="841"/>
                  <a:pt x="120" y="842"/>
                  <a:pt x="119" y="842"/>
                </a:cubicBezTo>
                <a:cubicBezTo>
                  <a:pt x="113" y="845"/>
                  <a:pt x="113" y="845"/>
                  <a:pt x="113" y="845"/>
                </a:cubicBezTo>
                <a:cubicBezTo>
                  <a:pt x="112" y="845"/>
                  <a:pt x="111" y="845"/>
                  <a:pt x="111" y="844"/>
                </a:cubicBezTo>
                <a:cubicBezTo>
                  <a:pt x="105" y="836"/>
                  <a:pt x="105" y="836"/>
                  <a:pt x="105" y="836"/>
                </a:cubicBezTo>
                <a:cubicBezTo>
                  <a:pt x="105" y="837"/>
                  <a:pt x="104" y="837"/>
                  <a:pt x="103" y="837"/>
                </a:cubicBezTo>
                <a:close/>
                <a:moveTo>
                  <a:pt x="103" y="825"/>
                </a:moveTo>
                <a:cubicBezTo>
                  <a:pt x="110" y="825"/>
                  <a:pt x="116" y="819"/>
                  <a:pt x="116" y="811"/>
                </a:cubicBezTo>
                <a:cubicBezTo>
                  <a:pt x="116" y="804"/>
                  <a:pt x="110" y="798"/>
                  <a:pt x="103" y="798"/>
                </a:cubicBezTo>
                <a:cubicBezTo>
                  <a:pt x="95" y="798"/>
                  <a:pt x="89" y="804"/>
                  <a:pt x="89" y="811"/>
                </a:cubicBezTo>
                <a:cubicBezTo>
                  <a:pt x="89" y="819"/>
                  <a:pt x="95" y="825"/>
                  <a:pt x="103" y="825"/>
                </a:cubicBezTo>
                <a:close/>
                <a:moveTo>
                  <a:pt x="138" y="699"/>
                </a:moveTo>
                <a:cubicBezTo>
                  <a:pt x="134" y="707"/>
                  <a:pt x="134" y="707"/>
                  <a:pt x="134" y="707"/>
                </a:cubicBezTo>
                <a:cubicBezTo>
                  <a:pt x="133" y="708"/>
                  <a:pt x="132" y="708"/>
                  <a:pt x="131" y="708"/>
                </a:cubicBezTo>
                <a:cubicBezTo>
                  <a:pt x="125" y="706"/>
                  <a:pt x="125" y="706"/>
                  <a:pt x="125" y="706"/>
                </a:cubicBezTo>
                <a:cubicBezTo>
                  <a:pt x="124" y="706"/>
                  <a:pt x="124" y="705"/>
                  <a:pt x="124" y="703"/>
                </a:cubicBezTo>
                <a:cubicBezTo>
                  <a:pt x="125" y="694"/>
                  <a:pt x="125" y="694"/>
                  <a:pt x="125" y="694"/>
                </a:cubicBezTo>
                <a:cubicBezTo>
                  <a:pt x="124" y="694"/>
                  <a:pt x="123" y="693"/>
                  <a:pt x="122" y="693"/>
                </a:cubicBezTo>
                <a:cubicBezTo>
                  <a:pt x="114" y="696"/>
                  <a:pt x="114" y="696"/>
                  <a:pt x="114" y="696"/>
                </a:cubicBezTo>
                <a:cubicBezTo>
                  <a:pt x="113" y="696"/>
                  <a:pt x="111" y="696"/>
                  <a:pt x="111" y="695"/>
                </a:cubicBezTo>
                <a:cubicBezTo>
                  <a:pt x="107" y="690"/>
                  <a:pt x="107" y="690"/>
                  <a:pt x="107" y="690"/>
                </a:cubicBezTo>
                <a:cubicBezTo>
                  <a:pt x="107" y="689"/>
                  <a:pt x="107" y="687"/>
                  <a:pt x="108" y="686"/>
                </a:cubicBezTo>
                <a:cubicBezTo>
                  <a:pt x="114" y="680"/>
                  <a:pt x="114" y="680"/>
                  <a:pt x="114" y="680"/>
                </a:cubicBezTo>
                <a:cubicBezTo>
                  <a:pt x="114" y="679"/>
                  <a:pt x="114" y="678"/>
                  <a:pt x="114" y="676"/>
                </a:cubicBezTo>
                <a:cubicBezTo>
                  <a:pt x="105" y="673"/>
                  <a:pt x="105" y="673"/>
                  <a:pt x="105" y="673"/>
                </a:cubicBezTo>
                <a:cubicBezTo>
                  <a:pt x="104" y="673"/>
                  <a:pt x="104" y="671"/>
                  <a:pt x="104" y="670"/>
                </a:cubicBezTo>
                <a:cubicBezTo>
                  <a:pt x="105" y="664"/>
                  <a:pt x="105" y="664"/>
                  <a:pt x="105" y="664"/>
                </a:cubicBezTo>
                <a:cubicBezTo>
                  <a:pt x="105" y="663"/>
                  <a:pt x="106" y="662"/>
                  <a:pt x="107" y="662"/>
                </a:cubicBezTo>
                <a:cubicBezTo>
                  <a:pt x="116" y="662"/>
                  <a:pt x="116" y="662"/>
                  <a:pt x="116" y="662"/>
                </a:cubicBezTo>
                <a:cubicBezTo>
                  <a:pt x="117" y="661"/>
                  <a:pt x="117" y="661"/>
                  <a:pt x="118" y="660"/>
                </a:cubicBezTo>
                <a:cubicBezTo>
                  <a:pt x="113" y="652"/>
                  <a:pt x="113" y="652"/>
                  <a:pt x="113" y="652"/>
                </a:cubicBezTo>
                <a:cubicBezTo>
                  <a:pt x="113" y="651"/>
                  <a:pt x="113" y="650"/>
                  <a:pt x="114" y="649"/>
                </a:cubicBezTo>
                <a:cubicBezTo>
                  <a:pt x="118" y="645"/>
                  <a:pt x="118" y="645"/>
                  <a:pt x="118" y="645"/>
                </a:cubicBezTo>
                <a:cubicBezTo>
                  <a:pt x="119" y="644"/>
                  <a:pt x="121" y="644"/>
                  <a:pt x="122" y="645"/>
                </a:cubicBezTo>
                <a:cubicBezTo>
                  <a:pt x="129" y="650"/>
                  <a:pt x="129" y="650"/>
                  <a:pt x="129" y="650"/>
                </a:cubicBezTo>
                <a:cubicBezTo>
                  <a:pt x="129" y="650"/>
                  <a:pt x="130" y="650"/>
                  <a:pt x="131" y="650"/>
                </a:cubicBezTo>
                <a:cubicBezTo>
                  <a:pt x="133" y="641"/>
                  <a:pt x="133" y="641"/>
                  <a:pt x="133" y="641"/>
                </a:cubicBezTo>
                <a:cubicBezTo>
                  <a:pt x="133" y="640"/>
                  <a:pt x="134" y="639"/>
                  <a:pt x="135" y="639"/>
                </a:cubicBezTo>
                <a:cubicBezTo>
                  <a:pt x="142" y="639"/>
                  <a:pt x="142" y="639"/>
                  <a:pt x="142" y="639"/>
                </a:cubicBezTo>
                <a:cubicBezTo>
                  <a:pt x="143" y="639"/>
                  <a:pt x="144" y="640"/>
                  <a:pt x="144" y="641"/>
                </a:cubicBezTo>
                <a:cubicBezTo>
                  <a:pt x="146" y="650"/>
                  <a:pt x="146" y="650"/>
                  <a:pt x="146" y="650"/>
                </a:cubicBezTo>
                <a:cubicBezTo>
                  <a:pt x="147" y="650"/>
                  <a:pt x="148" y="650"/>
                  <a:pt x="148" y="650"/>
                </a:cubicBezTo>
                <a:cubicBezTo>
                  <a:pt x="156" y="645"/>
                  <a:pt x="156" y="645"/>
                  <a:pt x="156" y="645"/>
                </a:cubicBezTo>
                <a:cubicBezTo>
                  <a:pt x="156" y="644"/>
                  <a:pt x="158" y="644"/>
                  <a:pt x="159" y="645"/>
                </a:cubicBezTo>
                <a:cubicBezTo>
                  <a:pt x="163" y="649"/>
                  <a:pt x="163" y="649"/>
                  <a:pt x="163" y="649"/>
                </a:cubicBezTo>
                <a:cubicBezTo>
                  <a:pt x="164" y="650"/>
                  <a:pt x="164" y="651"/>
                  <a:pt x="164" y="652"/>
                </a:cubicBezTo>
                <a:cubicBezTo>
                  <a:pt x="160" y="660"/>
                  <a:pt x="160" y="660"/>
                  <a:pt x="160" y="660"/>
                </a:cubicBezTo>
                <a:cubicBezTo>
                  <a:pt x="160" y="661"/>
                  <a:pt x="160" y="661"/>
                  <a:pt x="161" y="662"/>
                </a:cubicBezTo>
                <a:cubicBezTo>
                  <a:pt x="170" y="662"/>
                  <a:pt x="170" y="662"/>
                  <a:pt x="170" y="662"/>
                </a:cubicBezTo>
                <a:cubicBezTo>
                  <a:pt x="171" y="662"/>
                  <a:pt x="172" y="663"/>
                  <a:pt x="172" y="664"/>
                </a:cubicBezTo>
                <a:cubicBezTo>
                  <a:pt x="173" y="670"/>
                  <a:pt x="173" y="670"/>
                  <a:pt x="173" y="670"/>
                </a:cubicBezTo>
                <a:cubicBezTo>
                  <a:pt x="173" y="671"/>
                  <a:pt x="173" y="673"/>
                  <a:pt x="172" y="673"/>
                </a:cubicBezTo>
                <a:cubicBezTo>
                  <a:pt x="163" y="676"/>
                  <a:pt x="163" y="676"/>
                  <a:pt x="163" y="676"/>
                </a:cubicBezTo>
                <a:cubicBezTo>
                  <a:pt x="163" y="677"/>
                  <a:pt x="163" y="678"/>
                  <a:pt x="163" y="679"/>
                </a:cubicBezTo>
                <a:cubicBezTo>
                  <a:pt x="170" y="685"/>
                  <a:pt x="170" y="685"/>
                  <a:pt x="170" y="685"/>
                </a:cubicBezTo>
                <a:cubicBezTo>
                  <a:pt x="171" y="686"/>
                  <a:pt x="171" y="687"/>
                  <a:pt x="170" y="688"/>
                </a:cubicBezTo>
                <a:cubicBezTo>
                  <a:pt x="167" y="693"/>
                  <a:pt x="167" y="693"/>
                  <a:pt x="167" y="693"/>
                </a:cubicBezTo>
                <a:cubicBezTo>
                  <a:pt x="167" y="694"/>
                  <a:pt x="166" y="695"/>
                  <a:pt x="164" y="694"/>
                </a:cubicBezTo>
                <a:cubicBezTo>
                  <a:pt x="156" y="692"/>
                  <a:pt x="156" y="692"/>
                  <a:pt x="156" y="692"/>
                </a:cubicBezTo>
                <a:cubicBezTo>
                  <a:pt x="156" y="692"/>
                  <a:pt x="155" y="692"/>
                  <a:pt x="155" y="693"/>
                </a:cubicBezTo>
                <a:cubicBezTo>
                  <a:pt x="156" y="702"/>
                  <a:pt x="156" y="702"/>
                  <a:pt x="156" y="702"/>
                </a:cubicBezTo>
                <a:cubicBezTo>
                  <a:pt x="157" y="703"/>
                  <a:pt x="156" y="704"/>
                  <a:pt x="155" y="704"/>
                </a:cubicBezTo>
                <a:cubicBezTo>
                  <a:pt x="149" y="707"/>
                  <a:pt x="149" y="707"/>
                  <a:pt x="149" y="707"/>
                </a:cubicBezTo>
                <a:cubicBezTo>
                  <a:pt x="148" y="707"/>
                  <a:pt x="147" y="707"/>
                  <a:pt x="147" y="706"/>
                </a:cubicBezTo>
                <a:cubicBezTo>
                  <a:pt x="141" y="698"/>
                  <a:pt x="141" y="698"/>
                  <a:pt x="141" y="698"/>
                </a:cubicBezTo>
                <a:cubicBezTo>
                  <a:pt x="141" y="699"/>
                  <a:pt x="140" y="699"/>
                  <a:pt x="139" y="699"/>
                </a:cubicBezTo>
                <a:cubicBezTo>
                  <a:pt x="138" y="699"/>
                  <a:pt x="138" y="699"/>
                  <a:pt x="138" y="699"/>
                </a:cubicBezTo>
                <a:close/>
                <a:moveTo>
                  <a:pt x="139" y="687"/>
                </a:moveTo>
                <a:cubicBezTo>
                  <a:pt x="146" y="687"/>
                  <a:pt x="152" y="681"/>
                  <a:pt x="152" y="674"/>
                </a:cubicBezTo>
                <a:cubicBezTo>
                  <a:pt x="152" y="666"/>
                  <a:pt x="146" y="660"/>
                  <a:pt x="139" y="660"/>
                </a:cubicBezTo>
                <a:cubicBezTo>
                  <a:pt x="131" y="660"/>
                  <a:pt x="125" y="666"/>
                  <a:pt x="125" y="674"/>
                </a:cubicBezTo>
                <a:cubicBezTo>
                  <a:pt x="125" y="681"/>
                  <a:pt x="131" y="687"/>
                  <a:pt x="139" y="687"/>
                </a:cubicBezTo>
                <a:close/>
                <a:moveTo>
                  <a:pt x="103" y="944"/>
                </a:moveTo>
                <a:cubicBezTo>
                  <a:pt x="99" y="944"/>
                  <a:pt x="97" y="946"/>
                  <a:pt x="97" y="949"/>
                </a:cubicBezTo>
                <a:cubicBezTo>
                  <a:pt x="97" y="952"/>
                  <a:pt x="99" y="955"/>
                  <a:pt x="103" y="955"/>
                </a:cubicBezTo>
                <a:cubicBezTo>
                  <a:pt x="106" y="955"/>
                  <a:pt x="108" y="952"/>
                  <a:pt x="108" y="949"/>
                </a:cubicBezTo>
                <a:cubicBezTo>
                  <a:pt x="108" y="946"/>
                  <a:pt x="106" y="944"/>
                  <a:pt x="103" y="944"/>
                </a:cubicBezTo>
                <a:close/>
                <a:moveTo>
                  <a:pt x="127" y="954"/>
                </a:moveTo>
                <a:cubicBezTo>
                  <a:pt x="88" y="977"/>
                  <a:pt x="88" y="977"/>
                  <a:pt x="88" y="977"/>
                </a:cubicBezTo>
                <a:cubicBezTo>
                  <a:pt x="89" y="970"/>
                  <a:pt x="89" y="970"/>
                  <a:pt x="89" y="970"/>
                </a:cubicBezTo>
                <a:cubicBezTo>
                  <a:pt x="88" y="969"/>
                  <a:pt x="87" y="969"/>
                  <a:pt x="86" y="968"/>
                </a:cubicBezTo>
                <a:cubicBezTo>
                  <a:pt x="82" y="970"/>
                  <a:pt x="80" y="970"/>
                  <a:pt x="79" y="971"/>
                </a:cubicBezTo>
                <a:cubicBezTo>
                  <a:pt x="77" y="967"/>
                  <a:pt x="75" y="964"/>
                  <a:pt x="74" y="961"/>
                </a:cubicBezTo>
                <a:cubicBezTo>
                  <a:pt x="78" y="956"/>
                  <a:pt x="78" y="956"/>
                  <a:pt x="78" y="956"/>
                </a:cubicBezTo>
                <a:cubicBezTo>
                  <a:pt x="78" y="955"/>
                  <a:pt x="78" y="953"/>
                  <a:pt x="78" y="952"/>
                </a:cubicBezTo>
                <a:cubicBezTo>
                  <a:pt x="69" y="949"/>
                  <a:pt x="69" y="949"/>
                  <a:pt x="69" y="949"/>
                </a:cubicBezTo>
                <a:cubicBezTo>
                  <a:pt x="68" y="948"/>
                  <a:pt x="68" y="947"/>
                  <a:pt x="68" y="946"/>
                </a:cubicBezTo>
                <a:cubicBezTo>
                  <a:pt x="69" y="940"/>
                  <a:pt x="69" y="940"/>
                  <a:pt x="69" y="940"/>
                </a:cubicBezTo>
                <a:cubicBezTo>
                  <a:pt x="69" y="939"/>
                  <a:pt x="70" y="938"/>
                  <a:pt x="71" y="938"/>
                </a:cubicBezTo>
                <a:cubicBezTo>
                  <a:pt x="80" y="938"/>
                  <a:pt x="80" y="938"/>
                  <a:pt x="80" y="938"/>
                </a:cubicBezTo>
                <a:cubicBezTo>
                  <a:pt x="81" y="937"/>
                  <a:pt x="81" y="936"/>
                  <a:pt x="82" y="936"/>
                </a:cubicBezTo>
                <a:cubicBezTo>
                  <a:pt x="77" y="928"/>
                  <a:pt x="77" y="928"/>
                  <a:pt x="77" y="928"/>
                </a:cubicBezTo>
                <a:cubicBezTo>
                  <a:pt x="77" y="927"/>
                  <a:pt x="77" y="925"/>
                  <a:pt x="78" y="925"/>
                </a:cubicBezTo>
                <a:cubicBezTo>
                  <a:pt x="82" y="921"/>
                  <a:pt x="82" y="921"/>
                  <a:pt x="82" y="921"/>
                </a:cubicBezTo>
                <a:cubicBezTo>
                  <a:pt x="83" y="920"/>
                  <a:pt x="85" y="920"/>
                  <a:pt x="86" y="921"/>
                </a:cubicBezTo>
                <a:cubicBezTo>
                  <a:pt x="93" y="926"/>
                  <a:pt x="93" y="926"/>
                  <a:pt x="93" y="926"/>
                </a:cubicBezTo>
                <a:cubicBezTo>
                  <a:pt x="93" y="926"/>
                  <a:pt x="94" y="925"/>
                  <a:pt x="95" y="925"/>
                </a:cubicBezTo>
                <a:cubicBezTo>
                  <a:pt x="97" y="916"/>
                  <a:pt x="97" y="916"/>
                  <a:pt x="97" y="916"/>
                </a:cubicBezTo>
                <a:cubicBezTo>
                  <a:pt x="97" y="915"/>
                  <a:pt x="98" y="914"/>
                  <a:pt x="99" y="914"/>
                </a:cubicBezTo>
                <a:cubicBezTo>
                  <a:pt x="106" y="914"/>
                  <a:pt x="106" y="914"/>
                  <a:pt x="106" y="914"/>
                </a:cubicBezTo>
                <a:cubicBezTo>
                  <a:pt x="107" y="914"/>
                  <a:pt x="108" y="915"/>
                  <a:pt x="108" y="916"/>
                </a:cubicBezTo>
                <a:cubicBezTo>
                  <a:pt x="110" y="925"/>
                  <a:pt x="110" y="925"/>
                  <a:pt x="110" y="925"/>
                </a:cubicBezTo>
                <a:cubicBezTo>
                  <a:pt x="111" y="925"/>
                  <a:pt x="112" y="926"/>
                  <a:pt x="112" y="926"/>
                </a:cubicBezTo>
                <a:cubicBezTo>
                  <a:pt x="120" y="921"/>
                  <a:pt x="120" y="921"/>
                  <a:pt x="120" y="921"/>
                </a:cubicBezTo>
                <a:cubicBezTo>
                  <a:pt x="120" y="920"/>
                  <a:pt x="122" y="920"/>
                  <a:pt x="123" y="921"/>
                </a:cubicBezTo>
                <a:cubicBezTo>
                  <a:pt x="127" y="925"/>
                  <a:pt x="127" y="925"/>
                  <a:pt x="127" y="925"/>
                </a:cubicBezTo>
                <a:cubicBezTo>
                  <a:pt x="128" y="925"/>
                  <a:pt x="128" y="927"/>
                  <a:pt x="128" y="928"/>
                </a:cubicBezTo>
                <a:cubicBezTo>
                  <a:pt x="124" y="936"/>
                  <a:pt x="124" y="936"/>
                  <a:pt x="124" y="936"/>
                </a:cubicBezTo>
                <a:cubicBezTo>
                  <a:pt x="124" y="936"/>
                  <a:pt x="124" y="937"/>
                  <a:pt x="125" y="938"/>
                </a:cubicBezTo>
                <a:cubicBezTo>
                  <a:pt x="134" y="938"/>
                  <a:pt x="134" y="938"/>
                  <a:pt x="134" y="938"/>
                </a:cubicBezTo>
                <a:cubicBezTo>
                  <a:pt x="135" y="938"/>
                  <a:pt x="136" y="939"/>
                  <a:pt x="136" y="940"/>
                </a:cubicBezTo>
                <a:cubicBezTo>
                  <a:pt x="137" y="946"/>
                  <a:pt x="137" y="946"/>
                  <a:pt x="137" y="946"/>
                </a:cubicBezTo>
                <a:cubicBezTo>
                  <a:pt x="137" y="947"/>
                  <a:pt x="137" y="948"/>
                  <a:pt x="136" y="949"/>
                </a:cubicBezTo>
                <a:cubicBezTo>
                  <a:pt x="127" y="952"/>
                  <a:pt x="127" y="952"/>
                  <a:pt x="127" y="952"/>
                </a:cubicBezTo>
                <a:cubicBezTo>
                  <a:pt x="127" y="953"/>
                  <a:pt x="127" y="953"/>
                  <a:pt x="127" y="954"/>
                </a:cubicBezTo>
                <a:close/>
                <a:moveTo>
                  <a:pt x="116" y="949"/>
                </a:moveTo>
                <a:cubicBezTo>
                  <a:pt x="116" y="942"/>
                  <a:pt x="110" y="936"/>
                  <a:pt x="103" y="936"/>
                </a:cubicBezTo>
                <a:cubicBezTo>
                  <a:pt x="95" y="936"/>
                  <a:pt x="89" y="942"/>
                  <a:pt x="89" y="949"/>
                </a:cubicBezTo>
                <a:cubicBezTo>
                  <a:pt x="89" y="957"/>
                  <a:pt x="95" y="962"/>
                  <a:pt x="103" y="962"/>
                </a:cubicBezTo>
                <a:cubicBezTo>
                  <a:pt x="110" y="962"/>
                  <a:pt x="116" y="957"/>
                  <a:pt x="116" y="949"/>
                </a:cubicBezTo>
                <a:close/>
                <a:moveTo>
                  <a:pt x="504" y="18"/>
                </a:moveTo>
                <a:cubicBezTo>
                  <a:pt x="504" y="18"/>
                  <a:pt x="504" y="18"/>
                  <a:pt x="506" y="17"/>
                </a:cubicBezTo>
                <a:cubicBezTo>
                  <a:pt x="505" y="17"/>
                  <a:pt x="503" y="17"/>
                  <a:pt x="502" y="18"/>
                </a:cubicBezTo>
                <a:cubicBezTo>
                  <a:pt x="503" y="18"/>
                  <a:pt x="503" y="18"/>
                  <a:pt x="504" y="18"/>
                </a:cubicBezTo>
                <a:close/>
                <a:moveTo>
                  <a:pt x="551" y="17"/>
                </a:moveTo>
                <a:cubicBezTo>
                  <a:pt x="551" y="17"/>
                  <a:pt x="551" y="17"/>
                  <a:pt x="557" y="19"/>
                </a:cubicBezTo>
                <a:cubicBezTo>
                  <a:pt x="558" y="19"/>
                  <a:pt x="559" y="19"/>
                  <a:pt x="559" y="18"/>
                </a:cubicBezTo>
                <a:cubicBezTo>
                  <a:pt x="559" y="18"/>
                  <a:pt x="559" y="18"/>
                  <a:pt x="564" y="10"/>
                </a:cubicBezTo>
                <a:cubicBezTo>
                  <a:pt x="564" y="10"/>
                  <a:pt x="564" y="10"/>
                  <a:pt x="564" y="10"/>
                </a:cubicBezTo>
                <a:cubicBezTo>
                  <a:pt x="565" y="10"/>
                  <a:pt x="566" y="10"/>
                  <a:pt x="567" y="9"/>
                </a:cubicBezTo>
                <a:cubicBezTo>
                  <a:pt x="567" y="9"/>
                  <a:pt x="567" y="9"/>
                  <a:pt x="572" y="17"/>
                </a:cubicBezTo>
                <a:cubicBezTo>
                  <a:pt x="573" y="18"/>
                  <a:pt x="574" y="18"/>
                  <a:pt x="575" y="18"/>
                </a:cubicBezTo>
                <a:cubicBezTo>
                  <a:pt x="575" y="18"/>
                  <a:pt x="575" y="18"/>
                  <a:pt x="581" y="15"/>
                </a:cubicBezTo>
                <a:cubicBezTo>
                  <a:pt x="582" y="15"/>
                  <a:pt x="582" y="14"/>
                  <a:pt x="582" y="13"/>
                </a:cubicBezTo>
                <a:cubicBezTo>
                  <a:pt x="582" y="13"/>
                  <a:pt x="582" y="13"/>
                  <a:pt x="580" y="4"/>
                </a:cubicBezTo>
                <a:cubicBezTo>
                  <a:pt x="570" y="5"/>
                  <a:pt x="560" y="7"/>
                  <a:pt x="550" y="8"/>
                </a:cubicBezTo>
                <a:cubicBezTo>
                  <a:pt x="550" y="9"/>
                  <a:pt x="549" y="11"/>
                  <a:pt x="549" y="14"/>
                </a:cubicBezTo>
                <a:cubicBezTo>
                  <a:pt x="549" y="16"/>
                  <a:pt x="550" y="17"/>
                  <a:pt x="551" y="17"/>
                </a:cubicBezTo>
                <a:close/>
                <a:moveTo>
                  <a:pt x="590" y="5"/>
                </a:moveTo>
                <a:cubicBezTo>
                  <a:pt x="591" y="6"/>
                  <a:pt x="592" y="5"/>
                  <a:pt x="593" y="4"/>
                </a:cubicBezTo>
                <a:cubicBezTo>
                  <a:pt x="593" y="4"/>
                  <a:pt x="593" y="4"/>
                  <a:pt x="594" y="3"/>
                </a:cubicBezTo>
                <a:cubicBezTo>
                  <a:pt x="590" y="3"/>
                  <a:pt x="587" y="3"/>
                  <a:pt x="584" y="4"/>
                </a:cubicBezTo>
                <a:cubicBezTo>
                  <a:pt x="585" y="4"/>
                  <a:pt x="587" y="5"/>
                  <a:pt x="590" y="5"/>
                </a:cubicBezTo>
                <a:close/>
                <a:moveTo>
                  <a:pt x="179" y="916"/>
                </a:moveTo>
                <a:cubicBezTo>
                  <a:pt x="179" y="915"/>
                  <a:pt x="178" y="914"/>
                  <a:pt x="177" y="914"/>
                </a:cubicBezTo>
                <a:cubicBezTo>
                  <a:pt x="177" y="914"/>
                  <a:pt x="177" y="914"/>
                  <a:pt x="170" y="914"/>
                </a:cubicBezTo>
                <a:cubicBezTo>
                  <a:pt x="169" y="914"/>
                  <a:pt x="168" y="915"/>
                  <a:pt x="168" y="916"/>
                </a:cubicBezTo>
                <a:cubicBezTo>
                  <a:pt x="168" y="916"/>
                  <a:pt x="168" y="916"/>
                  <a:pt x="166" y="925"/>
                </a:cubicBezTo>
                <a:cubicBezTo>
                  <a:pt x="165" y="925"/>
                  <a:pt x="164" y="926"/>
                  <a:pt x="163" y="926"/>
                </a:cubicBezTo>
                <a:cubicBezTo>
                  <a:pt x="163" y="926"/>
                  <a:pt x="163" y="926"/>
                  <a:pt x="156" y="921"/>
                </a:cubicBezTo>
                <a:cubicBezTo>
                  <a:pt x="155" y="920"/>
                  <a:pt x="154" y="920"/>
                  <a:pt x="153" y="921"/>
                </a:cubicBezTo>
                <a:cubicBezTo>
                  <a:pt x="153" y="921"/>
                  <a:pt x="153" y="921"/>
                  <a:pt x="149" y="925"/>
                </a:cubicBezTo>
                <a:cubicBezTo>
                  <a:pt x="148" y="925"/>
                  <a:pt x="148" y="927"/>
                  <a:pt x="148" y="928"/>
                </a:cubicBezTo>
                <a:cubicBezTo>
                  <a:pt x="148" y="928"/>
                  <a:pt x="148" y="928"/>
                  <a:pt x="152" y="936"/>
                </a:cubicBezTo>
                <a:cubicBezTo>
                  <a:pt x="152" y="936"/>
                  <a:pt x="151" y="937"/>
                  <a:pt x="151" y="938"/>
                </a:cubicBezTo>
                <a:cubicBezTo>
                  <a:pt x="151" y="938"/>
                  <a:pt x="151" y="938"/>
                  <a:pt x="142" y="938"/>
                </a:cubicBezTo>
                <a:cubicBezTo>
                  <a:pt x="141" y="938"/>
                  <a:pt x="140" y="939"/>
                  <a:pt x="140" y="940"/>
                </a:cubicBezTo>
                <a:cubicBezTo>
                  <a:pt x="140" y="940"/>
                  <a:pt x="140" y="940"/>
                  <a:pt x="139" y="946"/>
                </a:cubicBezTo>
                <a:cubicBezTo>
                  <a:pt x="139" y="946"/>
                  <a:pt x="139" y="947"/>
                  <a:pt x="139" y="947"/>
                </a:cubicBezTo>
                <a:cubicBezTo>
                  <a:pt x="180" y="923"/>
                  <a:pt x="180" y="923"/>
                  <a:pt x="180" y="923"/>
                </a:cubicBezTo>
                <a:cubicBezTo>
                  <a:pt x="180" y="922"/>
                  <a:pt x="180" y="920"/>
                  <a:pt x="179" y="916"/>
                </a:cubicBezTo>
                <a:close/>
                <a:moveTo>
                  <a:pt x="632" y="88"/>
                </a:moveTo>
                <a:cubicBezTo>
                  <a:pt x="638" y="88"/>
                  <a:pt x="638" y="88"/>
                  <a:pt x="638" y="88"/>
                </a:cubicBezTo>
                <a:cubicBezTo>
                  <a:pt x="639" y="88"/>
                  <a:pt x="640" y="88"/>
                  <a:pt x="640" y="89"/>
                </a:cubicBezTo>
                <a:cubicBezTo>
                  <a:pt x="642" y="98"/>
                  <a:pt x="642" y="98"/>
                  <a:pt x="642" y="98"/>
                </a:cubicBezTo>
                <a:cubicBezTo>
                  <a:pt x="643" y="99"/>
                  <a:pt x="644" y="99"/>
                  <a:pt x="645" y="99"/>
                </a:cubicBezTo>
                <a:cubicBezTo>
                  <a:pt x="647" y="98"/>
                  <a:pt x="648" y="97"/>
                  <a:pt x="649" y="96"/>
                </a:cubicBezTo>
                <a:cubicBezTo>
                  <a:pt x="649" y="154"/>
                  <a:pt x="649" y="154"/>
                  <a:pt x="649" y="154"/>
                </a:cubicBezTo>
                <a:cubicBezTo>
                  <a:pt x="646" y="156"/>
                  <a:pt x="646" y="156"/>
                  <a:pt x="646" y="156"/>
                </a:cubicBezTo>
                <a:cubicBezTo>
                  <a:pt x="645" y="156"/>
                  <a:pt x="644" y="156"/>
                  <a:pt x="643" y="155"/>
                </a:cubicBezTo>
                <a:cubicBezTo>
                  <a:pt x="638" y="147"/>
                  <a:pt x="638" y="147"/>
                  <a:pt x="638" y="147"/>
                </a:cubicBezTo>
                <a:cubicBezTo>
                  <a:pt x="637" y="148"/>
                  <a:pt x="636" y="148"/>
                  <a:pt x="635" y="148"/>
                </a:cubicBezTo>
                <a:cubicBezTo>
                  <a:pt x="635" y="148"/>
                  <a:pt x="635" y="148"/>
                  <a:pt x="635" y="148"/>
                </a:cubicBezTo>
                <a:cubicBezTo>
                  <a:pt x="630" y="156"/>
                  <a:pt x="630" y="156"/>
                  <a:pt x="630" y="156"/>
                </a:cubicBezTo>
                <a:cubicBezTo>
                  <a:pt x="630" y="156"/>
                  <a:pt x="629" y="157"/>
                  <a:pt x="628" y="156"/>
                </a:cubicBezTo>
                <a:cubicBezTo>
                  <a:pt x="621" y="155"/>
                  <a:pt x="621" y="155"/>
                  <a:pt x="621" y="155"/>
                </a:cubicBezTo>
                <a:cubicBezTo>
                  <a:pt x="621" y="154"/>
                  <a:pt x="620" y="153"/>
                  <a:pt x="620" y="152"/>
                </a:cubicBezTo>
                <a:cubicBezTo>
                  <a:pt x="621" y="143"/>
                  <a:pt x="621" y="143"/>
                  <a:pt x="621" y="143"/>
                </a:cubicBezTo>
                <a:cubicBezTo>
                  <a:pt x="620" y="143"/>
                  <a:pt x="619" y="142"/>
                  <a:pt x="618" y="141"/>
                </a:cubicBezTo>
                <a:cubicBezTo>
                  <a:pt x="610" y="144"/>
                  <a:pt x="610" y="144"/>
                  <a:pt x="610" y="144"/>
                </a:cubicBezTo>
                <a:cubicBezTo>
                  <a:pt x="609" y="145"/>
                  <a:pt x="608" y="144"/>
                  <a:pt x="607" y="144"/>
                </a:cubicBezTo>
                <a:cubicBezTo>
                  <a:pt x="604" y="138"/>
                  <a:pt x="604" y="138"/>
                  <a:pt x="604" y="138"/>
                </a:cubicBezTo>
                <a:cubicBezTo>
                  <a:pt x="603" y="137"/>
                  <a:pt x="603" y="136"/>
                  <a:pt x="604" y="135"/>
                </a:cubicBezTo>
                <a:cubicBezTo>
                  <a:pt x="611" y="129"/>
                  <a:pt x="611" y="129"/>
                  <a:pt x="611" y="129"/>
                </a:cubicBezTo>
                <a:cubicBezTo>
                  <a:pt x="610" y="128"/>
                  <a:pt x="610" y="126"/>
                  <a:pt x="610" y="125"/>
                </a:cubicBezTo>
                <a:cubicBezTo>
                  <a:pt x="602" y="122"/>
                  <a:pt x="602" y="122"/>
                  <a:pt x="602" y="122"/>
                </a:cubicBezTo>
                <a:cubicBezTo>
                  <a:pt x="601" y="121"/>
                  <a:pt x="600" y="120"/>
                  <a:pt x="600" y="119"/>
                </a:cubicBezTo>
                <a:cubicBezTo>
                  <a:pt x="601" y="113"/>
                  <a:pt x="601" y="113"/>
                  <a:pt x="601" y="113"/>
                </a:cubicBezTo>
                <a:cubicBezTo>
                  <a:pt x="602" y="112"/>
                  <a:pt x="602" y="111"/>
                  <a:pt x="604" y="111"/>
                </a:cubicBezTo>
                <a:cubicBezTo>
                  <a:pt x="613" y="111"/>
                  <a:pt x="613" y="111"/>
                  <a:pt x="613" y="111"/>
                </a:cubicBezTo>
                <a:cubicBezTo>
                  <a:pt x="613" y="110"/>
                  <a:pt x="613" y="109"/>
                  <a:pt x="614" y="109"/>
                </a:cubicBezTo>
                <a:cubicBezTo>
                  <a:pt x="609" y="101"/>
                  <a:pt x="609" y="101"/>
                  <a:pt x="609" y="101"/>
                </a:cubicBezTo>
                <a:cubicBezTo>
                  <a:pt x="609" y="100"/>
                  <a:pt x="609" y="99"/>
                  <a:pt x="610" y="98"/>
                </a:cubicBezTo>
                <a:cubicBezTo>
                  <a:pt x="615" y="94"/>
                  <a:pt x="615" y="94"/>
                  <a:pt x="615" y="94"/>
                </a:cubicBezTo>
                <a:cubicBezTo>
                  <a:pt x="616" y="93"/>
                  <a:pt x="617" y="93"/>
                  <a:pt x="618" y="94"/>
                </a:cubicBezTo>
                <a:cubicBezTo>
                  <a:pt x="625" y="99"/>
                  <a:pt x="625" y="99"/>
                  <a:pt x="625" y="99"/>
                </a:cubicBezTo>
                <a:cubicBezTo>
                  <a:pt x="626" y="99"/>
                  <a:pt x="627" y="99"/>
                  <a:pt x="628" y="98"/>
                </a:cubicBezTo>
                <a:cubicBezTo>
                  <a:pt x="629" y="89"/>
                  <a:pt x="629" y="89"/>
                  <a:pt x="629" y="89"/>
                </a:cubicBezTo>
                <a:cubicBezTo>
                  <a:pt x="630" y="88"/>
                  <a:pt x="631" y="88"/>
                  <a:pt x="632" y="88"/>
                </a:cubicBezTo>
                <a:close/>
                <a:moveTo>
                  <a:pt x="635" y="109"/>
                </a:moveTo>
                <a:cubicBezTo>
                  <a:pt x="628" y="109"/>
                  <a:pt x="621" y="115"/>
                  <a:pt x="621" y="122"/>
                </a:cubicBezTo>
                <a:cubicBezTo>
                  <a:pt x="621" y="130"/>
                  <a:pt x="628" y="136"/>
                  <a:pt x="635" y="136"/>
                </a:cubicBezTo>
                <a:cubicBezTo>
                  <a:pt x="642" y="136"/>
                  <a:pt x="648" y="130"/>
                  <a:pt x="648" y="122"/>
                </a:cubicBezTo>
                <a:cubicBezTo>
                  <a:pt x="648" y="115"/>
                  <a:pt x="642" y="109"/>
                  <a:pt x="635" y="109"/>
                </a:cubicBezTo>
                <a:close/>
                <a:moveTo>
                  <a:pt x="564" y="266"/>
                </a:moveTo>
                <a:cubicBezTo>
                  <a:pt x="567" y="266"/>
                  <a:pt x="570" y="263"/>
                  <a:pt x="570" y="260"/>
                </a:cubicBezTo>
                <a:cubicBezTo>
                  <a:pt x="570" y="257"/>
                  <a:pt x="567" y="255"/>
                  <a:pt x="564" y="255"/>
                </a:cubicBezTo>
                <a:cubicBezTo>
                  <a:pt x="561" y="255"/>
                  <a:pt x="558" y="257"/>
                  <a:pt x="558" y="260"/>
                </a:cubicBezTo>
                <a:cubicBezTo>
                  <a:pt x="558" y="263"/>
                  <a:pt x="561" y="266"/>
                  <a:pt x="564" y="266"/>
                </a:cubicBezTo>
                <a:close/>
                <a:moveTo>
                  <a:pt x="561" y="225"/>
                </a:moveTo>
                <a:cubicBezTo>
                  <a:pt x="567" y="225"/>
                  <a:pt x="567" y="225"/>
                  <a:pt x="567" y="225"/>
                </a:cubicBezTo>
                <a:cubicBezTo>
                  <a:pt x="568" y="225"/>
                  <a:pt x="569" y="226"/>
                  <a:pt x="569" y="227"/>
                </a:cubicBezTo>
                <a:cubicBezTo>
                  <a:pt x="571" y="236"/>
                  <a:pt x="571" y="236"/>
                  <a:pt x="571" y="236"/>
                </a:cubicBezTo>
                <a:cubicBezTo>
                  <a:pt x="572" y="236"/>
                  <a:pt x="573" y="237"/>
                  <a:pt x="574" y="237"/>
                </a:cubicBezTo>
                <a:cubicBezTo>
                  <a:pt x="581" y="232"/>
                  <a:pt x="581" y="232"/>
                  <a:pt x="581" y="232"/>
                </a:cubicBezTo>
                <a:cubicBezTo>
                  <a:pt x="582" y="231"/>
                  <a:pt x="583" y="231"/>
                  <a:pt x="584" y="232"/>
                </a:cubicBezTo>
                <a:cubicBezTo>
                  <a:pt x="589" y="236"/>
                  <a:pt x="589" y="236"/>
                  <a:pt x="589" y="236"/>
                </a:cubicBezTo>
                <a:cubicBezTo>
                  <a:pt x="589" y="236"/>
                  <a:pt x="590" y="238"/>
                  <a:pt x="589" y="239"/>
                </a:cubicBezTo>
                <a:cubicBezTo>
                  <a:pt x="585" y="247"/>
                  <a:pt x="585" y="247"/>
                  <a:pt x="585" y="247"/>
                </a:cubicBezTo>
                <a:cubicBezTo>
                  <a:pt x="585" y="247"/>
                  <a:pt x="586" y="248"/>
                  <a:pt x="586" y="249"/>
                </a:cubicBezTo>
                <a:cubicBezTo>
                  <a:pt x="595" y="249"/>
                  <a:pt x="595" y="249"/>
                  <a:pt x="595" y="249"/>
                </a:cubicBezTo>
                <a:cubicBezTo>
                  <a:pt x="596" y="249"/>
                  <a:pt x="597" y="250"/>
                  <a:pt x="597" y="251"/>
                </a:cubicBezTo>
                <a:cubicBezTo>
                  <a:pt x="599" y="257"/>
                  <a:pt x="599" y="257"/>
                  <a:pt x="599" y="257"/>
                </a:cubicBezTo>
                <a:cubicBezTo>
                  <a:pt x="599" y="258"/>
                  <a:pt x="598" y="259"/>
                  <a:pt x="597" y="260"/>
                </a:cubicBezTo>
                <a:cubicBezTo>
                  <a:pt x="589" y="263"/>
                  <a:pt x="589" y="263"/>
                  <a:pt x="589" y="263"/>
                </a:cubicBezTo>
                <a:cubicBezTo>
                  <a:pt x="589" y="264"/>
                  <a:pt x="589" y="265"/>
                  <a:pt x="588" y="266"/>
                </a:cubicBezTo>
                <a:cubicBezTo>
                  <a:pt x="595" y="272"/>
                  <a:pt x="595" y="272"/>
                  <a:pt x="595" y="272"/>
                </a:cubicBezTo>
                <a:cubicBezTo>
                  <a:pt x="596" y="272"/>
                  <a:pt x="596" y="273"/>
                  <a:pt x="596" y="274"/>
                </a:cubicBezTo>
                <a:cubicBezTo>
                  <a:pt x="593" y="280"/>
                  <a:pt x="593" y="280"/>
                  <a:pt x="593" y="280"/>
                </a:cubicBezTo>
                <a:cubicBezTo>
                  <a:pt x="592" y="281"/>
                  <a:pt x="591" y="281"/>
                  <a:pt x="590" y="281"/>
                </a:cubicBezTo>
                <a:cubicBezTo>
                  <a:pt x="581" y="278"/>
                  <a:pt x="581" y="278"/>
                  <a:pt x="581" y="278"/>
                </a:cubicBezTo>
                <a:cubicBezTo>
                  <a:pt x="581" y="279"/>
                  <a:pt x="581" y="279"/>
                  <a:pt x="580" y="280"/>
                </a:cubicBezTo>
                <a:cubicBezTo>
                  <a:pt x="582" y="288"/>
                  <a:pt x="582" y="288"/>
                  <a:pt x="582" y="288"/>
                </a:cubicBezTo>
                <a:cubicBezTo>
                  <a:pt x="582" y="289"/>
                  <a:pt x="582" y="291"/>
                  <a:pt x="581" y="291"/>
                </a:cubicBezTo>
                <a:cubicBezTo>
                  <a:pt x="575" y="293"/>
                  <a:pt x="575" y="293"/>
                  <a:pt x="575" y="293"/>
                </a:cubicBezTo>
                <a:cubicBezTo>
                  <a:pt x="574" y="294"/>
                  <a:pt x="573" y="293"/>
                  <a:pt x="572" y="293"/>
                </a:cubicBezTo>
                <a:cubicBezTo>
                  <a:pt x="567" y="285"/>
                  <a:pt x="567" y="285"/>
                  <a:pt x="567" y="285"/>
                </a:cubicBezTo>
                <a:cubicBezTo>
                  <a:pt x="566" y="285"/>
                  <a:pt x="565" y="285"/>
                  <a:pt x="564" y="285"/>
                </a:cubicBezTo>
                <a:cubicBezTo>
                  <a:pt x="564" y="285"/>
                  <a:pt x="564" y="285"/>
                  <a:pt x="564" y="285"/>
                </a:cubicBezTo>
                <a:cubicBezTo>
                  <a:pt x="559" y="293"/>
                  <a:pt x="559" y="293"/>
                  <a:pt x="559" y="293"/>
                </a:cubicBezTo>
                <a:cubicBezTo>
                  <a:pt x="559" y="294"/>
                  <a:pt x="558" y="295"/>
                  <a:pt x="557" y="294"/>
                </a:cubicBezTo>
                <a:cubicBezTo>
                  <a:pt x="551" y="292"/>
                  <a:pt x="551" y="292"/>
                  <a:pt x="551" y="292"/>
                </a:cubicBezTo>
                <a:cubicBezTo>
                  <a:pt x="550" y="292"/>
                  <a:pt x="549" y="291"/>
                  <a:pt x="549" y="290"/>
                </a:cubicBezTo>
                <a:cubicBezTo>
                  <a:pt x="550" y="281"/>
                  <a:pt x="550" y="281"/>
                  <a:pt x="550" y="281"/>
                </a:cubicBezTo>
                <a:cubicBezTo>
                  <a:pt x="549" y="280"/>
                  <a:pt x="548" y="280"/>
                  <a:pt x="547" y="279"/>
                </a:cubicBezTo>
                <a:cubicBezTo>
                  <a:pt x="539" y="282"/>
                  <a:pt x="539" y="282"/>
                  <a:pt x="539" y="282"/>
                </a:cubicBezTo>
                <a:cubicBezTo>
                  <a:pt x="538" y="283"/>
                  <a:pt x="537" y="282"/>
                  <a:pt x="536" y="281"/>
                </a:cubicBezTo>
                <a:cubicBezTo>
                  <a:pt x="533" y="276"/>
                  <a:pt x="533" y="276"/>
                  <a:pt x="533" y="276"/>
                </a:cubicBezTo>
                <a:cubicBezTo>
                  <a:pt x="532" y="275"/>
                  <a:pt x="532" y="274"/>
                  <a:pt x="533" y="273"/>
                </a:cubicBezTo>
                <a:cubicBezTo>
                  <a:pt x="540" y="267"/>
                  <a:pt x="540" y="267"/>
                  <a:pt x="540" y="267"/>
                </a:cubicBezTo>
                <a:cubicBezTo>
                  <a:pt x="540" y="266"/>
                  <a:pt x="539" y="264"/>
                  <a:pt x="539" y="263"/>
                </a:cubicBezTo>
                <a:cubicBezTo>
                  <a:pt x="531" y="260"/>
                  <a:pt x="531" y="260"/>
                  <a:pt x="531" y="260"/>
                </a:cubicBezTo>
                <a:cubicBezTo>
                  <a:pt x="530" y="259"/>
                  <a:pt x="529" y="258"/>
                  <a:pt x="529" y="257"/>
                </a:cubicBezTo>
                <a:cubicBezTo>
                  <a:pt x="530" y="251"/>
                  <a:pt x="530" y="251"/>
                  <a:pt x="530" y="251"/>
                </a:cubicBezTo>
                <a:cubicBezTo>
                  <a:pt x="531" y="250"/>
                  <a:pt x="532" y="249"/>
                  <a:pt x="533" y="249"/>
                </a:cubicBezTo>
                <a:cubicBezTo>
                  <a:pt x="542" y="249"/>
                  <a:pt x="542" y="249"/>
                  <a:pt x="542" y="249"/>
                </a:cubicBezTo>
                <a:cubicBezTo>
                  <a:pt x="542" y="248"/>
                  <a:pt x="543" y="247"/>
                  <a:pt x="543" y="247"/>
                </a:cubicBezTo>
                <a:cubicBezTo>
                  <a:pt x="539" y="239"/>
                  <a:pt x="539" y="239"/>
                  <a:pt x="539" y="239"/>
                </a:cubicBezTo>
                <a:cubicBezTo>
                  <a:pt x="538" y="238"/>
                  <a:pt x="538" y="236"/>
                  <a:pt x="539" y="236"/>
                </a:cubicBezTo>
                <a:cubicBezTo>
                  <a:pt x="544" y="232"/>
                  <a:pt x="544" y="232"/>
                  <a:pt x="544" y="232"/>
                </a:cubicBezTo>
                <a:cubicBezTo>
                  <a:pt x="545" y="231"/>
                  <a:pt x="546" y="231"/>
                  <a:pt x="547" y="232"/>
                </a:cubicBezTo>
                <a:cubicBezTo>
                  <a:pt x="554" y="237"/>
                  <a:pt x="554" y="237"/>
                  <a:pt x="554" y="237"/>
                </a:cubicBezTo>
                <a:cubicBezTo>
                  <a:pt x="555" y="237"/>
                  <a:pt x="556" y="236"/>
                  <a:pt x="557" y="236"/>
                </a:cubicBezTo>
                <a:cubicBezTo>
                  <a:pt x="559" y="227"/>
                  <a:pt x="559" y="227"/>
                  <a:pt x="559" y="227"/>
                </a:cubicBezTo>
                <a:cubicBezTo>
                  <a:pt x="559" y="226"/>
                  <a:pt x="560" y="225"/>
                  <a:pt x="561" y="225"/>
                </a:cubicBezTo>
                <a:close/>
                <a:moveTo>
                  <a:pt x="564" y="247"/>
                </a:moveTo>
                <a:cubicBezTo>
                  <a:pt x="557" y="247"/>
                  <a:pt x="551" y="253"/>
                  <a:pt x="551" y="260"/>
                </a:cubicBezTo>
                <a:cubicBezTo>
                  <a:pt x="551" y="268"/>
                  <a:pt x="557" y="273"/>
                  <a:pt x="564" y="273"/>
                </a:cubicBezTo>
                <a:cubicBezTo>
                  <a:pt x="571" y="273"/>
                  <a:pt x="577" y="268"/>
                  <a:pt x="577" y="260"/>
                </a:cubicBezTo>
                <a:cubicBezTo>
                  <a:pt x="577" y="253"/>
                  <a:pt x="571" y="247"/>
                  <a:pt x="564" y="247"/>
                </a:cubicBezTo>
                <a:close/>
                <a:moveTo>
                  <a:pt x="632" y="225"/>
                </a:moveTo>
                <a:cubicBezTo>
                  <a:pt x="638" y="225"/>
                  <a:pt x="638" y="225"/>
                  <a:pt x="638" y="225"/>
                </a:cubicBezTo>
                <a:cubicBezTo>
                  <a:pt x="639" y="225"/>
                  <a:pt x="640" y="226"/>
                  <a:pt x="640" y="227"/>
                </a:cubicBezTo>
                <a:cubicBezTo>
                  <a:pt x="642" y="236"/>
                  <a:pt x="642" y="236"/>
                  <a:pt x="642" y="236"/>
                </a:cubicBezTo>
                <a:cubicBezTo>
                  <a:pt x="643" y="236"/>
                  <a:pt x="644" y="237"/>
                  <a:pt x="645" y="237"/>
                </a:cubicBezTo>
                <a:cubicBezTo>
                  <a:pt x="647" y="236"/>
                  <a:pt x="648" y="234"/>
                  <a:pt x="649" y="234"/>
                </a:cubicBezTo>
                <a:cubicBezTo>
                  <a:pt x="649" y="292"/>
                  <a:pt x="649" y="292"/>
                  <a:pt x="649" y="292"/>
                </a:cubicBezTo>
                <a:cubicBezTo>
                  <a:pt x="646" y="293"/>
                  <a:pt x="646" y="293"/>
                  <a:pt x="646" y="293"/>
                </a:cubicBezTo>
                <a:cubicBezTo>
                  <a:pt x="645" y="294"/>
                  <a:pt x="644" y="293"/>
                  <a:pt x="643" y="293"/>
                </a:cubicBezTo>
                <a:cubicBezTo>
                  <a:pt x="638" y="285"/>
                  <a:pt x="638" y="285"/>
                  <a:pt x="638" y="285"/>
                </a:cubicBezTo>
                <a:cubicBezTo>
                  <a:pt x="637" y="285"/>
                  <a:pt x="636" y="285"/>
                  <a:pt x="635" y="285"/>
                </a:cubicBezTo>
                <a:cubicBezTo>
                  <a:pt x="635" y="285"/>
                  <a:pt x="635" y="285"/>
                  <a:pt x="635" y="285"/>
                </a:cubicBezTo>
                <a:cubicBezTo>
                  <a:pt x="630" y="293"/>
                  <a:pt x="630" y="293"/>
                  <a:pt x="630" y="293"/>
                </a:cubicBezTo>
                <a:cubicBezTo>
                  <a:pt x="630" y="294"/>
                  <a:pt x="629" y="295"/>
                  <a:pt x="628" y="294"/>
                </a:cubicBezTo>
                <a:cubicBezTo>
                  <a:pt x="621" y="292"/>
                  <a:pt x="621" y="292"/>
                  <a:pt x="621" y="292"/>
                </a:cubicBezTo>
                <a:cubicBezTo>
                  <a:pt x="621" y="292"/>
                  <a:pt x="620" y="291"/>
                  <a:pt x="620" y="290"/>
                </a:cubicBezTo>
                <a:cubicBezTo>
                  <a:pt x="621" y="281"/>
                  <a:pt x="621" y="281"/>
                  <a:pt x="621" y="281"/>
                </a:cubicBezTo>
                <a:cubicBezTo>
                  <a:pt x="620" y="280"/>
                  <a:pt x="619" y="280"/>
                  <a:pt x="618" y="279"/>
                </a:cubicBezTo>
                <a:cubicBezTo>
                  <a:pt x="610" y="282"/>
                  <a:pt x="610" y="282"/>
                  <a:pt x="610" y="282"/>
                </a:cubicBezTo>
                <a:cubicBezTo>
                  <a:pt x="609" y="283"/>
                  <a:pt x="608" y="282"/>
                  <a:pt x="607" y="281"/>
                </a:cubicBezTo>
                <a:cubicBezTo>
                  <a:pt x="604" y="276"/>
                  <a:pt x="604" y="276"/>
                  <a:pt x="604" y="276"/>
                </a:cubicBezTo>
                <a:cubicBezTo>
                  <a:pt x="603" y="275"/>
                  <a:pt x="603" y="274"/>
                  <a:pt x="604" y="273"/>
                </a:cubicBezTo>
                <a:cubicBezTo>
                  <a:pt x="611" y="267"/>
                  <a:pt x="611" y="267"/>
                  <a:pt x="611" y="267"/>
                </a:cubicBezTo>
                <a:cubicBezTo>
                  <a:pt x="610" y="266"/>
                  <a:pt x="610" y="264"/>
                  <a:pt x="610" y="263"/>
                </a:cubicBezTo>
                <a:cubicBezTo>
                  <a:pt x="602" y="260"/>
                  <a:pt x="602" y="260"/>
                  <a:pt x="602" y="260"/>
                </a:cubicBezTo>
                <a:cubicBezTo>
                  <a:pt x="601" y="259"/>
                  <a:pt x="600" y="258"/>
                  <a:pt x="600" y="257"/>
                </a:cubicBezTo>
                <a:cubicBezTo>
                  <a:pt x="601" y="251"/>
                  <a:pt x="601" y="251"/>
                  <a:pt x="601" y="251"/>
                </a:cubicBezTo>
                <a:cubicBezTo>
                  <a:pt x="602" y="250"/>
                  <a:pt x="602" y="249"/>
                  <a:pt x="604" y="249"/>
                </a:cubicBezTo>
                <a:cubicBezTo>
                  <a:pt x="613" y="249"/>
                  <a:pt x="613" y="249"/>
                  <a:pt x="613" y="249"/>
                </a:cubicBezTo>
                <a:cubicBezTo>
                  <a:pt x="613" y="248"/>
                  <a:pt x="613" y="247"/>
                  <a:pt x="614" y="247"/>
                </a:cubicBezTo>
                <a:cubicBezTo>
                  <a:pt x="609" y="239"/>
                  <a:pt x="609" y="239"/>
                  <a:pt x="609" y="239"/>
                </a:cubicBezTo>
                <a:cubicBezTo>
                  <a:pt x="609" y="238"/>
                  <a:pt x="609" y="236"/>
                  <a:pt x="610" y="236"/>
                </a:cubicBezTo>
                <a:cubicBezTo>
                  <a:pt x="615" y="232"/>
                  <a:pt x="615" y="232"/>
                  <a:pt x="615" y="232"/>
                </a:cubicBezTo>
                <a:cubicBezTo>
                  <a:pt x="616" y="231"/>
                  <a:pt x="617" y="231"/>
                  <a:pt x="618" y="232"/>
                </a:cubicBezTo>
                <a:cubicBezTo>
                  <a:pt x="625" y="237"/>
                  <a:pt x="625" y="237"/>
                  <a:pt x="625" y="237"/>
                </a:cubicBezTo>
                <a:cubicBezTo>
                  <a:pt x="626" y="237"/>
                  <a:pt x="627" y="236"/>
                  <a:pt x="628" y="236"/>
                </a:cubicBezTo>
                <a:cubicBezTo>
                  <a:pt x="629" y="227"/>
                  <a:pt x="629" y="227"/>
                  <a:pt x="629" y="227"/>
                </a:cubicBezTo>
                <a:cubicBezTo>
                  <a:pt x="630" y="226"/>
                  <a:pt x="631" y="225"/>
                  <a:pt x="632" y="225"/>
                </a:cubicBezTo>
                <a:close/>
                <a:moveTo>
                  <a:pt x="635" y="247"/>
                </a:moveTo>
                <a:cubicBezTo>
                  <a:pt x="628" y="247"/>
                  <a:pt x="621" y="253"/>
                  <a:pt x="621" y="260"/>
                </a:cubicBezTo>
                <a:cubicBezTo>
                  <a:pt x="621" y="268"/>
                  <a:pt x="628" y="273"/>
                  <a:pt x="635" y="273"/>
                </a:cubicBezTo>
                <a:cubicBezTo>
                  <a:pt x="642" y="273"/>
                  <a:pt x="648" y="268"/>
                  <a:pt x="648" y="260"/>
                </a:cubicBezTo>
                <a:cubicBezTo>
                  <a:pt x="648" y="253"/>
                  <a:pt x="642" y="247"/>
                  <a:pt x="635" y="247"/>
                </a:cubicBezTo>
                <a:close/>
                <a:moveTo>
                  <a:pt x="315" y="806"/>
                </a:moveTo>
                <a:cubicBezTo>
                  <a:pt x="312" y="806"/>
                  <a:pt x="310" y="808"/>
                  <a:pt x="310" y="811"/>
                </a:cubicBezTo>
                <a:cubicBezTo>
                  <a:pt x="310" y="814"/>
                  <a:pt x="312" y="817"/>
                  <a:pt x="315" y="817"/>
                </a:cubicBezTo>
                <a:cubicBezTo>
                  <a:pt x="318" y="817"/>
                  <a:pt x="321" y="814"/>
                  <a:pt x="321" y="811"/>
                </a:cubicBezTo>
                <a:cubicBezTo>
                  <a:pt x="321" y="808"/>
                  <a:pt x="318" y="806"/>
                  <a:pt x="315" y="806"/>
                </a:cubicBezTo>
                <a:close/>
                <a:moveTo>
                  <a:pt x="457" y="197"/>
                </a:moveTo>
                <a:cubicBezTo>
                  <a:pt x="460" y="197"/>
                  <a:pt x="463" y="194"/>
                  <a:pt x="463" y="191"/>
                </a:cubicBezTo>
                <a:cubicBezTo>
                  <a:pt x="463" y="188"/>
                  <a:pt x="460" y="186"/>
                  <a:pt x="457" y="186"/>
                </a:cubicBezTo>
                <a:cubicBezTo>
                  <a:pt x="454" y="186"/>
                  <a:pt x="451" y="188"/>
                  <a:pt x="451" y="191"/>
                </a:cubicBezTo>
                <a:cubicBezTo>
                  <a:pt x="451" y="194"/>
                  <a:pt x="454" y="197"/>
                  <a:pt x="457" y="197"/>
                </a:cubicBezTo>
                <a:close/>
                <a:moveTo>
                  <a:pt x="635" y="266"/>
                </a:moveTo>
                <a:cubicBezTo>
                  <a:pt x="638" y="266"/>
                  <a:pt x="640" y="263"/>
                  <a:pt x="640" y="260"/>
                </a:cubicBezTo>
                <a:cubicBezTo>
                  <a:pt x="640" y="257"/>
                  <a:pt x="638" y="255"/>
                  <a:pt x="635" y="255"/>
                </a:cubicBezTo>
                <a:cubicBezTo>
                  <a:pt x="632" y="255"/>
                  <a:pt x="629" y="257"/>
                  <a:pt x="629" y="260"/>
                </a:cubicBezTo>
                <a:cubicBezTo>
                  <a:pt x="629" y="263"/>
                  <a:pt x="632" y="266"/>
                  <a:pt x="635" y="266"/>
                </a:cubicBezTo>
                <a:close/>
                <a:moveTo>
                  <a:pt x="332" y="836"/>
                </a:moveTo>
                <a:cubicBezTo>
                  <a:pt x="322" y="842"/>
                  <a:pt x="322" y="842"/>
                  <a:pt x="322" y="842"/>
                </a:cubicBezTo>
                <a:cubicBezTo>
                  <a:pt x="318" y="836"/>
                  <a:pt x="318" y="836"/>
                  <a:pt x="318" y="836"/>
                </a:cubicBezTo>
                <a:cubicBezTo>
                  <a:pt x="317" y="837"/>
                  <a:pt x="316" y="837"/>
                  <a:pt x="315" y="837"/>
                </a:cubicBezTo>
                <a:cubicBezTo>
                  <a:pt x="315" y="837"/>
                  <a:pt x="315" y="837"/>
                  <a:pt x="315" y="837"/>
                </a:cubicBezTo>
                <a:cubicBezTo>
                  <a:pt x="311" y="845"/>
                  <a:pt x="311" y="845"/>
                  <a:pt x="311" y="845"/>
                </a:cubicBezTo>
                <a:cubicBezTo>
                  <a:pt x="310" y="845"/>
                  <a:pt x="309" y="846"/>
                  <a:pt x="308" y="845"/>
                </a:cubicBezTo>
                <a:cubicBezTo>
                  <a:pt x="302" y="844"/>
                  <a:pt x="302" y="844"/>
                  <a:pt x="302" y="844"/>
                </a:cubicBezTo>
                <a:cubicBezTo>
                  <a:pt x="301" y="843"/>
                  <a:pt x="300" y="842"/>
                  <a:pt x="300" y="841"/>
                </a:cubicBezTo>
                <a:cubicBezTo>
                  <a:pt x="301" y="832"/>
                  <a:pt x="301" y="832"/>
                  <a:pt x="301" y="832"/>
                </a:cubicBezTo>
                <a:cubicBezTo>
                  <a:pt x="300" y="832"/>
                  <a:pt x="300" y="831"/>
                  <a:pt x="299" y="830"/>
                </a:cubicBezTo>
                <a:cubicBezTo>
                  <a:pt x="290" y="833"/>
                  <a:pt x="290" y="833"/>
                  <a:pt x="290" y="833"/>
                </a:cubicBezTo>
                <a:cubicBezTo>
                  <a:pt x="289" y="834"/>
                  <a:pt x="288" y="833"/>
                  <a:pt x="287" y="833"/>
                </a:cubicBezTo>
                <a:cubicBezTo>
                  <a:pt x="284" y="827"/>
                  <a:pt x="284" y="827"/>
                  <a:pt x="284" y="827"/>
                </a:cubicBezTo>
                <a:cubicBezTo>
                  <a:pt x="284" y="826"/>
                  <a:pt x="284" y="825"/>
                  <a:pt x="285" y="824"/>
                </a:cubicBezTo>
                <a:cubicBezTo>
                  <a:pt x="291" y="818"/>
                  <a:pt x="291" y="818"/>
                  <a:pt x="291" y="818"/>
                </a:cubicBezTo>
                <a:cubicBezTo>
                  <a:pt x="291" y="817"/>
                  <a:pt x="291" y="815"/>
                  <a:pt x="291" y="814"/>
                </a:cubicBezTo>
                <a:cubicBezTo>
                  <a:pt x="282" y="811"/>
                  <a:pt x="282" y="811"/>
                  <a:pt x="282" y="811"/>
                </a:cubicBezTo>
                <a:cubicBezTo>
                  <a:pt x="281" y="810"/>
                  <a:pt x="280" y="809"/>
                  <a:pt x="281" y="808"/>
                </a:cubicBezTo>
                <a:cubicBezTo>
                  <a:pt x="282" y="802"/>
                  <a:pt x="282" y="802"/>
                  <a:pt x="282" y="802"/>
                </a:cubicBezTo>
                <a:cubicBezTo>
                  <a:pt x="282" y="801"/>
                  <a:pt x="283" y="800"/>
                  <a:pt x="284" y="800"/>
                </a:cubicBezTo>
                <a:cubicBezTo>
                  <a:pt x="293" y="800"/>
                  <a:pt x="293" y="800"/>
                  <a:pt x="293" y="800"/>
                </a:cubicBezTo>
                <a:cubicBezTo>
                  <a:pt x="293" y="799"/>
                  <a:pt x="294" y="798"/>
                  <a:pt x="294" y="798"/>
                </a:cubicBezTo>
                <a:cubicBezTo>
                  <a:pt x="290" y="790"/>
                  <a:pt x="290" y="790"/>
                  <a:pt x="290" y="790"/>
                </a:cubicBezTo>
                <a:cubicBezTo>
                  <a:pt x="289" y="789"/>
                  <a:pt x="290" y="788"/>
                  <a:pt x="291" y="787"/>
                </a:cubicBezTo>
                <a:cubicBezTo>
                  <a:pt x="295" y="783"/>
                  <a:pt x="295" y="783"/>
                  <a:pt x="295" y="783"/>
                </a:cubicBezTo>
                <a:cubicBezTo>
                  <a:pt x="296" y="782"/>
                  <a:pt x="297" y="782"/>
                  <a:pt x="298" y="783"/>
                </a:cubicBezTo>
                <a:cubicBezTo>
                  <a:pt x="305" y="788"/>
                  <a:pt x="305" y="788"/>
                  <a:pt x="305" y="788"/>
                </a:cubicBezTo>
                <a:cubicBezTo>
                  <a:pt x="306" y="788"/>
                  <a:pt x="307" y="788"/>
                  <a:pt x="308" y="787"/>
                </a:cubicBezTo>
                <a:cubicBezTo>
                  <a:pt x="310" y="778"/>
                  <a:pt x="310" y="778"/>
                  <a:pt x="310" y="778"/>
                </a:cubicBezTo>
                <a:cubicBezTo>
                  <a:pt x="310" y="778"/>
                  <a:pt x="311" y="777"/>
                  <a:pt x="312" y="777"/>
                </a:cubicBezTo>
                <a:cubicBezTo>
                  <a:pt x="318" y="777"/>
                  <a:pt x="318" y="777"/>
                  <a:pt x="318" y="777"/>
                </a:cubicBezTo>
                <a:cubicBezTo>
                  <a:pt x="319" y="777"/>
                  <a:pt x="321" y="778"/>
                  <a:pt x="321" y="778"/>
                </a:cubicBezTo>
                <a:cubicBezTo>
                  <a:pt x="322" y="787"/>
                  <a:pt x="322" y="787"/>
                  <a:pt x="322" y="787"/>
                </a:cubicBezTo>
                <a:cubicBezTo>
                  <a:pt x="323" y="788"/>
                  <a:pt x="324" y="788"/>
                  <a:pt x="325" y="788"/>
                </a:cubicBezTo>
                <a:cubicBezTo>
                  <a:pt x="332" y="783"/>
                  <a:pt x="332" y="783"/>
                  <a:pt x="332" y="783"/>
                </a:cubicBezTo>
                <a:cubicBezTo>
                  <a:pt x="333" y="782"/>
                  <a:pt x="334" y="782"/>
                  <a:pt x="335" y="783"/>
                </a:cubicBezTo>
                <a:cubicBezTo>
                  <a:pt x="340" y="787"/>
                  <a:pt x="340" y="787"/>
                  <a:pt x="340" y="787"/>
                </a:cubicBezTo>
                <a:cubicBezTo>
                  <a:pt x="341" y="787"/>
                  <a:pt x="341" y="789"/>
                  <a:pt x="340" y="790"/>
                </a:cubicBezTo>
                <a:cubicBezTo>
                  <a:pt x="336" y="798"/>
                  <a:pt x="336" y="798"/>
                  <a:pt x="336" y="798"/>
                </a:cubicBezTo>
                <a:cubicBezTo>
                  <a:pt x="337" y="798"/>
                  <a:pt x="337" y="799"/>
                  <a:pt x="337" y="800"/>
                </a:cubicBezTo>
                <a:cubicBezTo>
                  <a:pt x="347" y="800"/>
                  <a:pt x="347" y="800"/>
                  <a:pt x="347" y="800"/>
                </a:cubicBezTo>
                <a:cubicBezTo>
                  <a:pt x="348" y="800"/>
                  <a:pt x="348" y="801"/>
                  <a:pt x="349" y="802"/>
                </a:cubicBezTo>
                <a:cubicBezTo>
                  <a:pt x="350" y="808"/>
                  <a:pt x="350" y="808"/>
                  <a:pt x="350" y="808"/>
                </a:cubicBezTo>
                <a:cubicBezTo>
                  <a:pt x="350" y="809"/>
                  <a:pt x="349" y="810"/>
                  <a:pt x="348" y="811"/>
                </a:cubicBezTo>
                <a:cubicBezTo>
                  <a:pt x="340" y="814"/>
                  <a:pt x="340" y="814"/>
                  <a:pt x="340" y="814"/>
                </a:cubicBezTo>
                <a:cubicBezTo>
                  <a:pt x="340" y="815"/>
                  <a:pt x="340" y="816"/>
                  <a:pt x="340" y="817"/>
                </a:cubicBezTo>
                <a:cubicBezTo>
                  <a:pt x="347" y="823"/>
                  <a:pt x="347" y="823"/>
                  <a:pt x="347" y="823"/>
                </a:cubicBezTo>
                <a:cubicBezTo>
                  <a:pt x="347" y="823"/>
                  <a:pt x="348" y="825"/>
                  <a:pt x="347" y="825"/>
                </a:cubicBezTo>
                <a:cubicBezTo>
                  <a:pt x="346" y="826"/>
                  <a:pt x="346" y="827"/>
                  <a:pt x="346" y="828"/>
                </a:cubicBezTo>
                <a:cubicBezTo>
                  <a:pt x="339" y="832"/>
                  <a:pt x="339" y="832"/>
                  <a:pt x="339" y="832"/>
                </a:cubicBezTo>
                <a:cubicBezTo>
                  <a:pt x="333" y="830"/>
                  <a:pt x="333" y="829"/>
                  <a:pt x="333" y="829"/>
                </a:cubicBezTo>
                <a:cubicBezTo>
                  <a:pt x="332" y="830"/>
                  <a:pt x="332" y="830"/>
                  <a:pt x="331" y="831"/>
                </a:cubicBezTo>
                <a:cubicBezTo>
                  <a:pt x="332" y="833"/>
                  <a:pt x="332" y="834"/>
                  <a:pt x="332" y="836"/>
                </a:cubicBezTo>
                <a:close/>
                <a:moveTo>
                  <a:pt x="329" y="811"/>
                </a:moveTo>
                <a:cubicBezTo>
                  <a:pt x="329" y="804"/>
                  <a:pt x="322" y="798"/>
                  <a:pt x="315" y="798"/>
                </a:cubicBezTo>
                <a:cubicBezTo>
                  <a:pt x="308" y="798"/>
                  <a:pt x="302" y="804"/>
                  <a:pt x="302" y="811"/>
                </a:cubicBezTo>
                <a:cubicBezTo>
                  <a:pt x="302" y="819"/>
                  <a:pt x="308" y="825"/>
                  <a:pt x="315" y="825"/>
                </a:cubicBezTo>
                <a:cubicBezTo>
                  <a:pt x="322" y="825"/>
                  <a:pt x="329" y="819"/>
                  <a:pt x="329" y="811"/>
                </a:cubicBezTo>
                <a:close/>
                <a:moveTo>
                  <a:pt x="66" y="739"/>
                </a:moveTo>
                <a:cubicBezTo>
                  <a:pt x="66" y="740"/>
                  <a:pt x="66" y="742"/>
                  <a:pt x="65" y="742"/>
                </a:cubicBezTo>
                <a:cubicBezTo>
                  <a:pt x="57" y="745"/>
                  <a:pt x="57" y="745"/>
                  <a:pt x="57" y="745"/>
                </a:cubicBezTo>
                <a:cubicBezTo>
                  <a:pt x="56" y="746"/>
                  <a:pt x="56" y="747"/>
                  <a:pt x="56" y="748"/>
                </a:cubicBezTo>
                <a:cubicBezTo>
                  <a:pt x="63" y="754"/>
                  <a:pt x="63" y="754"/>
                  <a:pt x="63" y="754"/>
                </a:cubicBezTo>
                <a:cubicBezTo>
                  <a:pt x="64" y="754"/>
                  <a:pt x="64" y="756"/>
                  <a:pt x="63" y="757"/>
                </a:cubicBezTo>
                <a:cubicBezTo>
                  <a:pt x="61" y="762"/>
                  <a:pt x="61" y="762"/>
                  <a:pt x="61" y="762"/>
                </a:cubicBezTo>
                <a:cubicBezTo>
                  <a:pt x="60" y="763"/>
                  <a:pt x="59" y="764"/>
                  <a:pt x="58" y="763"/>
                </a:cubicBezTo>
                <a:cubicBezTo>
                  <a:pt x="49" y="761"/>
                  <a:pt x="49" y="761"/>
                  <a:pt x="49" y="761"/>
                </a:cubicBezTo>
                <a:cubicBezTo>
                  <a:pt x="49" y="761"/>
                  <a:pt x="48" y="761"/>
                  <a:pt x="48" y="762"/>
                </a:cubicBezTo>
                <a:cubicBezTo>
                  <a:pt x="50" y="771"/>
                  <a:pt x="50" y="771"/>
                  <a:pt x="50" y="771"/>
                </a:cubicBezTo>
                <a:cubicBezTo>
                  <a:pt x="50" y="772"/>
                  <a:pt x="49" y="773"/>
                  <a:pt x="48" y="773"/>
                </a:cubicBezTo>
                <a:cubicBezTo>
                  <a:pt x="43" y="776"/>
                  <a:pt x="43" y="776"/>
                  <a:pt x="43" y="776"/>
                </a:cubicBezTo>
                <a:cubicBezTo>
                  <a:pt x="42" y="776"/>
                  <a:pt x="40" y="776"/>
                  <a:pt x="40" y="775"/>
                </a:cubicBezTo>
                <a:cubicBezTo>
                  <a:pt x="35" y="767"/>
                  <a:pt x="35" y="767"/>
                  <a:pt x="35" y="767"/>
                </a:cubicBezTo>
                <a:cubicBezTo>
                  <a:pt x="34" y="768"/>
                  <a:pt x="33" y="768"/>
                  <a:pt x="32" y="768"/>
                </a:cubicBezTo>
                <a:cubicBezTo>
                  <a:pt x="31" y="768"/>
                  <a:pt x="31" y="768"/>
                  <a:pt x="31" y="768"/>
                </a:cubicBezTo>
                <a:cubicBezTo>
                  <a:pt x="27" y="776"/>
                  <a:pt x="27" y="776"/>
                  <a:pt x="27" y="776"/>
                </a:cubicBezTo>
                <a:cubicBezTo>
                  <a:pt x="27" y="777"/>
                  <a:pt x="25" y="777"/>
                  <a:pt x="24" y="777"/>
                </a:cubicBezTo>
                <a:cubicBezTo>
                  <a:pt x="18" y="775"/>
                  <a:pt x="18" y="775"/>
                  <a:pt x="18" y="775"/>
                </a:cubicBezTo>
                <a:cubicBezTo>
                  <a:pt x="17" y="774"/>
                  <a:pt x="17" y="774"/>
                  <a:pt x="17" y="772"/>
                </a:cubicBezTo>
                <a:cubicBezTo>
                  <a:pt x="18" y="763"/>
                  <a:pt x="18" y="763"/>
                  <a:pt x="18" y="763"/>
                </a:cubicBezTo>
                <a:cubicBezTo>
                  <a:pt x="17" y="763"/>
                  <a:pt x="16" y="762"/>
                  <a:pt x="15" y="762"/>
                </a:cubicBezTo>
                <a:cubicBezTo>
                  <a:pt x="12" y="763"/>
                  <a:pt x="10" y="763"/>
                  <a:pt x="9" y="764"/>
                </a:cubicBezTo>
                <a:cubicBezTo>
                  <a:pt x="8" y="759"/>
                  <a:pt x="7" y="755"/>
                  <a:pt x="7" y="750"/>
                </a:cubicBezTo>
                <a:cubicBezTo>
                  <a:pt x="8" y="749"/>
                  <a:pt x="8" y="749"/>
                  <a:pt x="8" y="749"/>
                </a:cubicBezTo>
                <a:cubicBezTo>
                  <a:pt x="7" y="748"/>
                  <a:pt x="7" y="746"/>
                  <a:pt x="7" y="745"/>
                </a:cubicBezTo>
                <a:cubicBezTo>
                  <a:pt x="7" y="745"/>
                  <a:pt x="6" y="745"/>
                  <a:pt x="6" y="745"/>
                </a:cubicBezTo>
                <a:cubicBezTo>
                  <a:pt x="5" y="740"/>
                  <a:pt x="5" y="736"/>
                  <a:pt x="4" y="731"/>
                </a:cubicBezTo>
                <a:cubicBezTo>
                  <a:pt x="9" y="731"/>
                  <a:pt x="9" y="731"/>
                  <a:pt x="9" y="731"/>
                </a:cubicBezTo>
                <a:cubicBezTo>
                  <a:pt x="10" y="730"/>
                  <a:pt x="10" y="730"/>
                  <a:pt x="11" y="729"/>
                </a:cubicBezTo>
                <a:cubicBezTo>
                  <a:pt x="6" y="721"/>
                  <a:pt x="6" y="721"/>
                  <a:pt x="6" y="721"/>
                </a:cubicBezTo>
                <a:cubicBezTo>
                  <a:pt x="6" y="720"/>
                  <a:pt x="6" y="719"/>
                  <a:pt x="7" y="718"/>
                </a:cubicBezTo>
                <a:cubicBezTo>
                  <a:pt x="12" y="714"/>
                  <a:pt x="12" y="714"/>
                  <a:pt x="12" y="714"/>
                </a:cubicBezTo>
                <a:cubicBezTo>
                  <a:pt x="12" y="713"/>
                  <a:pt x="14" y="713"/>
                  <a:pt x="15" y="714"/>
                </a:cubicBezTo>
                <a:cubicBezTo>
                  <a:pt x="22" y="719"/>
                  <a:pt x="22" y="719"/>
                  <a:pt x="22" y="719"/>
                </a:cubicBezTo>
                <a:cubicBezTo>
                  <a:pt x="23" y="719"/>
                  <a:pt x="24" y="719"/>
                  <a:pt x="24" y="718"/>
                </a:cubicBezTo>
                <a:cubicBezTo>
                  <a:pt x="26" y="710"/>
                  <a:pt x="26" y="710"/>
                  <a:pt x="26" y="710"/>
                </a:cubicBezTo>
                <a:cubicBezTo>
                  <a:pt x="27" y="709"/>
                  <a:pt x="27" y="708"/>
                  <a:pt x="28" y="708"/>
                </a:cubicBezTo>
                <a:cubicBezTo>
                  <a:pt x="35" y="708"/>
                  <a:pt x="35" y="708"/>
                  <a:pt x="35" y="708"/>
                </a:cubicBezTo>
                <a:cubicBezTo>
                  <a:pt x="36" y="708"/>
                  <a:pt x="37" y="709"/>
                  <a:pt x="37" y="710"/>
                </a:cubicBezTo>
                <a:cubicBezTo>
                  <a:pt x="39" y="718"/>
                  <a:pt x="39" y="718"/>
                  <a:pt x="39" y="718"/>
                </a:cubicBezTo>
                <a:cubicBezTo>
                  <a:pt x="40" y="719"/>
                  <a:pt x="41" y="719"/>
                  <a:pt x="42" y="719"/>
                </a:cubicBezTo>
                <a:cubicBezTo>
                  <a:pt x="49" y="714"/>
                  <a:pt x="49" y="714"/>
                  <a:pt x="49" y="714"/>
                </a:cubicBezTo>
                <a:cubicBezTo>
                  <a:pt x="49" y="713"/>
                  <a:pt x="51" y="713"/>
                  <a:pt x="52" y="714"/>
                </a:cubicBezTo>
                <a:cubicBezTo>
                  <a:pt x="56" y="718"/>
                  <a:pt x="56" y="718"/>
                  <a:pt x="56" y="718"/>
                </a:cubicBezTo>
                <a:cubicBezTo>
                  <a:pt x="57" y="718"/>
                  <a:pt x="58" y="720"/>
                  <a:pt x="57" y="721"/>
                </a:cubicBezTo>
                <a:cubicBezTo>
                  <a:pt x="53" y="729"/>
                  <a:pt x="53" y="729"/>
                  <a:pt x="53" y="729"/>
                </a:cubicBezTo>
                <a:cubicBezTo>
                  <a:pt x="53" y="730"/>
                  <a:pt x="54" y="730"/>
                  <a:pt x="54" y="731"/>
                </a:cubicBezTo>
                <a:cubicBezTo>
                  <a:pt x="63" y="731"/>
                  <a:pt x="63" y="731"/>
                  <a:pt x="63" y="731"/>
                </a:cubicBezTo>
                <a:cubicBezTo>
                  <a:pt x="64" y="731"/>
                  <a:pt x="65" y="732"/>
                  <a:pt x="65" y="733"/>
                </a:cubicBezTo>
                <a:lnTo>
                  <a:pt x="66" y="739"/>
                </a:lnTo>
                <a:close/>
                <a:moveTo>
                  <a:pt x="45" y="742"/>
                </a:moveTo>
                <a:cubicBezTo>
                  <a:pt x="45" y="735"/>
                  <a:pt x="39" y="729"/>
                  <a:pt x="32" y="729"/>
                </a:cubicBezTo>
                <a:cubicBezTo>
                  <a:pt x="24" y="729"/>
                  <a:pt x="18" y="735"/>
                  <a:pt x="18" y="742"/>
                </a:cubicBezTo>
                <a:cubicBezTo>
                  <a:pt x="18" y="750"/>
                  <a:pt x="24" y="756"/>
                  <a:pt x="32" y="756"/>
                </a:cubicBezTo>
                <a:cubicBezTo>
                  <a:pt x="39" y="756"/>
                  <a:pt x="45" y="750"/>
                  <a:pt x="45" y="742"/>
                </a:cubicBezTo>
                <a:close/>
                <a:moveTo>
                  <a:pt x="73" y="674"/>
                </a:moveTo>
                <a:cubicBezTo>
                  <a:pt x="73" y="670"/>
                  <a:pt x="71" y="668"/>
                  <a:pt x="68" y="668"/>
                </a:cubicBezTo>
                <a:cubicBezTo>
                  <a:pt x="64" y="668"/>
                  <a:pt x="62" y="670"/>
                  <a:pt x="62" y="674"/>
                </a:cubicBezTo>
                <a:cubicBezTo>
                  <a:pt x="62" y="677"/>
                  <a:pt x="64" y="679"/>
                  <a:pt x="68" y="679"/>
                </a:cubicBezTo>
                <a:cubicBezTo>
                  <a:pt x="71" y="679"/>
                  <a:pt x="73" y="677"/>
                  <a:pt x="73" y="674"/>
                </a:cubicBezTo>
                <a:close/>
                <a:moveTo>
                  <a:pt x="67" y="699"/>
                </a:moveTo>
                <a:cubicBezTo>
                  <a:pt x="63" y="707"/>
                  <a:pt x="63" y="707"/>
                  <a:pt x="63" y="707"/>
                </a:cubicBezTo>
                <a:cubicBezTo>
                  <a:pt x="63" y="708"/>
                  <a:pt x="61" y="708"/>
                  <a:pt x="60" y="708"/>
                </a:cubicBezTo>
                <a:cubicBezTo>
                  <a:pt x="54" y="706"/>
                  <a:pt x="54" y="706"/>
                  <a:pt x="54" y="706"/>
                </a:cubicBezTo>
                <a:cubicBezTo>
                  <a:pt x="53" y="706"/>
                  <a:pt x="53" y="705"/>
                  <a:pt x="53" y="703"/>
                </a:cubicBezTo>
                <a:cubicBezTo>
                  <a:pt x="54" y="694"/>
                  <a:pt x="54" y="694"/>
                  <a:pt x="54" y="694"/>
                </a:cubicBezTo>
                <a:cubicBezTo>
                  <a:pt x="53" y="694"/>
                  <a:pt x="52" y="693"/>
                  <a:pt x="51" y="693"/>
                </a:cubicBezTo>
                <a:cubicBezTo>
                  <a:pt x="43" y="696"/>
                  <a:pt x="43" y="696"/>
                  <a:pt x="43" y="696"/>
                </a:cubicBezTo>
                <a:cubicBezTo>
                  <a:pt x="42" y="696"/>
                  <a:pt x="40" y="696"/>
                  <a:pt x="40" y="695"/>
                </a:cubicBezTo>
                <a:cubicBezTo>
                  <a:pt x="36" y="690"/>
                  <a:pt x="37" y="690"/>
                  <a:pt x="37" y="690"/>
                </a:cubicBezTo>
                <a:cubicBezTo>
                  <a:pt x="36" y="689"/>
                  <a:pt x="36" y="687"/>
                  <a:pt x="37" y="686"/>
                </a:cubicBezTo>
                <a:cubicBezTo>
                  <a:pt x="43" y="680"/>
                  <a:pt x="44" y="680"/>
                  <a:pt x="44" y="680"/>
                </a:cubicBezTo>
                <a:cubicBezTo>
                  <a:pt x="43" y="679"/>
                  <a:pt x="43" y="678"/>
                  <a:pt x="43" y="676"/>
                </a:cubicBezTo>
                <a:cubicBezTo>
                  <a:pt x="34" y="673"/>
                  <a:pt x="34" y="673"/>
                  <a:pt x="34" y="673"/>
                </a:cubicBezTo>
                <a:cubicBezTo>
                  <a:pt x="33" y="673"/>
                  <a:pt x="33" y="671"/>
                  <a:pt x="33" y="670"/>
                </a:cubicBezTo>
                <a:cubicBezTo>
                  <a:pt x="34" y="664"/>
                  <a:pt x="34" y="664"/>
                  <a:pt x="34" y="664"/>
                </a:cubicBezTo>
                <a:cubicBezTo>
                  <a:pt x="34" y="663"/>
                  <a:pt x="35" y="662"/>
                  <a:pt x="37" y="662"/>
                </a:cubicBezTo>
                <a:cubicBezTo>
                  <a:pt x="45" y="662"/>
                  <a:pt x="45" y="662"/>
                  <a:pt x="45" y="662"/>
                </a:cubicBezTo>
                <a:cubicBezTo>
                  <a:pt x="46" y="661"/>
                  <a:pt x="46" y="661"/>
                  <a:pt x="47" y="660"/>
                </a:cubicBezTo>
                <a:cubicBezTo>
                  <a:pt x="42" y="652"/>
                  <a:pt x="42" y="652"/>
                  <a:pt x="42" y="652"/>
                </a:cubicBezTo>
                <a:cubicBezTo>
                  <a:pt x="42" y="651"/>
                  <a:pt x="42" y="650"/>
                  <a:pt x="43" y="649"/>
                </a:cubicBezTo>
                <a:cubicBezTo>
                  <a:pt x="48" y="645"/>
                  <a:pt x="48" y="645"/>
                  <a:pt x="48" y="645"/>
                </a:cubicBezTo>
                <a:cubicBezTo>
                  <a:pt x="48" y="644"/>
                  <a:pt x="50" y="644"/>
                  <a:pt x="51" y="645"/>
                </a:cubicBezTo>
                <a:cubicBezTo>
                  <a:pt x="58" y="650"/>
                  <a:pt x="58" y="650"/>
                  <a:pt x="58" y="650"/>
                </a:cubicBezTo>
                <a:cubicBezTo>
                  <a:pt x="59" y="650"/>
                  <a:pt x="60" y="650"/>
                  <a:pt x="60" y="650"/>
                </a:cubicBezTo>
                <a:cubicBezTo>
                  <a:pt x="62" y="641"/>
                  <a:pt x="62" y="641"/>
                  <a:pt x="62" y="641"/>
                </a:cubicBezTo>
                <a:cubicBezTo>
                  <a:pt x="63" y="640"/>
                  <a:pt x="63" y="639"/>
                  <a:pt x="64" y="639"/>
                </a:cubicBezTo>
                <a:cubicBezTo>
                  <a:pt x="71" y="639"/>
                  <a:pt x="71" y="639"/>
                  <a:pt x="71" y="639"/>
                </a:cubicBezTo>
                <a:cubicBezTo>
                  <a:pt x="72" y="639"/>
                  <a:pt x="73" y="640"/>
                  <a:pt x="73" y="641"/>
                </a:cubicBezTo>
                <a:cubicBezTo>
                  <a:pt x="75" y="650"/>
                  <a:pt x="75" y="650"/>
                  <a:pt x="75" y="650"/>
                </a:cubicBezTo>
                <a:cubicBezTo>
                  <a:pt x="76" y="650"/>
                  <a:pt x="77" y="650"/>
                  <a:pt x="78" y="650"/>
                </a:cubicBezTo>
                <a:cubicBezTo>
                  <a:pt x="85" y="645"/>
                  <a:pt x="85" y="645"/>
                  <a:pt x="85" y="645"/>
                </a:cubicBezTo>
                <a:cubicBezTo>
                  <a:pt x="85" y="644"/>
                  <a:pt x="87" y="644"/>
                  <a:pt x="88" y="645"/>
                </a:cubicBezTo>
                <a:cubicBezTo>
                  <a:pt x="92" y="649"/>
                  <a:pt x="92" y="649"/>
                  <a:pt x="92" y="649"/>
                </a:cubicBezTo>
                <a:cubicBezTo>
                  <a:pt x="93" y="650"/>
                  <a:pt x="94" y="651"/>
                  <a:pt x="93" y="652"/>
                </a:cubicBezTo>
                <a:cubicBezTo>
                  <a:pt x="89" y="660"/>
                  <a:pt x="89" y="660"/>
                  <a:pt x="89" y="660"/>
                </a:cubicBezTo>
                <a:cubicBezTo>
                  <a:pt x="89" y="661"/>
                  <a:pt x="90" y="661"/>
                  <a:pt x="90" y="662"/>
                </a:cubicBezTo>
                <a:cubicBezTo>
                  <a:pt x="99" y="662"/>
                  <a:pt x="99" y="662"/>
                  <a:pt x="99" y="662"/>
                </a:cubicBezTo>
                <a:cubicBezTo>
                  <a:pt x="100" y="662"/>
                  <a:pt x="101" y="663"/>
                  <a:pt x="101" y="664"/>
                </a:cubicBezTo>
                <a:cubicBezTo>
                  <a:pt x="102" y="670"/>
                  <a:pt x="102" y="670"/>
                  <a:pt x="102" y="670"/>
                </a:cubicBezTo>
                <a:cubicBezTo>
                  <a:pt x="102" y="671"/>
                  <a:pt x="102" y="673"/>
                  <a:pt x="101" y="673"/>
                </a:cubicBezTo>
                <a:cubicBezTo>
                  <a:pt x="93" y="676"/>
                  <a:pt x="93" y="676"/>
                  <a:pt x="93" y="676"/>
                </a:cubicBezTo>
                <a:cubicBezTo>
                  <a:pt x="92" y="677"/>
                  <a:pt x="92" y="678"/>
                  <a:pt x="92" y="679"/>
                </a:cubicBezTo>
                <a:cubicBezTo>
                  <a:pt x="99" y="685"/>
                  <a:pt x="99" y="685"/>
                  <a:pt x="99" y="685"/>
                </a:cubicBezTo>
                <a:cubicBezTo>
                  <a:pt x="100" y="686"/>
                  <a:pt x="100" y="687"/>
                  <a:pt x="99" y="688"/>
                </a:cubicBezTo>
                <a:cubicBezTo>
                  <a:pt x="97" y="693"/>
                  <a:pt x="97" y="693"/>
                  <a:pt x="97" y="693"/>
                </a:cubicBezTo>
                <a:cubicBezTo>
                  <a:pt x="96" y="694"/>
                  <a:pt x="95" y="695"/>
                  <a:pt x="94" y="694"/>
                </a:cubicBezTo>
                <a:cubicBezTo>
                  <a:pt x="85" y="692"/>
                  <a:pt x="85" y="692"/>
                  <a:pt x="85" y="692"/>
                </a:cubicBezTo>
                <a:cubicBezTo>
                  <a:pt x="85" y="692"/>
                  <a:pt x="84" y="692"/>
                  <a:pt x="84" y="693"/>
                </a:cubicBezTo>
                <a:cubicBezTo>
                  <a:pt x="86" y="702"/>
                  <a:pt x="86" y="702"/>
                  <a:pt x="86" y="702"/>
                </a:cubicBezTo>
                <a:cubicBezTo>
                  <a:pt x="86" y="703"/>
                  <a:pt x="85" y="704"/>
                  <a:pt x="84" y="704"/>
                </a:cubicBezTo>
                <a:cubicBezTo>
                  <a:pt x="79" y="707"/>
                  <a:pt x="79" y="707"/>
                  <a:pt x="79" y="707"/>
                </a:cubicBezTo>
                <a:cubicBezTo>
                  <a:pt x="78" y="707"/>
                  <a:pt x="76" y="707"/>
                  <a:pt x="76" y="706"/>
                </a:cubicBezTo>
                <a:cubicBezTo>
                  <a:pt x="71" y="698"/>
                  <a:pt x="71" y="698"/>
                  <a:pt x="71" y="698"/>
                </a:cubicBezTo>
                <a:cubicBezTo>
                  <a:pt x="70" y="699"/>
                  <a:pt x="69" y="699"/>
                  <a:pt x="68" y="699"/>
                </a:cubicBezTo>
                <a:cubicBezTo>
                  <a:pt x="67" y="699"/>
                  <a:pt x="67" y="699"/>
                  <a:pt x="67" y="699"/>
                </a:cubicBezTo>
                <a:close/>
                <a:moveTo>
                  <a:pt x="68" y="687"/>
                </a:moveTo>
                <a:cubicBezTo>
                  <a:pt x="75" y="687"/>
                  <a:pt x="81" y="681"/>
                  <a:pt x="81" y="674"/>
                </a:cubicBezTo>
                <a:cubicBezTo>
                  <a:pt x="81" y="666"/>
                  <a:pt x="75" y="660"/>
                  <a:pt x="68" y="660"/>
                </a:cubicBezTo>
                <a:cubicBezTo>
                  <a:pt x="60" y="660"/>
                  <a:pt x="54" y="666"/>
                  <a:pt x="54" y="674"/>
                </a:cubicBezTo>
                <a:cubicBezTo>
                  <a:pt x="54" y="681"/>
                  <a:pt x="60" y="687"/>
                  <a:pt x="68" y="687"/>
                </a:cubicBezTo>
                <a:close/>
                <a:moveTo>
                  <a:pt x="144" y="674"/>
                </a:moveTo>
                <a:cubicBezTo>
                  <a:pt x="144" y="670"/>
                  <a:pt x="142" y="668"/>
                  <a:pt x="139" y="668"/>
                </a:cubicBezTo>
                <a:cubicBezTo>
                  <a:pt x="135" y="668"/>
                  <a:pt x="133" y="670"/>
                  <a:pt x="133" y="674"/>
                </a:cubicBezTo>
                <a:cubicBezTo>
                  <a:pt x="133" y="677"/>
                  <a:pt x="135" y="679"/>
                  <a:pt x="139" y="679"/>
                </a:cubicBezTo>
                <a:cubicBezTo>
                  <a:pt x="142" y="679"/>
                  <a:pt x="144" y="677"/>
                  <a:pt x="144" y="674"/>
                </a:cubicBezTo>
                <a:close/>
                <a:moveTo>
                  <a:pt x="37" y="811"/>
                </a:moveTo>
                <a:cubicBezTo>
                  <a:pt x="37" y="808"/>
                  <a:pt x="35" y="806"/>
                  <a:pt x="32" y="806"/>
                </a:cubicBezTo>
                <a:cubicBezTo>
                  <a:pt x="28" y="806"/>
                  <a:pt x="26" y="808"/>
                  <a:pt x="26" y="811"/>
                </a:cubicBezTo>
                <a:cubicBezTo>
                  <a:pt x="26" y="814"/>
                  <a:pt x="28" y="817"/>
                  <a:pt x="32" y="817"/>
                </a:cubicBezTo>
                <a:cubicBezTo>
                  <a:pt x="35" y="817"/>
                  <a:pt x="37" y="814"/>
                  <a:pt x="37" y="811"/>
                </a:cubicBezTo>
                <a:close/>
                <a:moveTo>
                  <a:pt x="454" y="156"/>
                </a:moveTo>
                <a:cubicBezTo>
                  <a:pt x="460" y="156"/>
                  <a:pt x="460" y="156"/>
                  <a:pt x="460" y="156"/>
                </a:cubicBezTo>
                <a:cubicBezTo>
                  <a:pt x="461" y="156"/>
                  <a:pt x="462" y="157"/>
                  <a:pt x="462" y="158"/>
                </a:cubicBezTo>
                <a:cubicBezTo>
                  <a:pt x="464" y="167"/>
                  <a:pt x="464" y="167"/>
                  <a:pt x="464" y="167"/>
                </a:cubicBezTo>
                <a:cubicBezTo>
                  <a:pt x="465" y="168"/>
                  <a:pt x="466" y="168"/>
                  <a:pt x="467" y="168"/>
                </a:cubicBezTo>
                <a:cubicBezTo>
                  <a:pt x="474" y="163"/>
                  <a:pt x="474" y="163"/>
                  <a:pt x="474" y="163"/>
                </a:cubicBezTo>
                <a:cubicBezTo>
                  <a:pt x="475" y="162"/>
                  <a:pt x="476" y="162"/>
                  <a:pt x="477" y="163"/>
                </a:cubicBezTo>
                <a:cubicBezTo>
                  <a:pt x="482" y="167"/>
                  <a:pt x="482" y="167"/>
                  <a:pt x="482" y="167"/>
                </a:cubicBezTo>
                <a:cubicBezTo>
                  <a:pt x="483" y="167"/>
                  <a:pt x="483" y="169"/>
                  <a:pt x="482" y="170"/>
                </a:cubicBezTo>
                <a:cubicBezTo>
                  <a:pt x="478" y="178"/>
                  <a:pt x="478" y="178"/>
                  <a:pt x="478" y="178"/>
                </a:cubicBezTo>
                <a:cubicBezTo>
                  <a:pt x="478" y="178"/>
                  <a:pt x="479" y="179"/>
                  <a:pt x="479" y="180"/>
                </a:cubicBezTo>
                <a:cubicBezTo>
                  <a:pt x="488" y="180"/>
                  <a:pt x="488" y="180"/>
                  <a:pt x="488" y="180"/>
                </a:cubicBezTo>
                <a:cubicBezTo>
                  <a:pt x="489" y="180"/>
                  <a:pt x="490" y="181"/>
                  <a:pt x="491" y="182"/>
                </a:cubicBezTo>
                <a:cubicBezTo>
                  <a:pt x="492" y="188"/>
                  <a:pt x="492" y="188"/>
                  <a:pt x="492" y="188"/>
                </a:cubicBezTo>
                <a:cubicBezTo>
                  <a:pt x="492" y="189"/>
                  <a:pt x="491" y="190"/>
                  <a:pt x="490" y="191"/>
                </a:cubicBezTo>
                <a:cubicBezTo>
                  <a:pt x="482" y="194"/>
                  <a:pt x="482" y="194"/>
                  <a:pt x="482" y="194"/>
                </a:cubicBezTo>
                <a:cubicBezTo>
                  <a:pt x="482" y="195"/>
                  <a:pt x="482" y="196"/>
                  <a:pt x="481" y="197"/>
                </a:cubicBezTo>
                <a:cubicBezTo>
                  <a:pt x="488" y="203"/>
                  <a:pt x="488" y="203"/>
                  <a:pt x="488" y="203"/>
                </a:cubicBezTo>
                <a:cubicBezTo>
                  <a:pt x="489" y="203"/>
                  <a:pt x="489" y="204"/>
                  <a:pt x="489" y="205"/>
                </a:cubicBezTo>
                <a:cubicBezTo>
                  <a:pt x="486" y="211"/>
                  <a:pt x="486" y="211"/>
                  <a:pt x="486" y="211"/>
                </a:cubicBezTo>
                <a:cubicBezTo>
                  <a:pt x="485" y="212"/>
                  <a:pt x="484" y="212"/>
                  <a:pt x="483" y="212"/>
                </a:cubicBezTo>
                <a:cubicBezTo>
                  <a:pt x="474" y="209"/>
                  <a:pt x="474" y="209"/>
                  <a:pt x="474" y="209"/>
                </a:cubicBezTo>
                <a:cubicBezTo>
                  <a:pt x="474" y="210"/>
                  <a:pt x="474" y="210"/>
                  <a:pt x="473" y="211"/>
                </a:cubicBezTo>
                <a:cubicBezTo>
                  <a:pt x="475" y="220"/>
                  <a:pt x="475" y="220"/>
                  <a:pt x="475" y="220"/>
                </a:cubicBezTo>
                <a:cubicBezTo>
                  <a:pt x="475" y="220"/>
                  <a:pt x="475" y="222"/>
                  <a:pt x="474" y="222"/>
                </a:cubicBezTo>
                <a:cubicBezTo>
                  <a:pt x="468" y="224"/>
                  <a:pt x="468" y="224"/>
                  <a:pt x="468" y="224"/>
                </a:cubicBezTo>
                <a:cubicBezTo>
                  <a:pt x="467" y="225"/>
                  <a:pt x="466" y="224"/>
                  <a:pt x="465" y="224"/>
                </a:cubicBezTo>
                <a:cubicBezTo>
                  <a:pt x="460" y="216"/>
                  <a:pt x="460" y="216"/>
                  <a:pt x="460" y="216"/>
                </a:cubicBezTo>
                <a:cubicBezTo>
                  <a:pt x="459" y="216"/>
                  <a:pt x="458" y="216"/>
                  <a:pt x="457" y="216"/>
                </a:cubicBezTo>
                <a:cubicBezTo>
                  <a:pt x="457" y="216"/>
                  <a:pt x="457" y="216"/>
                  <a:pt x="457" y="216"/>
                </a:cubicBezTo>
                <a:cubicBezTo>
                  <a:pt x="453" y="224"/>
                  <a:pt x="453" y="224"/>
                  <a:pt x="453" y="224"/>
                </a:cubicBezTo>
                <a:cubicBezTo>
                  <a:pt x="452" y="225"/>
                  <a:pt x="451" y="226"/>
                  <a:pt x="450" y="225"/>
                </a:cubicBezTo>
                <a:cubicBezTo>
                  <a:pt x="444" y="223"/>
                  <a:pt x="444" y="224"/>
                  <a:pt x="444" y="224"/>
                </a:cubicBezTo>
                <a:cubicBezTo>
                  <a:pt x="443" y="223"/>
                  <a:pt x="442" y="222"/>
                  <a:pt x="442" y="221"/>
                </a:cubicBezTo>
                <a:cubicBezTo>
                  <a:pt x="443" y="212"/>
                  <a:pt x="443" y="212"/>
                  <a:pt x="443" y="212"/>
                </a:cubicBezTo>
                <a:cubicBezTo>
                  <a:pt x="442" y="212"/>
                  <a:pt x="442" y="211"/>
                  <a:pt x="441" y="210"/>
                </a:cubicBezTo>
                <a:cubicBezTo>
                  <a:pt x="432" y="213"/>
                  <a:pt x="432" y="213"/>
                  <a:pt x="432" y="213"/>
                </a:cubicBezTo>
                <a:cubicBezTo>
                  <a:pt x="431" y="214"/>
                  <a:pt x="430" y="213"/>
                  <a:pt x="429" y="212"/>
                </a:cubicBezTo>
                <a:cubicBezTo>
                  <a:pt x="426" y="207"/>
                  <a:pt x="426" y="207"/>
                  <a:pt x="426" y="207"/>
                </a:cubicBezTo>
                <a:cubicBezTo>
                  <a:pt x="426" y="206"/>
                  <a:pt x="426" y="205"/>
                  <a:pt x="426" y="204"/>
                </a:cubicBezTo>
                <a:cubicBezTo>
                  <a:pt x="433" y="198"/>
                  <a:pt x="433" y="198"/>
                  <a:pt x="433" y="198"/>
                </a:cubicBezTo>
                <a:cubicBezTo>
                  <a:pt x="433" y="197"/>
                  <a:pt x="432" y="195"/>
                  <a:pt x="432" y="194"/>
                </a:cubicBezTo>
                <a:cubicBezTo>
                  <a:pt x="424" y="191"/>
                  <a:pt x="424" y="191"/>
                  <a:pt x="424" y="191"/>
                </a:cubicBezTo>
                <a:cubicBezTo>
                  <a:pt x="423" y="190"/>
                  <a:pt x="422" y="189"/>
                  <a:pt x="423" y="188"/>
                </a:cubicBezTo>
                <a:cubicBezTo>
                  <a:pt x="423" y="182"/>
                  <a:pt x="423" y="182"/>
                  <a:pt x="423" y="182"/>
                </a:cubicBezTo>
                <a:cubicBezTo>
                  <a:pt x="424" y="181"/>
                  <a:pt x="425" y="180"/>
                  <a:pt x="426" y="180"/>
                </a:cubicBezTo>
                <a:cubicBezTo>
                  <a:pt x="435" y="180"/>
                  <a:pt x="435" y="180"/>
                  <a:pt x="435" y="180"/>
                </a:cubicBezTo>
                <a:cubicBezTo>
                  <a:pt x="435" y="179"/>
                  <a:pt x="436" y="178"/>
                  <a:pt x="436" y="178"/>
                </a:cubicBezTo>
                <a:cubicBezTo>
                  <a:pt x="432" y="170"/>
                  <a:pt x="432" y="170"/>
                  <a:pt x="432" y="170"/>
                </a:cubicBezTo>
                <a:cubicBezTo>
                  <a:pt x="431" y="169"/>
                  <a:pt x="431" y="168"/>
                  <a:pt x="432" y="167"/>
                </a:cubicBezTo>
                <a:cubicBezTo>
                  <a:pt x="437" y="163"/>
                  <a:pt x="437" y="163"/>
                  <a:pt x="437" y="163"/>
                </a:cubicBezTo>
                <a:cubicBezTo>
                  <a:pt x="438" y="162"/>
                  <a:pt x="439" y="162"/>
                  <a:pt x="440" y="163"/>
                </a:cubicBezTo>
                <a:cubicBezTo>
                  <a:pt x="447" y="168"/>
                  <a:pt x="447" y="168"/>
                  <a:pt x="447" y="168"/>
                </a:cubicBezTo>
                <a:cubicBezTo>
                  <a:pt x="448" y="168"/>
                  <a:pt x="449" y="168"/>
                  <a:pt x="450" y="167"/>
                </a:cubicBezTo>
                <a:cubicBezTo>
                  <a:pt x="452" y="158"/>
                  <a:pt x="452" y="158"/>
                  <a:pt x="452" y="158"/>
                </a:cubicBezTo>
                <a:cubicBezTo>
                  <a:pt x="452" y="157"/>
                  <a:pt x="453" y="156"/>
                  <a:pt x="454" y="156"/>
                </a:cubicBezTo>
                <a:close/>
                <a:moveTo>
                  <a:pt x="457" y="178"/>
                </a:moveTo>
                <a:cubicBezTo>
                  <a:pt x="450" y="178"/>
                  <a:pt x="444" y="184"/>
                  <a:pt x="444" y="191"/>
                </a:cubicBezTo>
                <a:cubicBezTo>
                  <a:pt x="444" y="199"/>
                  <a:pt x="450" y="204"/>
                  <a:pt x="457" y="204"/>
                </a:cubicBezTo>
                <a:cubicBezTo>
                  <a:pt x="464" y="204"/>
                  <a:pt x="470" y="199"/>
                  <a:pt x="470" y="191"/>
                </a:cubicBezTo>
                <a:cubicBezTo>
                  <a:pt x="470" y="184"/>
                  <a:pt x="464" y="178"/>
                  <a:pt x="457" y="178"/>
                </a:cubicBezTo>
                <a:close/>
                <a:moveTo>
                  <a:pt x="32" y="737"/>
                </a:moveTo>
                <a:cubicBezTo>
                  <a:pt x="28" y="737"/>
                  <a:pt x="26" y="739"/>
                  <a:pt x="26" y="742"/>
                </a:cubicBezTo>
                <a:cubicBezTo>
                  <a:pt x="26" y="746"/>
                  <a:pt x="28" y="748"/>
                  <a:pt x="32" y="748"/>
                </a:cubicBezTo>
                <a:cubicBezTo>
                  <a:pt x="35" y="748"/>
                  <a:pt x="37" y="746"/>
                  <a:pt x="37" y="742"/>
                </a:cubicBezTo>
                <a:cubicBezTo>
                  <a:pt x="37" y="739"/>
                  <a:pt x="35" y="737"/>
                  <a:pt x="32" y="737"/>
                </a:cubicBezTo>
                <a:close/>
                <a:moveTo>
                  <a:pt x="67" y="561"/>
                </a:moveTo>
                <a:cubicBezTo>
                  <a:pt x="63" y="569"/>
                  <a:pt x="63" y="569"/>
                  <a:pt x="63" y="569"/>
                </a:cubicBezTo>
                <a:cubicBezTo>
                  <a:pt x="63" y="570"/>
                  <a:pt x="61" y="570"/>
                  <a:pt x="60" y="570"/>
                </a:cubicBezTo>
                <a:cubicBezTo>
                  <a:pt x="54" y="568"/>
                  <a:pt x="54" y="568"/>
                  <a:pt x="54" y="568"/>
                </a:cubicBezTo>
                <a:cubicBezTo>
                  <a:pt x="53" y="568"/>
                  <a:pt x="53" y="567"/>
                  <a:pt x="53" y="566"/>
                </a:cubicBezTo>
                <a:cubicBezTo>
                  <a:pt x="54" y="557"/>
                  <a:pt x="54" y="557"/>
                  <a:pt x="54" y="557"/>
                </a:cubicBezTo>
                <a:cubicBezTo>
                  <a:pt x="53" y="556"/>
                  <a:pt x="52" y="555"/>
                  <a:pt x="51" y="555"/>
                </a:cubicBezTo>
                <a:cubicBezTo>
                  <a:pt x="43" y="558"/>
                  <a:pt x="43" y="558"/>
                  <a:pt x="43" y="558"/>
                </a:cubicBezTo>
                <a:cubicBezTo>
                  <a:pt x="42" y="558"/>
                  <a:pt x="40" y="558"/>
                  <a:pt x="40" y="557"/>
                </a:cubicBezTo>
                <a:cubicBezTo>
                  <a:pt x="36" y="552"/>
                  <a:pt x="37" y="552"/>
                  <a:pt x="37" y="552"/>
                </a:cubicBezTo>
                <a:cubicBezTo>
                  <a:pt x="36" y="551"/>
                  <a:pt x="36" y="550"/>
                  <a:pt x="37" y="549"/>
                </a:cubicBezTo>
                <a:cubicBezTo>
                  <a:pt x="43" y="542"/>
                  <a:pt x="44" y="543"/>
                  <a:pt x="44" y="543"/>
                </a:cubicBezTo>
                <a:cubicBezTo>
                  <a:pt x="43" y="541"/>
                  <a:pt x="43" y="540"/>
                  <a:pt x="43" y="539"/>
                </a:cubicBezTo>
                <a:cubicBezTo>
                  <a:pt x="34" y="535"/>
                  <a:pt x="34" y="535"/>
                  <a:pt x="34" y="535"/>
                </a:cubicBezTo>
                <a:cubicBezTo>
                  <a:pt x="33" y="535"/>
                  <a:pt x="33" y="534"/>
                  <a:pt x="33" y="533"/>
                </a:cubicBezTo>
                <a:cubicBezTo>
                  <a:pt x="34" y="527"/>
                  <a:pt x="34" y="527"/>
                  <a:pt x="34" y="527"/>
                </a:cubicBezTo>
                <a:cubicBezTo>
                  <a:pt x="34" y="525"/>
                  <a:pt x="35" y="524"/>
                  <a:pt x="37" y="524"/>
                </a:cubicBezTo>
                <a:cubicBezTo>
                  <a:pt x="45" y="524"/>
                  <a:pt x="45" y="524"/>
                  <a:pt x="45" y="524"/>
                </a:cubicBezTo>
                <a:cubicBezTo>
                  <a:pt x="46" y="523"/>
                  <a:pt x="46" y="523"/>
                  <a:pt x="47" y="522"/>
                </a:cubicBezTo>
                <a:cubicBezTo>
                  <a:pt x="42" y="514"/>
                  <a:pt x="42" y="514"/>
                  <a:pt x="42" y="514"/>
                </a:cubicBezTo>
                <a:cubicBezTo>
                  <a:pt x="42" y="513"/>
                  <a:pt x="42" y="512"/>
                  <a:pt x="43" y="511"/>
                </a:cubicBezTo>
                <a:cubicBezTo>
                  <a:pt x="48" y="507"/>
                  <a:pt x="48" y="507"/>
                  <a:pt x="48" y="507"/>
                </a:cubicBezTo>
                <a:cubicBezTo>
                  <a:pt x="48" y="507"/>
                  <a:pt x="50" y="507"/>
                  <a:pt x="51" y="507"/>
                </a:cubicBezTo>
                <a:cubicBezTo>
                  <a:pt x="58" y="513"/>
                  <a:pt x="58" y="513"/>
                  <a:pt x="58" y="513"/>
                </a:cubicBezTo>
                <a:cubicBezTo>
                  <a:pt x="59" y="512"/>
                  <a:pt x="60" y="512"/>
                  <a:pt x="60" y="512"/>
                </a:cubicBezTo>
                <a:cubicBezTo>
                  <a:pt x="62" y="503"/>
                  <a:pt x="62" y="503"/>
                  <a:pt x="62" y="503"/>
                </a:cubicBezTo>
                <a:cubicBezTo>
                  <a:pt x="63" y="502"/>
                  <a:pt x="63" y="501"/>
                  <a:pt x="64" y="501"/>
                </a:cubicBezTo>
                <a:cubicBezTo>
                  <a:pt x="71" y="501"/>
                  <a:pt x="71" y="501"/>
                  <a:pt x="71" y="501"/>
                </a:cubicBezTo>
                <a:cubicBezTo>
                  <a:pt x="72" y="501"/>
                  <a:pt x="73" y="502"/>
                  <a:pt x="73" y="503"/>
                </a:cubicBezTo>
                <a:cubicBezTo>
                  <a:pt x="75" y="512"/>
                  <a:pt x="75" y="512"/>
                  <a:pt x="75" y="512"/>
                </a:cubicBezTo>
                <a:cubicBezTo>
                  <a:pt x="76" y="512"/>
                  <a:pt x="77" y="512"/>
                  <a:pt x="78" y="513"/>
                </a:cubicBezTo>
                <a:cubicBezTo>
                  <a:pt x="85" y="507"/>
                  <a:pt x="85" y="507"/>
                  <a:pt x="85" y="507"/>
                </a:cubicBezTo>
                <a:cubicBezTo>
                  <a:pt x="85" y="507"/>
                  <a:pt x="87" y="507"/>
                  <a:pt x="88" y="507"/>
                </a:cubicBezTo>
                <a:cubicBezTo>
                  <a:pt x="92" y="511"/>
                  <a:pt x="92" y="511"/>
                  <a:pt x="92" y="511"/>
                </a:cubicBezTo>
                <a:cubicBezTo>
                  <a:pt x="93" y="512"/>
                  <a:pt x="94" y="513"/>
                  <a:pt x="93" y="514"/>
                </a:cubicBezTo>
                <a:cubicBezTo>
                  <a:pt x="89" y="522"/>
                  <a:pt x="89" y="522"/>
                  <a:pt x="89" y="522"/>
                </a:cubicBezTo>
                <a:cubicBezTo>
                  <a:pt x="89" y="523"/>
                  <a:pt x="90" y="523"/>
                  <a:pt x="90" y="524"/>
                </a:cubicBezTo>
                <a:cubicBezTo>
                  <a:pt x="99" y="524"/>
                  <a:pt x="99" y="524"/>
                  <a:pt x="99" y="524"/>
                </a:cubicBezTo>
                <a:cubicBezTo>
                  <a:pt x="100" y="524"/>
                  <a:pt x="101" y="525"/>
                  <a:pt x="101" y="527"/>
                </a:cubicBezTo>
                <a:cubicBezTo>
                  <a:pt x="102" y="532"/>
                  <a:pt x="102" y="532"/>
                  <a:pt x="102" y="532"/>
                </a:cubicBezTo>
                <a:cubicBezTo>
                  <a:pt x="102" y="534"/>
                  <a:pt x="102" y="535"/>
                  <a:pt x="101" y="535"/>
                </a:cubicBezTo>
                <a:cubicBezTo>
                  <a:pt x="93" y="539"/>
                  <a:pt x="93" y="539"/>
                  <a:pt x="93" y="539"/>
                </a:cubicBezTo>
                <a:cubicBezTo>
                  <a:pt x="92" y="539"/>
                  <a:pt x="92" y="540"/>
                  <a:pt x="92" y="541"/>
                </a:cubicBezTo>
                <a:cubicBezTo>
                  <a:pt x="99" y="547"/>
                  <a:pt x="99" y="547"/>
                  <a:pt x="99" y="547"/>
                </a:cubicBezTo>
                <a:cubicBezTo>
                  <a:pt x="100" y="548"/>
                  <a:pt x="100" y="549"/>
                  <a:pt x="99" y="550"/>
                </a:cubicBezTo>
                <a:cubicBezTo>
                  <a:pt x="97" y="555"/>
                  <a:pt x="97" y="555"/>
                  <a:pt x="97" y="555"/>
                </a:cubicBezTo>
                <a:cubicBezTo>
                  <a:pt x="96" y="556"/>
                  <a:pt x="95" y="557"/>
                  <a:pt x="94" y="557"/>
                </a:cubicBezTo>
                <a:cubicBezTo>
                  <a:pt x="85" y="554"/>
                  <a:pt x="85" y="554"/>
                  <a:pt x="85" y="554"/>
                </a:cubicBezTo>
                <a:cubicBezTo>
                  <a:pt x="85" y="554"/>
                  <a:pt x="84" y="555"/>
                  <a:pt x="84" y="555"/>
                </a:cubicBezTo>
                <a:cubicBezTo>
                  <a:pt x="86" y="564"/>
                  <a:pt x="86" y="564"/>
                  <a:pt x="86" y="564"/>
                </a:cubicBezTo>
                <a:cubicBezTo>
                  <a:pt x="86" y="565"/>
                  <a:pt x="85" y="566"/>
                  <a:pt x="84" y="566"/>
                </a:cubicBezTo>
                <a:cubicBezTo>
                  <a:pt x="79" y="569"/>
                  <a:pt x="79" y="569"/>
                  <a:pt x="79" y="569"/>
                </a:cubicBezTo>
                <a:cubicBezTo>
                  <a:pt x="78" y="570"/>
                  <a:pt x="76" y="569"/>
                  <a:pt x="76" y="568"/>
                </a:cubicBezTo>
                <a:cubicBezTo>
                  <a:pt x="71" y="561"/>
                  <a:pt x="71" y="561"/>
                  <a:pt x="71" y="561"/>
                </a:cubicBezTo>
                <a:cubicBezTo>
                  <a:pt x="70" y="561"/>
                  <a:pt x="69" y="561"/>
                  <a:pt x="68" y="561"/>
                </a:cubicBezTo>
                <a:cubicBezTo>
                  <a:pt x="67" y="561"/>
                  <a:pt x="67" y="561"/>
                  <a:pt x="67" y="561"/>
                </a:cubicBezTo>
                <a:close/>
                <a:moveTo>
                  <a:pt x="68" y="549"/>
                </a:moveTo>
                <a:cubicBezTo>
                  <a:pt x="75" y="549"/>
                  <a:pt x="81" y="543"/>
                  <a:pt x="81" y="536"/>
                </a:cubicBezTo>
                <a:cubicBezTo>
                  <a:pt x="81" y="528"/>
                  <a:pt x="75" y="523"/>
                  <a:pt x="68" y="523"/>
                </a:cubicBezTo>
                <a:cubicBezTo>
                  <a:pt x="60" y="523"/>
                  <a:pt x="54" y="528"/>
                  <a:pt x="54" y="536"/>
                </a:cubicBezTo>
                <a:cubicBezTo>
                  <a:pt x="54" y="543"/>
                  <a:pt x="60" y="549"/>
                  <a:pt x="68" y="549"/>
                </a:cubicBezTo>
                <a:close/>
                <a:moveTo>
                  <a:pt x="258" y="318"/>
                </a:moveTo>
                <a:cubicBezTo>
                  <a:pt x="258" y="317"/>
                  <a:pt x="259" y="316"/>
                  <a:pt x="259" y="315"/>
                </a:cubicBezTo>
                <a:cubicBezTo>
                  <a:pt x="255" y="307"/>
                  <a:pt x="255" y="307"/>
                  <a:pt x="255" y="307"/>
                </a:cubicBezTo>
                <a:cubicBezTo>
                  <a:pt x="254" y="307"/>
                  <a:pt x="255" y="305"/>
                  <a:pt x="256" y="304"/>
                </a:cubicBezTo>
                <a:cubicBezTo>
                  <a:pt x="260" y="300"/>
                  <a:pt x="260" y="300"/>
                  <a:pt x="260" y="300"/>
                </a:cubicBezTo>
                <a:cubicBezTo>
                  <a:pt x="261" y="300"/>
                  <a:pt x="262" y="300"/>
                  <a:pt x="263" y="300"/>
                </a:cubicBezTo>
                <a:cubicBezTo>
                  <a:pt x="270" y="306"/>
                  <a:pt x="270" y="306"/>
                  <a:pt x="270" y="306"/>
                </a:cubicBezTo>
                <a:cubicBezTo>
                  <a:pt x="271" y="306"/>
                  <a:pt x="272" y="305"/>
                  <a:pt x="273" y="305"/>
                </a:cubicBezTo>
                <a:cubicBezTo>
                  <a:pt x="275" y="296"/>
                  <a:pt x="275" y="296"/>
                  <a:pt x="275" y="296"/>
                </a:cubicBezTo>
                <a:cubicBezTo>
                  <a:pt x="275" y="295"/>
                  <a:pt x="276" y="294"/>
                  <a:pt x="277" y="294"/>
                </a:cubicBezTo>
                <a:cubicBezTo>
                  <a:pt x="284" y="294"/>
                  <a:pt x="284" y="294"/>
                  <a:pt x="284" y="294"/>
                </a:cubicBezTo>
                <a:cubicBezTo>
                  <a:pt x="284" y="294"/>
                  <a:pt x="286" y="295"/>
                  <a:pt x="286" y="296"/>
                </a:cubicBezTo>
                <a:cubicBezTo>
                  <a:pt x="288" y="305"/>
                  <a:pt x="288" y="305"/>
                  <a:pt x="288" y="305"/>
                </a:cubicBezTo>
                <a:cubicBezTo>
                  <a:pt x="288" y="305"/>
                  <a:pt x="289" y="306"/>
                  <a:pt x="290" y="306"/>
                </a:cubicBezTo>
                <a:cubicBezTo>
                  <a:pt x="297" y="300"/>
                  <a:pt x="297" y="300"/>
                  <a:pt x="297" y="300"/>
                </a:cubicBezTo>
                <a:cubicBezTo>
                  <a:pt x="298" y="300"/>
                  <a:pt x="299" y="300"/>
                  <a:pt x="300" y="300"/>
                </a:cubicBezTo>
                <a:cubicBezTo>
                  <a:pt x="305" y="304"/>
                  <a:pt x="305" y="304"/>
                  <a:pt x="305" y="304"/>
                </a:cubicBezTo>
                <a:cubicBezTo>
                  <a:pt x="306" y="305"/>
                  <a:pt x="306" y="307"/>
                  <a:pt x="306" y="307"/>
                </a:cubicBezTo>
                <a:cubicBezTo>
                  <a:pt x="301" y="315"/>
                  <a:pt x="301" y="315"/>
                  <a:pt x="301" y="315"/>
                </a:cubicBezTo>
                <a:cubicBezTo>
                  <a:pt x="302" y="316"/>
                  <a:pt x="302" y="317"/>
                  <a:pt x="303" y="318"/>
                </a:cubicBezTo>
                <a:cubicBezTo>
                  <a:pt x="312" y="318"/>
                  <a:pt x="312" y="318"/>
                  <a:pt x="312" y="318"/>
                </a:cubicBezTo>
                <a:cubicBezTo>
                  <a:pt x="313" y="318"/>
                  <a:pt x="314" y="319"/>
                  <a:pt x="314" y="320"/>
                </a:cubicBezTo>
                <a:cubicBezTo>
                  <a:pt x="315" y="326"/>
                  <a:pt x="315" y="326"/>
                  <a:pt x="315" y="326"/>
                </a:cubicBezTo>
                <a:cubicBezTo>
                  <a:pt x="315" y="327"/>
                  <a:pt x="314" y="328"/>
                  <a:pt x="314" y="328"/>
                </a:cubicBezTo>
                <a:cubicBezTo>
                  <a:pt x="305" y="332"/>
                  <a:pt x="305" y="332"/>
                  <a:pt x="305" y="332"/>
                </a:cubicBezTo>
                <a:cubicBezTo>
                  <a:pt x="305" y="333"/>
                  <a:pt x="305" y="334"/>
                  <a:pt x="305" y="335"/>
                </a:cubicBezTo>
                <a:cubicBezTo>
                  <a:pt x="312" y="340"/>
                  <a:pt x="312" y="340"/>
                  <a:pt x="312" y="340"/>
                </a:cubicBezTo>
                <a:cubicBezTo>
                  <a:pt x="312" y="341"/>
                  <a:pt x="313" y="342"/>
                  <a:pt x="312" y="343"/>
                </a:cubicBezTo>
                <a:cubicBezTo>
                  <a:pt x="309" y="349"/>
                  <a:pt x="309" y="349"/>
                  <a:pt x="309" y="349"/>
                </a:cubicBezTo>
                <a:cubicBezTo>
                  <a:pt x="309" y="350"/>
                  <a:pt x="307" y="350"/>
                  <a:pt x="306" y="350"/>
                </a:cubicBezTo>
                <a:cubicBezTo>
                  <a:pt x="298" y="347"/>
                  <a:pt x="298" y="347"/>
                  <a:pt x="298" y="347"/>
                </a:cubicBezTo>
                <a:cubicBezTo>
                  <a:pt x="297" y="347"/>
                  <a:pt x="297" y="348"/>
                  <a:pt x="296" y="348"/>
                </a:cubicBezTo>
                <a:cubicBezTo>
                  <a:pt x="298" y="357"/>
                  <a:pt x="298" y="357"/>
                  <a:pt x="298" y="357"/>
                </a:cubicBezTo>
                <a:cubicBezTo>
                  <a:pt x="299" y="358"/>
                  <a:pt x="298" y="359"/>
                  <a:pt x="297" y="360"/>
                </a:cubicBezTo>
                <a:cubicBezTo>
                  <a:pt x="291" y="362"/>
                  <a:pt x="291" y="362"/>
                  <a:pt x="291" y="362"/>
                </a:cubicBezTo>
                <a:cubicBezTo>
                  <a:pt x="290" y="363"/>
                  <a:pt x="289" y="362"/>
                  <a:pt x="288" y="362"/>
                </a:cubicBezTo>
                <a:cubicBezTo>
                  <a:pt x="283" y="354"/>
                  <a:pt x="283" y="354"/>
                  <a:pt x="283" y="354"/>
                </a:cubicBezTo>
                <a:cubicBezTo>
                  <a:pt x="282" y="354"/>
                  <a:pt x="281" y="354"/>
                  <a:pt x="280" y="354"/>
                </a:cubicBezTo>
                <a:cubicBezTo>
                  <a:pt x="280" y="354"/>
                  <a:pt x="280" y="354"/>
                  <a:pt x="280" y="354"/>
                </a:cubicBezTo>
                <a:cubicBezTo>
                  <a:pt x="276" y="362"/>
                  <a:pt x="276" y="362"/>
                  <a:pt x="276" y="362"/>
                </a:cubicBezTo>
                <a:cubicBezTo>
                  <a:pt x="275" y="363"/>
                  <a:pt x="274" y="363"/>
                  <a:pt x="273" y="363"/>
                </a:cubicBezTo>
                <a:cubicBezTo>
                  <a:pt x="267" y="361"/>
                  <a:pt x="267" y="361"/>
                  <a:pt x="267" y="361"/>
                </a:cubicBezTo>
                <a:cubicBezTo>
                  <a:pt x="266" y="361"/>
                  <a:pt x="265" y="360"/>
                  <a:pt x="265" y="359"/>
                </a:cubicBezTo>
                <a:cubicBezTo>
                  <a:pt x="266" y="350"/>
                  <a:pt x="266" y="350"/>
                  <a:pt x="266" y="350"/>
                </a:cubicBezTo>
                <a:cubicBezTo>
                  <a:pt x="265" y="349"/>
                  <a:pt x="265" y="349"/>
                  <a:pt x="264" y="348"/>
                </a:cubicBezTo>
                <a:cubicBezTo>
                  <a:pt x="255" y="351"/>
                  <a:pt x="255" y="351"/>
                  <a:pt x="255" y="351"/>
                </a:cubicBezTo>
                <a:cubicBezTo>
                  <a:pt x="254" y="351"/>
                  <a:pt x="253" y="351"/>
                  <a:pt x="253" y="350"/>
                </a:cubicBezTo>
                <a:cubicBezTo>
                  <a:pt x="249" y="345"/>
                  <a:pt x="249" y="345"/>
                  <a:pt x="249" y="345"/>
                </a:cubicBezTo>
                <a:cubicBezTo>
                  <a:pt x="249" y="344"/>
                  <a:pt x="249" y="343"/>
                  <a:pt x="250" y="342"/>
                </a:cubicBezTo>
                <a:cubicBezTo>
                  <a:pt x="256" y="336"/>
                  <a:pt x="256" y="336"/>
                  <a:pt x="256" y="336"/>
                </a:cubicBezTo>
                <a:cubicBezTo>
                  <a:pt x="256" y="335"/>
                  <a:pt x="256" y="333"/>
                  <a:pt x="256" y="332"/>
                </a:cubicBezTo>
                <a:cubicBezTo>
                  <a:pt x="247" y="328"/>
                  <a:pt x="247" y="328"/>
                  <a:pt x="247" y="328"/>
                </a:cubicBezTo>
                <a:cubicBezTo>
                  <a:pt x="246" y="328"/>
                  <a:pt x="246" y="327"/>
                  <a:pt x="246" y="326"/>
                </a:cubicBezTo>
                <a:cubicBezTo>
                  <a:pt x="247" y="320"/>
                  <a:pt x="247" y="320"/>
                  <a:pt x="247" y="320"/>
                </a:cubicBezTo>
                <a:cubicBezTo>
                  <a:pt x="247" y="319"/>
                  <a:pt x="248" y="318"/>
                  <a:pt x="249" y="318"/>
                </a:cubicBezTo>
                <a:cubicBezTo>
                  <a:pt x="258" y="318"/>
                  <a:pt x="258" y="318"/>
                  <a:pt x="258" y="318"/>
                </a:cubicBezTo>
                <a:close/>
                <a:moveTo>
                  <a:pt x="267" y="329"/>
                </a:moveTo>
                <a:cubicBezTo>
                  <a:pt x="267" y="336"/>
                  <a:pt x="273" y="342"/>
                  <a:pt x="280" y="342"/>
                </a:cubicBezTo>
                <a:cubicBezTo>
                  <a:pt x="288" y="342"/>
                  <a:pt x="294" y="336"/>
                  <a:pt x="294" y="329"/>
                </a:cubicBezTo>
                <a:cubicBezTo>
                  <a:pt x="294" y="322"/>
                  <a:pt x="288" y="316"/>
                  <a:pt x="280" y="316"/>
                </a:cubicBezTo>
                <a:cubicBezTo>
                  <a:pt x="273" y="316"/>
                  <a:pt x="267" y="322"/>
                  <a:pt x="267" y="329"/>
                </a:cubicBezTo>
                <a:close/>
                <a:moveTo>
                  <a:pt x="351" y="335"/>
                </a:moveTo>
                <a:cubicBezTo>
                  <a:pt x="354" y="335"/>
                  <a:pt x="357" y="332"/>
                  <a:pt x="357" y="329"/>
                </a:cubicBezTo>
                <a:cubicBezTo>
                  <a:pt x="357" y="326"/>
                  <a:pt x="354" y="323"/>
                  <a:pt x="351" y="323"/>
                </a:cubicBezTo>
                <a:cubicBezTo>
                  <a:pt x="348" y="323"/>
                  <a:pt x="346" y="326"/>
                  <a:pt x="346" y="329"/>
                </a:cubicBezTo>
                <a:cubicBezTo>
                  <a:pt x="346" y="332"/>
                  <a:pt x="348" y="335"/>
                  <a:pt x="351" y="335"/>
                </a:cubicBezTo>
                <a:close/>
                <a:moveTo>
                  <a:pt x="386" y="473"/>
                </a:moveTo>
                <a:cubicBezTo>
                  <a:pt x="389" y="473"/>
                  <a:pt x="392" y="470"/>
                  <a:pt x="392" y="467"/>
                </a:cubicBezTo>
                <a:cubicBezTo>
                  <a:pt x="392" y="464"/>
                  <a:pt x="389" y="461"/>
                  <a:pt x="386" y="461"/>
                </a:cubicBezTo>
                <a:cubicBezTo>
                  <a:pt x="383" y="461"/>
                  <a:pt x="380" y="464"/>
                  <a:pt x="380" y="467"/>
                </a:cubicBezTo>
                <a:cubicBezTo>
                  <a:pt x="380" y="470"/>
                  <a:pt x="383" y="473"/>
                  <a:pt x="386" y="473"/>
                </a:cubicBezTo>
                <a:close/>
                <a:moveTo>
                  <a:pt x="329" y="318"/>
                </a:moveTo>
                <a:cubicBezTo>
                  <a:pt x="329" y="317"/>
                  <a:pt x="330" y="316"/>
                  <a:pt x="330" y="315"/>
                </a:cubicBezTo>
                <a:cubicBezTo>
                  <a:pt x="326" y="307"/>
                  <a:pt x="326" y="307"/>
                  <a:pt x="326" y="307"/>
                </a:cubicBezTo>
                <a:cubicBezTo>
                  <a:pt x="325" y="307"/>
                  <a:pt x="326" y="305"/>
                  <a:pt x="327" y="304"/>
                </a:cubicBezTo>
                <a:cubicBezTo>
                  <a:pt x="331" y="300"/>
                  <a:pt x="331" y="300"/>
                  <a:pt x="331" y="300"/>
                </a:cubicBezTo>
                <a:cubicBezTo>
                  <a:pt x="332" y="300"/>
                  <a:pt x="333" y="300"/>
                  <a:pt x="334" y="300"/>
                </a:cubicBezTo>
                <a:cubicBezTo>
                  <a:pt x="341" y="306"/>
                  <a:pt x="341" y="306"/>
                  <a:pt x="341" y="306"/>
                </a:cubicBezTo>
                <a:cubicBezTo>
                  <a:pt x="342" y="306"/>
                  <a:pt x="343" y="305"/>
                  <a:pt x="344" y="305"/>
                </a:cubicBezTo>
                <a:cubicBezTo>
                  <a:pt x="346" y="296"/>
                  <a:pt x="346" y="296"/>
                  <a:pt x="346" y="296"/>
                </a:cubicBezTo>
                <a:cubicBezTo>
                  <a:pt x="346" y="295"/>
                  <a:pt x="347" y="294"/>
                  <a:pt x="348" y="294"/>
                </a:cubicBezTo>
                <a:cubicBezTo>
                  <a:pt x="354" y="294"/>
                  <a:pt x="354" y="294"/>
                  <a:pt x="354" y="294"/>
                </a:cubicBezTo>
                <a:cubicBezTo>
                  <a:pt x="355" y="294"/>
                  <a:pt x="357" y="295"/>
                  <a:pt x="357" y="296"/>
                </a:cubicBezTo>
                <a:cubicBezTo>
                  <a:pt x="358" y="305"/>
                  <a:pt x="358" y="305"/>
                  <a:pt x="358" y="305"/>
                </a:cubicBezTo>
                <a:cubicBezTo>
                  <a:pt x="359" y="305"/>
                  <a:pt x="360" y="306"/>
                  <a:pt x="361" y="306"/>
                </a:cubicBezTo>
                <a:cubicBezTo>
                  <a:pt x="368" y="300"/>
                  <a:pt x="368" y="300"/>
                  <a:pt x="368" y="300"/>
                </a:cubicBezTo>
                <a:cubicBezTo>
                  <a:pt x="369" y="300"/>
                  <a:pt x="370" y="300"/>
                  <a:pt x="371" y="300"/>
                </a:cubicBezTo>
                <a:cubicBezTo>
                  <a:pt x="376" y="304"/>
                  <a:pt x="376" y="304"/>
                  <a:pt x="376" y="304"/>
                </a:cubicBezTo>
                <a:cubicBezTo>
                  <a:pt x="377" y="305"/>
                  <a:pt x="377" y="307"/>
                  <a:pt x="376" y="307"/>
                </a:cubicBezTo>
                <a:cubicBezTo>
                  <a:pt x="372" y="315"/>
                  <a:pt x="372" y="315"/>
                  <a:pt x="372" y="315"/>
                </a:cubicBezTo>
                <a:cubicBezTo>
                  <a:pt x="373" y="316"/>
                  <a:pt x="373" y="317"/>
                  <a:pt x="373" y="318"/>
                </a:cubicBezTo>
                <a:cubicBezTo>
                  <a:pt x="383" y="318"/>
                  <a:pt x="383" y="318"/>
                  <a:pt x="383" y="318"/>
                </a:cubicBezTo>
                <a:cubicBezTo>
                  <a:pt x="384" y="318"/>
                  <a:pt x="384" y="319"/>
                  <a:pt x="385" y="320"/>
                </a:cubicBezTo>
                <a:cubicBezTo>
                  <a:pt x="386" y="326"/>
                  <a:pt x="386" y="326"/>
                  <a:pt x="386" y="326"/>
                </a:cubicBezTo>
                <a:cubicBezTo>
                  <a:pt x="386" y="327"/>
                  <a:pt x="385" y="328"/>
                  <a:pt x="384" y="328"/>
                </a:cubicBezTo>
                <a:cubicBezTo>
                  <a:pt x="376" y="332"/>
                  <a:pt x="376" y="332"/>
                  <a:pt x="376" y="332"/>
                </a:cubicBezTo>
                <a:cubicBezTo>
                  <a:pt x="376" y="333"/>
                  <a:pt x="376" y="334"/>
                  <a:pt x="376" y="335"/>
                </a:cubicBezTo>
                <a:cubicBezTo>
                  <a:pt x="383" y="340"/>
                  <a:pt x="383" y="340"/>
                  <a:pt x="383" y="340"/>
                </a:cubicBezTo>
                <a:cubicBezTo>
                  <a:pt x="383" y="341"/>
                  <a:pt x="384" y="342"/>
                  <a:pt x="383" y="343"/>
                </a:cubicBezTo>
                <a:cubicBezTo>
                  <a:pt x="380" y="349"/>
                  <a:pt x="380" y="349"/>
                  <a:pt x="380" y="349"/>
                </a:cubicBezTo>
                <a:cubicBezTo>
                  <a:pt x="380" y="350"/>
                  <a:pt x="378" y="350"/>
                  <a:pt x="377" y="350"/>
                </a:cubicBezTo>
                <a:cubicBezTo>
                  <a:pt x="369" y="347"/>
                  <a:pt x="369" y="347"/>
                  <a:pt x="369" y="347"/>
                </a:cubicBezTo>
                <a:cubicBezTo>
                  <a:pt x="368" y="347"/>
                  <a:pt x="368" y="348"/>
                  <a:pt x="367" y="348"/>
                </a:cubicBezTo>
                <a:cubicBezTo>
                  <a:pt x="369" y="357"/>
                  <a:pt x="369" y="357"/>
                  <a:pt x="369" y="357"/>
                </a:cubicBezTo>
                <a:cubicBezTo>
                  <a:pt x="369" y="358"/>
                  <a:pt x="369" y="359"/>
                  <a:pt x="368" y="360"/>
                </a:cubicBezTo>
                <a:cubicBezTo>
                  <a:pt x="362" y="362"/>
                  <a:pt x="362" y="362"/>
                  <a:pt x="362" y="362"/>
                </a:cubicBezTo>
                <a:cubicBezTo>
                  <a:pt x="361" y="363"/>
                  <a:pt x="360" y="362"/>
                  <a:pt x="359" y="362"/>
                </a:cubicBezTo>
                <a:cubicBezTo>
                  <a:pt x="354" y="354"/>
                  <a:pt x="354" y="354"/>
                  <a:pt x="354" y="354"/>
                </a:cubicBezTo>
                <a:cubicBezTo>
                  <a:pt x="353" y="354"/>
                  <a:pt x="352" y="354"/>
                  <a:pt x="351" y="354"/>
                </a:cubicBezTo>
                <a:cubicBezTo>
                  <a:pt x="351" y="354"/>
                  <a:pt x="351" y="354"/>
                  <a:pt x="351" y="354"/>
                </a:cubicBezTo>
                <a:cubicBezTo>
                  <a:pt x="347" y="362"/>
                  <a:pt x="347" y="362"/>
                  <a:pt x="347" y="362"/>
                </a:cubicBezTo>
                <a:cubicBezTo>
                  <a:pt x="346" y="363"/>
                  <a:pt x="345" y="363"/>
                  <a:pt x="344" y="363"/>
                </a:cubicBezTo>
                <a:cubicBezTo>
                  <a:pt x="338" y="361"/>
                  <a:pt x="338" y="361"/>
                  <a:pt x="338" y="361"/>
                </a:cubicBezTo>
                <a:cubicBezTo>
                  <a:pt x="337" y="361"/>
                  <a:pt x="336" y="360"/>
                  <a:pt x="336" y="359"/>
                </a:cubicBezTo>
                <a:cubicBezTo>
                  <a:pt x="337" y="350"/>
                  <a:pt x="337" y="350"/>
                  <a:pt x="337" y="350"/>
                </a:cubicBezTo>
                <a:cubicBezTo>
                  <a:pt x="336" y="349"/>
                  <a:pt x="336" y="349"/>
                  <a:pt x="335" y="348"/>
                </a:cubicBezTo>
                <a:cubicBezTo>
                  <a:pt x="326" y="351"/>
                  <a:pt x="326" y="351"/>
                  <a:pt x="326" y="351"/>
                </a:cubicBezTo>
                <a:cubicBezTo>
                  <a:pt x="325" y="351"/>
                  <a:pt x="324" y="351"/>
                  <a:pt x="323" y="350"/>
                </a:cubicBezTo>
                <a:cubicBezTo>
                  <a:pt x="320" y="345"/>
                  <a:pt x="320" y="345"/>
                  <a:pt x="320" y="345"/>
                </a:cubicBezTo>
                <a:cubicBezTo>
                  <a:pt x="320" y="344"/>
                  <a:pt x="320" y="343"/>
                  <a:pt x="321" y="342"/>
                </a:cubicBezTo>
                <a:cubicBezTo>
                  <a:pt x="327" y="336"/>
                  <a:pt x="327" y="336"/>
                  <a:pt x="327" y="336"/>
                </a:cubicBezTo>
                <a:cubicBezTo>
                  <a:pt x="327" y="335"/>
                  <a:pt x="327" y="333"/>
                  <a:pt x="327" y="332"/>
                </a:cubicBezTo>
                <a:cubicBezTo>
                  <a:pt x="318" y="328"/>
                  <a:pt x="318" y="328"/>
                  <a:pt x="318" y="328"/>
                </a:cubicBezTo>
                <a:cubicBezTo>
                  <a:pt x="317" y="328"/>
                  <a:pt x="316" y="327"/>
                  <a:pt x="317" y="326"/>
                </a:cubicBezTo>
                <a:cubicBezTo>
                  <a:pt x="318" y="320"/>
                  <a:pt x="318" y="320"/>
                  <a:pt x="318" y="320"/>
                </a:cubicBezTo>
                <a:cubicBezTo>
                  <a:pt x="318" y="319"/>
                  <a:pt x="319" y="318"/>
                  <a:pt x="320" y="318"/>
                </a:cubicBezTo>
                <a:cubicBezTo>
                  <a:pt x="329" y="318"/>
                  <a:pt x="329" y="318"/>
                  <a:pt x="329" y="318"/>
                </a:cubicBezTo>
                <a:close/>
                <a:moveTo>
                  <a:pt x="338" y="329"/>
                </a:moveTo>
                <a:cubicBezTo>
                  <a:pt x="338" y="336"/>
                  <a:pt x="344" y="342"/>
                  <a:pt x="351" y="342"/>
                </a:cubicBezTo>
                <a:cubicBezTo>
                  <a:pt x="358" y="342"/>
                  <a:pt x="365" y="336"/>
                  <a:pt x="365" y="329"/>
                </a:cubicBezTo>
                <a:cubicBezTo>
                  <a:pt x="365" y="322"/>
                  <a:pt x="358" y="316"/>
                  <a:pt x="351" y="316"/>
                </a:cubicBezTo>
                <a:cubicBezTo>
                  <a:pt x="344" y="316"/>
                  <a:pt x="338" y="322"/>
                  <a:pt x="338" y="329"/>
                </a:cubicBezTo>
                <a:close/>
                <a:moveTo>
                  <a:pt x="280" y="335"/>
                </a:moveTo>
                <a:cubicBezTo>
                  <a:pt x="284" y="335"/>
                  <a:pt x="286" y="332"/>
                  <a:pt x="286" y="329"/>
                </a:cubicBezTo>
                <a:cubicBezTo>
                  <a:pt x="286" y="326"/>
                  <a:pt x="284" y="323"/>
                  <a:pt x="280" y="323"/>
                </a:cubicBezTo>
                <a:cubicBezTo>
                  <a:pt x="277" y="323"/>
                  <a:pt x="275" y="326"/>
                  <a:pt x="275" y="329"/>
                </a:cubicBezTo>
                <a:cubicBezTo>
                  <a:pt x="275" y="332"/>
                  <a:pt x="277" y="335"/>
                  <a:pt x="280" y="335"/>
                </a:cubicBezTo>
                <a:close/>
                <a:moveTo>
                  <a:pt x="210" y="255"/>
                </a:moveTo>
                <a:cubicBezTo>
                  <a:pt x="206" y="255"/>
                  <a:pt x="204" y="257"/>
                  <a:pt x="204" y="260"/>
                </a:cubicBezTo>
                <a:cubicBezTo>
                  <a:pt x="204" y="263"/>
                  <a:pt x="206" y="266"/>
                  <a:pt x="210" y="266"/>
                </a:cubicBezTo>
                <a:cubicBezTo>
                  <a:pt x="213" y="266"/>
                  <a:pt x="215" y="263"/>
                  <a:pt x="215" y="260"/>
                </a:cubicBezTo>
                <a:cubicBezTo>
                  <a:pt x="215" y="257"/>
                  <a:pt x="213" y="255"/>
                  <a:pt x="210" y="255"/>
                </a:cubicBezTo>
                <a:close/>
                <a:moveTo>
                  <a:pt x="235" y="239"/>
                </a:moveTo>
                <a:cubicBezTo>
                  <a:pt x="230" y="247"/>
                  <a:pt x="230" y="247"/>
                  <a:pt x="230" y="247"/>
                </a:cubicBezTo>
                <a:cubicBezTo>
                  <a:pt x="231" y="247"/>
                  <a:pt x="231" y="248"/>
                  <a:pt x="232" y="249"/>
                </a:cubicBezTo>
                <a:cubicBezTo>
                  <a:pt x="241" y="249"/>
                  <a:pt x="241" y="249"/>
                  <a:pt x="241" y="249"/>
                </a:cubicBezTo>
                <a:cubicBezTo>
                  <a:pt x="242" y="249"/>
                  <a:pt x="243" y="250"/>
                  <a:pt x="243" y="251"/>
                </a:cubicBezTo>
                <a:cubicBezTo>
                  <a:pt x="244" y="257"/>
                  <a:pt x="244" y="257"/>
                  <a:pt x="244" y="257"/>
                </a:cubicBezTo>
                <a:cubicBezTo>
                  <a:pt x="244" y="258"/>
                  <a:pt x="244" y="259"/>
                  <a:pt x="243" y="260"/>
                </a:cubicBezTo>
                <a:cubicBezTo>
                  <a:pt x="234" y="263"/>
                  <a:pt x="234" y="263"/>
                  <a:pt x="234" y="263"/>
                </a:cubicBezTo>
                <a:cubicBezTo>
                  <a:pt x="234" y="264"/>
                  <a:pt x="234" y="265"/>
                  <a:pt x="234" y="266"/>
                </a:cubicBezTo>
                <a:cubicBezTo>
                  <a:pt x="241" y="272"/>
                  <a:pt x="241" y="272"/>
                  <a:pt x="241" y="272"/>
                </a:cubicBezTo>
                <a:cubicBezTo>
                  <a:pt x="241" y="272"/>
                  <a:pt x="242" y="273"/>
                  <a:pt x="241" y="274"/>
                </a:cubicBezTo>
                <a:cubicBezTo>
                  <a:pt x="238" y="280"/>
                  <a:pt x="238" y="280"/>
                  <a:pt x="238" y="280"/>
                </a:cubicBezTo>
                <a:cubicBezTo>
                  <a:pt x="238" y="281"/>
                  <a:pt x="237" y="281"/>
                  <a:pt x="235" y="281"/>
                </a:cubicBezTo>
                <a:cubicBezTo>
                  <a:pt x="227" y="278"/>
                  <a:pt x="227" y="278"/>
                  <a:pt x="227" y="278"/>
                </a:cubicBezTo>
                <a:cubicBezTo>
                  <a:pt x="226" y="279"/>
                  <a:pt x="226" y="279"/>
                  <a:pt x="226" y="280"/>
                </a:cubicBezTo>
                <a:cubicBezTo>
                  <a:pt x="227" y="288"/>
                  <a:pt x="227" y="288"/>
                  <a:pt x="227" y="288"/>
                </a:cubicBezTo>
                <a:cubicBezTo>
                  <a:pt x="228" y="289"/>
                  <a:pt x="227" y="291"/>
                  <a:pt x="226" y="291"/>
                </a:cubicBezTo>
                <a:cubicBezTo>
                  <a:pt x="220" y="293"/>
                  <a:pt x="220" y="293"/>
                  <a:pt x="220" y="293"/>
                </a:cubicBezTo>
                <a:cubicBezTo>
                  <a:pt x="219" y="294"/>
                  <a:pt x="218" y="293"/>
                  <a:pt x="218" y="293"/>
                </a:cubicBezTo>
                <a:cubicBezTo>
                  <a:pt x="212" y="285"/>
                  <a:pt x="212" y="285"/>
                  <a:pt x="212" y="285"/>
                </a:cubicBezTo>
                <a:cubicBezTo>
                  <a:pt x="211" y="285"/>
                  <a:pt x="210" y="285"/>
                  <a:pt x="210" y="285"/>
                </a:cubicBezTo>
                <a:cubicBezTo>
                  <a:pt x="209" y="285"/>
                  <a:pt x="209" y="285"/>
                  <a:pt x="209" y="285"/>
                </a:cubicBezTo>
                <a:cubicBezTo>
                  <a:pt x="205" y="293"/>
                  <a:pt x="205" y="293"/>
                  <a:pt x="205" y="293"/>
                </a:cubicBezTo>
                <a:cubicBezTo>
                  <a:pt x="204" y="294"/>
                  <a:pt x="203" y="295"/>
                  <a:pt x="202" y="294"/>
                </a:cubicBezTo>
                <a:cubicBezTo>
                  <a:pt x="196" y="292"/>
                  <a:pt x="196" y="292"/>
                  <a:pt x="196" y="292"/>
                </a:cubicBezTo>
                <a:cubicBezTo>
                  <a:pt x="195" y="292"/>
                  <a:pt x="195" y="291"/>
                  <a:pt x="195" y="290"/>
                </a:cubicBezTo>
                <a:cubicBezTo>
                  <a:pt x="195" y="281"/>
                  <a:pt x="195" y="281"/>
                  <a:pt x="195" y="281"/>
                </a:cubicBezTo>
                <a:cubicBezTo>
                  <a:pt x="195" y="280"/>
                  <a:pt x="194" y="280"/>
                  <a:pt x="193" y="279"/>
                </a:cubicBezTo>
                <a:cubicBezTo>
                  <a:pt x="184" y="282"/>
                  <a:pt x="184" y="282"/>
                  <a:pt x="184" y="282"/>
                </a:cubicBezTo>
                <a:cubicBezTo>
                  <a:pt x="184" y="283"/>
                  <a:pt x="182" y="282"/>
                  <a:pt x="182" y="281"/>
                </a:cubicBezTo>
                <a:cubicBezTo>
                  <a:pt x="178" y="276"/>
                  <a:pt x="178" y="276"/>
                  <a:pt x="178" y="276"/>
                </a:cubicBezTo>
                <a:cubicBezTo>
                  <a:pt x="178" y="275"/>
                  <a:pt x="178" y="274"/>
                  <a:pt x="179" y="273"/>
                </a:cubicBezTo>
                <a:cubicBezTo>
                  <a:pt x="185" y="267"/>
                  <a:pt x="185" y="267"/>
                  <a:pt x="185" y="267"/>
                </a:cubicBezTo>
                <a:cubicBezTo>
                  <a:pt x="185" y="266"/>
                  <a:pt x="185" y="264"/>
                  <a:pt x="185" y="263"/>
                </a:cubicBezTo>
                <a:cubicBezTo>
                  <a:pt x="176" y="260"/>
                  <a:pt x="176" y="260"/>
                  <a:pt x="176" y="260"/>
                </a:cubicBezTo>
                <a:cubicBezTo>
                  <a:pt x="175" y="259"/>
                  <a:pt x="175" y="258"/>
                  <a:pt x="175" y="257"/>
                </a:cubicBezTo>
                <a:cubicBezTo>
                  <a:pt x="176" y="251"/>
                  <a:pt x="176" y="251"/>
                  <a:pt x="176" y="251"/>
                </a:cubicBezTo>
                <a:cubicBezTo>
                  <a:pt x="176" y="250"/>
                  <a:pt x="177" y="249"/>
                  <a:pt x="178" y="249"/>
                </a:cubicBezTo>
                <a:cubicBezTo>
                  <a:pt x="187" y="249"/>
                  <a:pt x="187" y="249"/>
                  <a:pt x="187" y="249"/>
                </a:cubicBezTo>
                <a:cubicBezTo>
                  <a:pt x="187" y="248"/>
                  <a:pt x="188" y="247"/>
                  <a:pt x="188" y="247"/>
                </a:cubicBezTo>
                <a:cubicBezTo>
                  <a:pt x="184" y="239"/>
                  <a:pt x="184" y="239"/>
                  <a:pt x="184" y="239"/>
                </a:cubicBezTo>
                <a:cubicBezTo>
                  <a:pt x="184" y="238"/>
                  <a:pt x="184" y="236"/>
                  <a:pt x="185" y="236"/>
                </a:cubicBezTo>
                <a:cubicBezTo>
                  <a:pt x="189" y="232"/>
                  <a:pt x="189" y="232"/>
                  <a:pt x="189" y="232"/>
                </a:cubicBezTo>
                <a:cubicBezTo>
                  <a:pt x="190" y="231"/>
                  <a:pt x="191" y="231"/>
                  <a:pt x="192" y="232"/>
                </a:cubicBezTo>
                <a:cubicBezTo>
                  <a:pt x="199" y="237"/>
                  <a:pt x="199" y="237"/>
                  <a:pt x="199" y="237"/>
                </a:cubicBezTo>
                <a:cubicBezTo>
                  <a:pt x="200" y="237"/>
                  <a:pt x="201" y="236"/>
                  <a:pt x="202" y="236"/>
                </a:cubicBezTo>
                <a:cubicBezTo>
                  <a:pt x="204" y="227"/>
                  <a:pt x="204" y="227"/>
                  <a:pt x="204" y="227"/>
                </a:cubicBezTo>
                <a:cubicBezTo>
                  <a:pt x="204" y="226"/>
                  <a:pt x="205" y="225"/>
                  <a:pt x="206" y="225"/>
                </a:cubicBezTo>
                <a:cubicBezTo>
                  <a:pt x="213" y="225"/>
                  <a:pt x="213" y="225"/>
                  <a:pt x="213" y="225"/>
                </a:cubicBezTo>
                <a:cubicBezTo>
                  <a:pt x="214" y="225"/>
                  <a:pt x="215" y="226"/>
                  <a:pt x="215" y="227"/>
                </a:cubicBezTo>
                <a:cubicBezTo>
                  <a:pt x="217" y="236"/>
                  <a:pt x="217" y="236"/>
                  <a:pt x="217" y="236"/>
                </a:cubicBezTo>
                <a:cubicBezTo>
                  <a:pt x="218" y="236"/>
                  <a:pt x="218" y="237"/>
                  <a:pt x="219" y="237"/>
                </a:cubicBezTo>
                <a:cubicBezTo>
                  <a:pt x="226" y="232"/>
                  <a:pt x="226" y="232"/>
                  <a:pt x="226" y="232"/>
                </a:cubicBezTo>
                <a:cubicBezTo>
                  <a:pt x="227" y="231"/>
                  <a:pt x="229" y="231"/>
                  <a:pt x="229" y="232"/>
                </a:cubicBezTo>
                <a:cubicBezTo>
                  <a:pt x="234" y="236"/>
                  <a:pt x="234" y="236"/>
                  <a:pt x="234" y="236"/>
                </a:cubicBezTo>
                <a:cubicBezTo>
                  <a:pt x="235" y="236"/>
                  <a:pt x="235" y="238"/>
                  <a:pt x="235" y="239"/>
                </a:cubicBezTo>
                <a:close/>
                <a:moveTo>
                  <a:pt x="223" y="260"/>
                </a:moveTo>
                <a:cubicBezTo>
                  <a:pt x="223" y="253"/>
                  <a:pt x="217" y="247"/>
                  <a:pt x="210" y="247"/>
                </a:cubicBezTo>
                <a:cubicBezTo>
                  <a:pt x="202" y="247"/>
                  <a:pt x="196" y="253"/>
                  <a:pt x="196" y="260"/>
                </a:cubicBezTo>
                <a:cubicBezTo>
                  <a:pt x="196" y="268"/>
                  <a:pt x="202" y="273"/>
                  <a:pt x="210" y="273"/>
                </a:cubicBezTo>
                <a:cubicBezTo>
                  <a:pt x="217" y="273"/>
                  <a:pt x="223" y="268"/>
                  <a:pt x="223" y="260"/>
                </a:cubicBezTo>
                <a:close/>
                <a:moveTo>
                  <a:pt x="457" y="599"/>
                </a:moveTo>
                <a:cubicBezTo>
                  <a:pt x="454" y="599"/>
                  <a:pt x="451" y="602"/>
                  <a:pt x="451" y="605"/>
                </a:cubicBezTo>
                <a:cubicBezTo>
                  <a:pt x="451" y="608"/>
                  <a:pt x="454" y="610"/>
                  <a:pt x="457" y="610"/>
                </a:cubicBezTo>
                <a:cubicBezTo>
                  <a:pt x="460" y="610"/>
                  <a:pt x="463" y="608"/>
                  <a:pt x="463" y="605"/>
                </a:cubicBezTo>
                <a:cubicBezTo>
                  <a:pt x="463" y="602"/>
                  <a:pt x="460" y="599"/>
                  <a:pt x="457" y="599"/>
                </a:cubicBezTo>
                <a:close/>
                <a:moveTo>
                  <a:pt x="482" y="583"/>
                </a:moveTo>
                <a:cubicBezTo>
                  <a:pt x="478" y="591"/>
                  <a:pt x="478" y="591"/>
                  <a:pt x="478" y="591"/>
                </a:cubicBezTo>
                <a:cubicBezTo>
                  <a:pt x="478" y="592"/>
                  <a:pt x="479" y="592"/>
                  <a:pt x="479" y="593"/>
                </a:cubicBezTo>
                <a:cubicBezTo>
                  <a:pt x="488" y="593"/>
                  <a:pt x="488" y="593"/>
                  <a:pt x="488" y="593"/>
                </a:cubicBezTo>
                <a:cubicBezTo>
                  <a:pt x="489" y="593"/>
                  <a:pt x="490" y="594"/>
                  <a:pt x="491" y="595"/>
                </a:cubicBezTo>
                <a:cubicBezTo>
                  <a:pt x="492" y="601"/>
                  <a:pt x="492" y="601"/>
                  <a:pt x="492" y="601"/>
                </a:cubicBezTo>
                <a:cubicBezTo>
                  <a:pt x="492" y="602"/>
                  <a:pt x="491" y="604"/>
                  <a:pt x="490" y="604"/>
                </a:cubicBezTo>
                <a:cubicBezTo>
                  <a:pt x="482" y="607"/>
                  <a:pt x="482" y="607"/>
                  <a:pt x="482" y="607"/>
                </a:cubicBezTo>
                <a:cubicBezTo>
                  <a:pt x="482" y="608"/>
                  <a:pt x="482" y="609"/>
                  <a:pt x="481" y="610"/>
                </a:cubicBezTo>
                <a:cubicBezTo>
                  <a:pt x="488" y="616"/>
                  <a:pt x="488" y="616"/>
                  <a:pt x="488" y="616"/>
                </a:cubicBezTo>
                <a:cubicBezTo>
                  <a:pt x="489" y="617"/>
                  <a:pt x="489" y="618"/>
                  <a:pt x="489" y="619"/>
                </a:cubicBezTo>
                <a:cubicBezTo>
                  <a:pt x="486" y="624"/>
                  <a:pt x="486" y="624"/>
                  <a:pt x="486" y="624"/>
                </a:cubicBezTo>
                <a:cubicBezTo>
                  <a:pt x="485" y="625"/>
                  <a:pt x="484" y="626"/>
                  <a:pt x="483" y="626"/>
                </a:cubicBezTo>
                <a:cubicBezTo>
                  <a:pt x="474" y="623"/>
                  <a:pt x="474" y="623"/>
                  <a:pt x="474" y="623"/>
                </a:cubicBezTo>
                <a:cubicBezTo>
                  <a:pt x="474" y="623"/>
                  <a:pt x="474" y="623"/>
                  <a:pt x="473" y="624"/>
                </a:cubicBezTo>
                <a:cubicBezTo>
                  <a:pt x="475" y="633"/>
                  <a:pt x="475" y="633"/>
                  <a:pt x="475" y="633"/>
                </a:cubicBezTo>
                <a:cubicBezTo>
                  <a:pt x="475" y="634"/>
                  <a:pt x="475" y="635"/>
                  <a:pt x="474" y="635"/>
                </a:cubicBezTo>
                <a:cubicBezTo>
                  <a:pt x="468" y="638"/>
                  <a:pt x="468" y="638"/>
                  <a:pt x="468" y="638"/>
                </a:cubicBezTo>
                <a:cubicBezTo>
                  <a:pt x="467" y="638"/>
                  <a:pt x="466" y="638"/>
                  <a:pt x="465" y="637"/>
                </a:cubicBezTo>
                <a:cubicBezTo>
                  <a:pt x="460" y="630"/>
                  <a:pt x="460" y="630"/>
                  <a:pt x="460" y="630"/>
                </a:cubicBezTo>
                <a:cubicBezTo>
                  <a:pt x="459" y="630"/>
                  <a:pt x="458" y="630"/>
                  <a:pt x="457" y="630"/>
                </a:cubicBezTo>
                <a:cubicBezTo>
                  <a:pt x="457" y="630"/>
                  <a:pt x="457" y="630"/>
                  <a:pt x="457" y="630"/>
                </a:cubicBezTo>
                <a:cubicBezTo>
                  <a:pt x="453" y="638"/>
                  <a:pt x="453" y="638"/>
                  <a:pt x="453" y="638"/>
                </a:cubicBezTo>
                <a:cubicBezTo>
                  <a:pt x="452" y="639"/>
                  <a:pt x="451" y="639"/>
                  <a:pt x="450" y="639"/>
                </a:cubicBezTo>
                <a:cubicBezTo>
                  <a:pt x="444" y="637"/>
                  <a:pt x="444" y="637"/>
                  <a:pt x="444" y="637"/>
                </a:cubicBezTo>
                <a:cubicBezTo>
                  <a:pt x="443" y="637"/>
                  <a:pt x="442" y="636"/>
                  <a:pt x="442" y="634"/>
                </a:cubicBezTo>
                <a:cubicBezTo>
                  <a:pt x="443" y="626"/>
                  <a:pt x="443" y="626"/>
                  <a:pt x="443" y="626"/>
                </a:cubicBezTo>
                <a:cubicBezTo>
                  <a:pt x="442" y="625"/>
                  <a:pt x="442" y="624"/>
                  <a:pt x="441" y="624"/>
                </a:cubicBezTo>
                <a:cubicBezTo>
                  <a:pt x="432" y="627"/>
                  <a:pt x="432" y="627"/>
                  <a:pt x="432" y="627"/>
                </a:cubicBezTo>
                <a:cubicBezTo>
                  <a:pt x="431" y="627"/>
                  <a:pt x="430" y="627"/>
                  <a:pt x="429" y="626"/>
                </a:cubicBezTo>
                <a:cubicBezTo>
                  <a:pt x="426" y="621"/>
                  <a:pt x="426" y="621"/>
                  <a:pt x="426" y="621"/>
                </a:cubicBezTo>
                <a:cubicBezTo>
                  <a:pt x="426" y="620"/>
                  <a:pt x="426" y="618"/>
                  <a:pt x="426" y="618"/>
                </a:cubicBezTo>
                <a:cubicBezTo>
                  <a:pt x="433" y="611"/>
                  <a:pt x="433" y="611"/>
                  <a:pt x="433" y="611"/>
                </a:cubicBezTo>
                <a:cubicBezTo>
                  <a:pt x="433" y="610"/>
                  <a:pt x="432" y="609"/>
                  <a:pt x="432" y="607"/>
                </a:cubicBezTo>
                <a:cubicBezTo>
                  <a:pt x="424" y="604"/>
                  <a:pt x="424" y="604"/>
                  <a:pt x="424" y="604"/>
                </a:cubicBezTo>
                <a:cubicBezTo>
                  <a:pt x="423" y="604"/>
                  <a:pt x="422" y="602"/>
                  <a:pt x="423" y="602"/>
                </a:cubicBezTo>
                <a:cubicBezTo>
                  <a:pt x="423" y="595"/>
                  <a:pt x="423" y="595"/>
                  <a:pt x="423" y="595"/>
                </a:cubicBezTo>
                <a:cubicBezTo>
                  <a:pt x="424" y="594"/>
                  <a:pt x="425" y="593"/>
                  <a:pt x="426" y="593"/>
                </a:cubicBezTo>
                <a:cubicBezTo>
                  <a:pt x="435" y="593"/>
                  <a:pt x="435" y="593"/>
                  <a:pt x="435" y="593"/>
                </a:cubicBezTo>
                <a:cubicBezTo>
                  <a:pt x="435" y="592"/>
                  <a:pt x="436" y="592"/>
                  <a:pt x="436" y="591"/>
                </a:cubicBezTo>
                <a:cubicBezTo>
                  <a:pt x="432" y="583"/>
                  <a:pt x="432" y="583"/>
                  <a:pt x="432" y="583"/>
                </a:cubicBezTo>
                <a:cubicBezTo>
                  <a:pt x="431" y="582"/>
                  <a:pt x="431" y="581"/>
                  <a:pt x="432" y="580"/>
                </a:cubicBezTo>
                <a:cubicBezTo>
                  <a:pt x="437" y="576"/>
                  <a:pt x="437" y="576"/>
                  <a:pt x="437" y="576"/>
                </a:cubicBezTo>
                <a:cubicBezTo>
                  <a:pt x="438" y="575"/>
                  <a:pt x="439" y="575"/>
                  <a:pt x="440" y="576"/>
                </a:cubicBezTo>
                <a:cubicBezTo>
                  <a:pt x="447" y="582"/>
                  <a:pt x="447" y="582"/>
                  <a:pt x="447" y="582"/>
                </a:cubicBezTo>
                <a:cubicBezTo>
                  <a:pt x="448" y="581"/>
                  <a:pt x="449" y="581"/>
                  <a:pt x="450" y="581"/>
                </a:cubicBezTo>
                <a:cubicBezTo>
                  <a:pt x="452" y="572"/>
                  <a:pt x="452" y="572"/>
                  <a:pt x="452" y="572"/>
                </a:cubicBezTo>
                <a:cubicBezTo>
                  <a:pt x="452" y="571"/>
                  <a:pt x="453" y="570"/>
                  <a:pt x="454" y="570"/>
                </a:cubicBezTo>
                <a:cubicBezTo>
                  <a:pt x="460" y="570"/>
                  <a:pt x="460" y="570"/>
                  <a:pt x="460" y="570"/>
                </a:cubicBezTo>
                <a:cubicBezTo>
                  <a:pt x="461" y="570"/>
                  <a:pt x="462" y="571"/>
                  <a:pt x="462" y="572"/>
                </a:cubicBezTo>
                <a:cubicBezTo>
                  <a:pt x="464" y="581"/>
                  <a:pt x="464" y="581"/>
                  <a:pt x="464" y="581"/>
                </a:cubicBezTo>
                <a:cubicBezTo>
                  <a:pt x="465" y="581"/>
                  <a:pt x="466" y="581"/>
                  <a:pt x="467" y="582"/>
                </a:cubicBezTo>
                <a:cubicBezTo>
                  <a:pt x="474" y="576"/>
                  <a:pt x="474" y="576"/>
                  <a:pt x="474" y="576"/>
                </a:cubicBezTo>
                <a:cubicBezTo>
                  <a:pt x="475" y="575"/>
                  <a:pt x="476" y="575"/>
                  <a:pt x="477" y="576"/>
                </a:cubicBezTo>
                <a:cubicBezTo>
                  <a:pt x="482" y="580"/>
                  <a:pt x="482" y="580"/>
                  <a:pt x="482" y="580"/>
                </a:cubicBezTo>
                <a:cubicBezTo>
                  <a:pt x="483" y="581"/>
                  <a:pt x="483" y="582"/>
                  <a:pt x="482" y="583"/>
                </a:cubicBezTo>
                <a:close/>
                <a:moveTo>
                  <a:pt x="470" y="605"/>
                </a:moveTo>
                <a:cubicBezTo>
                  <a:pt x="470" y="597"/>
                  <a:pt x="464" y="591"/>
                  <a:pt x="457" y="591"/>
                </a:cubicBezTo>
                <a:cubicBezTo>
                  <a:pt x="450" y="591"/>
                  <a:pt x="444" y="597"/>
                  <a:pt x="444" y="605"/>
                </a:cubicBezTo>
                <a:cubicBezTo>
                  <a:pt x="444" y="612"/>
                  <a:pt x="450" y="618"/>
                  <a:pt x="457" y="618"/>
                </a:cubicBezTo>
                <a:cubicBezTo>
                  <a:pt x="464" y="618"/>
                  <a:pt x="470" y="612"/>
                  <a:pt x="470" y="605"/>
                </a:cubicBezTo>
                <a:close/>
                <a:moveTo>
                  <a:pt x="528" y="610"/>
                </a:moveTo>
                <a:cubicBezTo>
                  <a:pt x="531" y="610"/>
                  <a:pt x="534" y="608"/>
                  <a:pt x="534" y="605"/>
                </a:cubicBezTo>
                <a:cubicBezTo>
                  <a:pt x="534" y="602"/>
                  <a:pt x="531" y="599"/>
                  <a:pt x="528" y="599"/>
                </a:cubicBezTo>
                <a:cubicBezTo>
                  <a:pt x="525" y="599"/>
                  <a:pt x="522" y="602"/>
                  <a:pt x="522" y="605"/>
                </a:cubicBezTo>
                <a:cubicBezTo>
                  <a:pt x="522" y="608"/>
                  <a:pt x="525" y="610"/>
                  <a:pt x="528" y="610"/>
                </a:cubicBezTo>
                <a:close/>
                <a:moveTo>
                  <a:pt x="163" y="224"/>
                </a:moveTo>
                <a:cubicBezTo>
                  <a:pt x="164" y="225"/>
                  <a:pt x="165" y="225"/>
                  <a:pt x="166" y="225"/>
                </a:cubicBezTo>
                <a:cubicBezTo>
                  <a:pt x="167" y="226"/>
                  <a:pt x="168" y="225"/>
                  <a:pt x="169" y="224"/>
                </a:cubicBezTo>
                <a:cubicBezTo>
                  <a:pt x="169" y="224"/>
                  <a:pt x="169" y="224"/>
                  <a:pt x="173" y="216"/>
                </a:cubicBezTo>
                <a:cubicBezTo>
                  <a:pt x="173" y="216"/>
                  <a:pt x="173" y="216"/>
                  <a:pt x="174" y="216"/>
                </a:cubicBezTo>
                <a:cubicBezTo>
                  <a:pt x="174" y="216"/>
                  <a:pt x="175" y="216"/>
                  <a:pt x="176" y="216"/>
                </a:cubicBezTo>
                <a:cubicBezTo>
                  <a:pt x="176" y="216"/>
                  <a:pt x="176" y="216"/>
                  <a:pt x="182" y="224"/>
                </a:cubicBezTo>
                <a:cubicBezTo>
                  <a:pt x="182" y="224"/>
                  <a:pt x="183" y="225"/>
                  <a:pt x="184" y="224"/>
                </a:cubicBezTo>
                <a:cubicBezTo>
                  <a:pt x="184" y="224"/>
                  <a:pt x="184" y="224"/>
                  <a:pt x="190" y="222"/>
                </a:cubicBezTo>
                <a:cubicBezTo>
                  <a:pt x="191" y="222"/>
                  <a:pt x="192" y="220"/>
                  <a:pt x="191" y="220"/>
                </a:cubicBezTo>
                <a:cubicBezTo>
                  <a:pt x="191" y="220"/>
                  <a:pt x="191" y="220"/>
                  <a:pt x="190" y="211"/>
                </a:cubicBezTo>
                <a:cubicBezTo>
                  <a:pt x="190" y="210"/>
                  <a:pt x="190" y="210"/>
                  <a:pt x="191" y="209"/>
                </a:cubicBezTo>
                <a:cubicBezTo>
                  <a:pt x="191" y="209"/>
                  <a:pt x="191" y="209"/>
                  <a:pt x="199" y="212"/>
                </a:cubicBezTo>
                <a:cubicBezTo>
                  <a:pt x="201" y="212"/>
                  <a:pt x="202" y="212"/>
                  <a:pt x="202" y="211"/>
                </a:cubicBezTo>
                <a:cubicBezTo>
                  <a:pt x="202" y="211"/>
                  <a:pt x="202" y="211"/>
                  <a:pt x="205" y="205"/>
                </a:cubicBezTo>
                <a:cubicBezTo>
                  <a:pt x="206" y="204"/>
                  <a:pt x="205" y="203"/>
                  <a:pt x="205" y="203"/>
                </a:cubicBezTo>
                <a:cubicBezTo>
                  <a:pt x="205" y="203"/>
                  <a:pt x="205" y="203"/>
                  <a:pt x="198" y="197"/>
                </a:cubicBezTo>
                <a:cubicBezTo>
                  <a:pt x="198" y="196"/>
                  <a:pt x="198" y="195"/>
                  <a:pt x="198" y="194"/>
                </a:cubicBezTo>
                <a:cubicBezTo>
                  <a:pt x="198" y="194"/>
                  <a:pt x="198" y="194"/>
                  <a:pt x="207" y="191"/>
                </a:cubicBezTo>
                <a:cubicBezTo>
                  <a:pt x="208" y="190"/>
                  <a:pt x="208" y="189"/>
                  <a:pt x="208" y="188"/>
                </a:cubicBezTo>
                <a:cubicBezTo>
                  <a:pt x="207" y="182"/>
                  <a:pt x="207" y="182"/>
                  <a:pt x="207" y="182"/>
                </a:cubicBezTo>
                <a:cubicBezTo>
                  <a:pt x="207" y="181"/>
                  <a:pt x="206" y="181"/>
                  <a:pt x="206" y="180"/>
                </a:cubicBezTo>
                <a:cubicBezTo>
                  <a:pt x="191" y="194"/>
                  <a:pt x="177" y="209"/>
                  <a:pt x="163" y="224"/>
                </a:cubicBezTo>
                <a:close/>
                <a:moveTo>
                  <a:pt x="364" y="455"/>
                </a:moveTo>
                <a:cubicBezTo>
                  <a:pt x="364" y="455"/>
                  <a:pt x="365" y="454"/>
                  <a:pt x="365" y="453"/>
                </a:cubicBezTo>
                <a:cubicBezTo>
                  <a:pt x="361" y="445"/>
                  <a:pt x="361" y="445"/>
                  <a:pt x="361" y="445"/>
                </a:cubicBezTo>
                <a:cubicBezTo>
                  <a:pt x="360" y="444"/>
                  <a:pt x="361" y="443"/>
                  <a:pt x="361" y="442"/>
                </a:cubicBezTo>
                <a:cubicBezTo>
                  <a:pt x="366" y="438"/>
                  <a:pt x="366" y="438"/>
                  <a:pt x="366" y="438"/>
                </a:cubicBezTo>
                <a:cubicBezTo>
                  <a:pt x="367" y="438"/>
                  <a:pt x="368" y="438"/>
                  <a:pt x="369" y="438"/>
                </a:cubicBezTo>
                <a:cubicBezTo>
                  <a:pt x="376" y="444"/>
                  <a:pt x="376" y="444"/>
                  <a:pt x="376" y="444"/>
                </a:cubicBezTo>
                <a:cubicBezTo>
                  <a:pt x="377" y="443"/>
                  <a:pt x="378" y="443"/>
                  <a:pt x="379" y="443"/>
                </a:cubicBezTo>
                <a:cubicBezTo>
                  <a:pt x="381" y="434"/>
                  <a:pt x="381" y="434"/>
                  <a:pt x="381" y="434"/>
                </a:cubicBezTo>
                <a:cubicBezTo>
                  <a:pt x="381" y="433"/>
                  <a:pt x="382" y="432"/>
                  <a:pt x="383" y="432"/>
                </a:cubicBezTo>
                <a:cubicBezTo>
                  <a:pt x="389" y="432"/>
                  <a:pt x="389" y="432"/>
                  <a:pt x="389" y="432"/>
                </a:cubicBezTo>
                <a:cubicBezTo>
                  <a:pt x="390" y="432"/>
                  <a:pt x="391" y="433"/>
                  <a:pt x="391" y="434"/>
                </a:cubicBezTo>
                <a:cubicBezTo>
                  <a:pt x="393" y="443"/>
                  <a:pt x="393" y="443"/>
                  <a:pt x="393" y="443"/>
                </a:cubicBezTo>
                <a:cubicBezTo>
                  <a:pt x="394" y="443"/>
                  <a:pt x="395" y="443"/>
                  <a:pt x="396" y="444"/>
                </a:cubicBezTo>
                <a:cubicBezTo>
                  <a:pt x="403" y="438"/>
                  <a:pt x="403" y="438"/>
                  <a:pt x="403" y="438"/>
                </a:cubicBezTo>
                <a:cubicBezTo>
                  <a:pt x="404" y="438"/>
                  <a:pt x="405" y="438"/>
                  <a:pt x="406" y="438"/>
                </a:cubicBezTo>
                <a:cubicBezTo>
                  <a:pt x="411" y="442"/>
                  <a:pt x="411" y="442"/>
                  <a:pt x="411" y="442"/>
                </a:cubicBezTo>
                <a:cubicBezTo>
                  <a:pt x="412" y="443"/>
                  <a:pt x="412" y="444"/>
                  <a:pt x="411" y="445"/>
                </a:cubicBezTo>
                <a:cubicBezTo>
                  <a:pt x="407" y="453"/>
                  <a:pt x="407" y="453"/>
                  <a:pt x="407" y="453"/>
                </a:cubicBezTo>
                <a:cubicBezTo>
                  <a:pt x="407" y="454"/>
                  <a:pt x="408" y="455"/>
                  <a:pt x="408" y="455"/>
                </a:cubicBezTo>
                <a:cubicBezTo>
                  <a:pt x="418" y="455"/>
                  <a:pt x="418" y="455"/>
                  <a:pt x="418" y="455"/>
                </a:cubicBezTo>
                <a:cubicBezTo>
                  <a:pt x="418" y="455"/>
                  <a:pt x="419" y="456"/>
                  <a:pt x="420" y="458"/>
                </a:cubicBezTo>
                <a:cubicBezTo>
                  <a:pt x="421" y="463"/>
                  <a:pt x="421" y="463"/>
                  <a:pt x="421" y="463"/>
                </a:cubicBezTo>
                <a:cubicBezTo>
                  <a:pt x="421" y="465"/>
                  <a:pt x="420" y="466"/>
                  <a:pt x="419" y="466"/>
                </a:cubicBezTo>
                <a:cubicBezTo>
                  <a:pt x="411" y="470"/>
                  <a:pt x="411" y="470"/>
                  <a:pt x="411" y="470"/>
                </a:cubicBezTo>
                <a:cubicBezTo>
                  <a:pt x="411" y="471"/>
                  <a:pt x="411" y="471"/>
                  <a:pt x="410" y="472"/>
                </a:cubicBezTo>
                <a:cubicBezTo>
                  <a:pt x="418" y="478"/>
                  <a:pt x="418" y="478"/>
                  <a:pt x="418" y="478"/>
                </a:cubicBezTo>
                <a:cubicBezTo>
                  <a:pt x="418" y="479"/>
                  <a:pt x="418" y="480"/>
                  <a:pt x="418" y="481"/>
                </a:cubicBezTo>
                <a:cubicBezTo>
                  <a:pt x="415" y="487"/>
                  <a:pt x="415" y="487"/>
                  <a:pt x="415" y="487"/>
                </a:cubicBezTo>
                <a:cubicBezTo>
                  <a:pt x="414" y="487"/>
                  <a:pt x="413" y="488"/>
                  <a:pt x="412" y="488"/>
                </a:cubicBezTo>
                <a:cubicBezTo>
                  <a:pt x="403" y="485"/>
                  <a:pt x="403" y="485"/>
                  <a:pt x="403" y="485"/>
                </a:cubicBezTo>
                <a:cubicBezTo>
                  <a:pt x="403" y="485"/>
                  <a:pt x="403" y="486"/>
                  <a:pt x="402" y="486"/>
                </a:cubicBezTo>
                <a:cubicBezTo>
                  <a:pt x="404" y="495"/>
                  <a:pt x="404" y="495"/>
                  <a:pt x="404" y="495"/>
                </a:cubicBezTo>
                <a:cubicBezTo>
                  <a:pt x="404" y="496"/>
                  <a:pt x="404" y="497"/>
                  <a:pt x="403" y="498"/>
                </a:cubicBezTo>
                <a:cubicBezTo>
                  <a:pt x="397" y="500"/>
                  <a:pt x="397" y="500"/>
                  <a:pt x="397" y="500"/>
                </a:cubicBezTo>
                <a:cubicBezTo>
                  <a:pt x="396" y="501"/>
                  <a:pt x="395" y="500"/>
                  <a:pt x="394" y="499"/>
                </a:cubicBezTo>
                <a:cubicBezTo>
                  <a:pt x="389" y="492"/>
                  <a:pt x="389" y="492"/>
                  <a:pt x="389" y="492"/>
                </a:cubicBezTo>
                <a:cubicBezTo>
                  <a:pt x="388" y="492"/>
                  <a:pt x="387" y="492"/>
                  <a:pt x="386" y="492"/>
                </a:cubicBezTo>
                <a:cubicBezTo>
                  <a:pt x="386" y="492"/>
                  <a:pt x="386" y="492"/>
                  <a:pt x="386" y="492"/>
                </a:cubicBezTo>
                <a:cubicBezTo>
                  <a:pt x="382" y="500"/>
                  <a:pt x="382" y="500"/>
                  <a:pt x="382" y="500"/>
                </a:cubicBezTo>
                <a:cubicBezTo>
                  <a:pt x="381" y="501"/>
                  <a:pt x="380" y="501"/>
                  <a:pt x="379" y="501"/>
                </a:cubicBezTo>
                <a:cubicBezTo>
                  <a:pt x="373" y="499"/>
                  <a:pt x="373" y="499"/>
                  <a:pt x="373" y="499"/>
                </a:cubicBezTo>
                <a:cubicBezTo>
                  <a:pt x="372" y="499"/>
                  <a:pt x="371" y="498"/>
                  <a:pt x="371" y="497"/>
                </a:cubicBezTo>
                <a:cubicBezTo>
                  <a:pt x="372" y="488"/>
                  <a:pt x="372" y="488"/>
                  <a:pt x="372" y="488"/>
                </a:cubicBezTo>
                <a:cubicBezTo>
                  <a:pt x="371" y="487"/>
                  <a:pt x="371" y="487"/>
                  <a:pt x="370" y="486"/>
                </a:cubicBezTo>
                <a:cubicBezTo>
                  <a:pt x="361" y="489"/>
                  <a:pt x="361" y="489"/>
                  <a:pt x="361" y="489"/>
                </a:cubicBezTo>
                <a:cubicBezTo>
                  <a:pt x="360" y="489"/>
                  <a:pt x="359" y="489"/>
                  <a:pt x="358" y="488"/>
                </a:cubicBezTo>
                <a:cubicBezTo>
                  <a:pt x="355" y="483"/>
                  <a:pt x="355" y="483"/>
                  <a:pt x="355" y="483"/>
                </a:cubicBezTo>
                <a:cubicBezTo>
                  <a:pt x="355" y="482"/>
                  <a:pt x="355" y="481"/>
                  <a:pt x="356" y="480"/>
                </a:cubicBezTo>
                <a:cubicBezTo>
                  <a:pt x="362" y="474"/>
                  <a:pt x="362" y="474"/>
                  <a:pt x="362" y="474"/>
                </a:cubicBezTo>
                <a:cubicBezTo>
                  <a:pt x="362" y="472"/>
                  <a:pt x="361" y="471"/>
                  <a:pt x="361" y="470"/>
                </a:cubicBezTo>
                <a:cubicBezTo>
                  <a:pt x="353" y="466"/>
                  <a:pt x="353" y="466"/>
                  <a:pt x="353" y="466"/>
                </a:cubicBezTo>
                <a:cubicBezTo>
                  <a:pt x="352" y="466"/>
                  <a:pt x="351" y="465"/>
                  <a:pt x="352" y="464"/>
                </a:cubicBezTo>
                <a:cubicBezTo>
                  <a:pt x="353" y="458"/>
                  <a:pt x="353" y="458"/>
                  <a:pt x="353" y="458"/>
                </a:cubicBezTo>
                <a:cubicBezTo>
                  <a:pt x="353" y="456"/>
                  <a:pt x="354" y="455"/>
                  <a:pt x="355" y="455"/>
                </a:cubicBezTo>
                <a:cubicBezTo>
                  <a:pt x="364" y="455"/>
                  <a:pt x="364" y="455"/>
                  <a:pt x="364" y="455"/>
                </a:cubicBezTo>
                <a:close/>
                <a:moveTo>
                  <a:pt x="373" y="467"/>
                </a:moveTo>
                <a:cubicBezTo>
                  <a:pt x="373" y="474"/>
                  <a:pt x="379" y="480"/>
                  <a:pt x="386" y="480"/>
                </a:cubicBezTo>
                <a:cubicBezTo>
                  <a:pt x="393" y="480"/>
                  <a:pt x="399" y="474"/>
                  <a:pt x="399" y="467"/>
                </a:cubicBezTo>
                <a:cubicBezTo>
                  <a:pt x="399" y="459"/>
                  <a:pt x="393" y="454"/>
                  <a:pt x="386" y="454"/>
                </a:cubicBezTo>
                <a:cubicBezTo>
                  <a:pt x="379" y="454"/>
                  <a:pt x="373" y="459"/>
                  <a:pt x="373" y="467"/>
                </a:cubicBezTo>
                <a:close/>
                <a:moveTo>
                  <a:pt x="447" y="514"/>
                </a:moveTo>
                <a:cubicBezTo>
                  <a:pt x="443" y="522"/>
                  <a:pt x="443" y="522"/>
                  <a:pt x="443" y="522"/>
                </a:cubicBezTo>
                <a:cubicBezTo>
                  <a:pt x="443" y="523"/>
                  <a:pt x="444" y="523"/>
                  <a:pt x="444" y="524"/>
                </a:cubicBezTo>
                <a:cubicBezTo>
                  <a:pt x="454" y="524"/>
                  <a:pt x="454" y="524"/>
                  <a:pt x="454" y="524"/>
                </a:cubicBezTo>
                <a:cubicBezTo>
                  <a:pt x="454" y="524"/>
                  <a:pt x="455" y="525"/>
                  <a:pt x="456" y="527"/>
                </a:cubicBezTo>
                <a:cubicBezTo>
                  <a:pt x="457" y="532"/>
                  <a:pt x="457" y="532"/>
                  <a:pt x="457" y="532"/>
                </a:cubicBezTo>
                <a:cubicBezTo>
                  <a:pt x="457" y="534"/>
                  <a:pt x="456" y="535"/>
                  <a:pt x="455" y="535"/>
                </a:cubicBezTo>
                <a:cubicBezTo>
                  <a:pt x="447" y="539"/>
                  <a:pt x="447" y="539"/>
                  <a:pt x="447" y="539"/>
                </a:cubicBezTo>
                <a:cubicBezTo>
                  <a:pt x="447" y="539"/>
                  <a:pt x="447" y="540"/>
                  <a:pt x="446" y="541"/>
                </a:cubicBezTo>
                <a:cubicBezTo>
                  <a:pt x="454" y="547"/>
                  <a:pt x="454" y="547"/>
                  <a:pt x="454" y="547"/>
                </a:cubicBezTo>
                <a:cubicBezTo>
                  <a:pt x="454" y="548"/>
                  <a:pt x="454" y="549"/>
                  <a:pt x="454" y="550"/>
                </a:cubicBezTo>
                <a:cubicBezTo>
                  <a:pt x="451" y="555"/>
                  <a:pt x="451" y="555"/>
                  <a:pt x="451" y="555"/>
                </a:cubicBezTo>
                <a:cubicBezTo>
                  <a:pt x="450" y="556"/>
                  <a:pt x="449" y="557"/>
                  <a:pt x="448" y="557"/>
                </a:cubicBezTo>
                <a:cubicBezTo>
                  <a:pt x="439" y="554"/>
                  <a:pt x="439" y="554"/>
                  <a:pt x="439" y="554"/>
                </a:cubicBezTo>
                <a:cubicBezTo>
                  <a:pt x="439" y="554"/>
                  <a:pt x="439" y="555"/>
                  <a:pt x="438" y="555"/>
                </a:cubicBezTo>
                <a:cubicBezTo>
                  <a:pt x="440" y="564"/>
                  <a:pt x="440" y="564"/>
                  <a:pt x="440" y="564"/>
                </a:cubicBezTo>
                <a:cubicBezTo>
                  <a:pt x="440" y="565"/>
                  <a:pt x="440" y="566"/>
                  <a:pt x="439" y="566"/>
                </a:cubicBezTo>
                <a:cubicBezTo>
                  <a:pt x="433" y="569"/>
                  <a:pt x="433" y="569"/>
                  <a:pt x="433" y="569"/>
                </a:cubicBezTo>
                <a:cubicBezTo>
                  <a:pt x="432" y="570"/>
                  <a:pt x="431" y="569"/>
                  <a:pt x="430" y="568"/>
                </a:cubicBezTo>
                <a:cubicBezTo>
                  <a:pt x="425" y="561"/>
                  <a:pt x="425" y="561"/>
                  <a:pt x="425" y="561"/>
                </a:cubicBezTo>
                <a:cubicBezTo>
                  <a:pt x="424" y="561"/>
                  <a:pt x="423" y="561"/>
                  <a:pt x="422" y="561"/>
                </a:cubicBezTo>
                <a:cubicBezTo>
                  <a:pt x="422" y="561"/>
                  <a:pt x="422" y="561"/>
                  <a:pt x="422" y="561"/>
                </a:cubicBezTo>
                <a:cubicBezTo>
                  <a:pt x="418" y="569"/>
                  <a:pt x="418" y="569"/>
                  <a:pt x="418" y="569"/>
                </a:cubicBezTo>
                <a:cubicBezTo>
                  <a:pt x="417" y="570"/>
                  <a:pt x="416" y="570"/>
                  <a:pt x="415" y="570"/>
                </a:cubicBezTo>
                <a:cubicBezTo>
                  <a:pt x="409" y="568"/>
                  <a:pt x="409" y="568"/>
                  <a:pt x="409" y="568"/>
                </a:cubicBezTo>
                <a:cubicBezTo>
                  <a:pt x="408" y="568"/>
                  <a:pt x="407" y="567"/>
                  <a:pt x="407" y="566"/>
                </a:cubicBezTo>
                <a:cubicBezTo>
                  <a:pt x="408" y="557"/>
                  <a:pt x="408" y="557"/>
                  <a:pt x="408" y="557"/>
                </a:cubicBezTo>
                <a:cubicBezTo>
                  <a:pt x="407" y="556"/>
                  <a:pt x="407" y="555"/>
                  <a:pt x="406" y="555"/>
                </a:cubicBezTo>
                <a:cubicBezTo>
                  <a:pt x="397" y="558"/>
                  <a:pt x="397" y="558"/>
                  <a:pt x="397" y="558"/>
                </a:cubicBezTo>
                <a:cubicBezTo>
                  <a:pt x="396" y="558"/>
                  <a:pt x="395" y="558"/>
                  <a:pt x="394" y="557"/>
                </a:cubicBezTo>
                <a:cubicBezTo>
                  <a:pt x="391" y="552"/>
                  <a:pt x="391" y="552"/>
                  <a:pt x="391" y="552"/>
                </a:cubicBezTo>
                <a:cubicBezTo>
                  <a:pt x="391" y="551"/>
                  <a:pt x="391" y="550"/>
                  <a:pt x="392" y="549"/>
                </a:cubicBezTo>
                <a:cubicBezTo>
                  <a:pt x="398" y="542"/>
                  <a:pt x="398" y="543"/>
                  <a:pt x="398" y="543"/>
                </a:cubicBezTo>
                <a:cubicBezTo>
                  <a:pt x="398" y="541"/>
                  <a:pt x="397" y="540"/>
                  <a:pt x="397" y="539"/>
                </a:cubicBezTo>
                <a:cubicBezTo>
                  <a:pt x="389" y="535"/>
                  <a:pt x="389" y="535"/>
                  <a:pt x="389" y="535"/>
                </a:cubicBezTo>
                <a:cubicBezTo>
                  <a:pt x="388" y="535"/>
                  <a:pt x="387" y="534"/>
                  <a:pt x="388" y="533"/>
                </a:cubicBezTo>
                <a:cubicBezTo>
                  <a:pt x="389" y="527"/>
                  <a:pt x="389" y="527"/>
                  <a:pt x="389" y="527"/>
                </a:cubicBezTo>
                <a:cubicBezTo>
                  <a:pt x="389" y="525"/>
                  <a:pt x="390" y="524"/>
                  <a:pt x="391" y="524"/>
                </a:cubicBezTo>
                <a:cubicBezTo>
                  <a:pt x="400" y="524"/>
                  <a:pt x="400" y="524"/>
                  <a:pt x="400" y="524"/>
                </a:cubicBezTo>
                <a:cubicBezTo>
                  <a:pt x="400" y="523"/>
                  <a:pt x="401" y="523"/>
                  <a:pt x="401" y="522"/>
                </a:cubicBezTo>
                <a:cubicBezTo>
                  <a:pt x="397" y="514"/>
                  <a:pt x="397" y="514"/>
                  <a:pt x="397" y="514"/>
                </a:cubicBezTo>
                <a:cubicBezTo>
                  <a:pt x="396" y="513"/>
                  <a:pt x="397" y="512"/>
                  <a:pt x="397" y="511"/>
                </a:cubicBezTo>
                <a:cubicBezTo>
                  <a:pt x="402" y="507"/>
                  <a:pt x="402" y="507"/>
                  <a:pt x="402" y="507"/>
                </a:cubicBezTo>
                <a:cubicBezTo>
                  <a:pt x="403" y="507"/>
                  <a:pt x="404" y="507"/>
                  <a:pt x="405" y="507"/>
                </a:cubicBezTo>
                <a:cubicBezTo>
                  <a:pt x="412" y="513"/>
                  <a:pt x="412" y="513"/>
                  <a:pt x="412" y="513"/>
                </a:cubicBezTo>
                <a:cubicBezTo>
                  <a:pt x="413" y="512"/>
                  <a:pt x="414" y="512"/>
                  <a:pt x="415" y="512"/>
                </a:cubicBezTo>
                <a:cubicBezTo>
                  <a:pt x="417" y="503"/>
                  <a:pt x="417" y="503"/>
                  <a:pt x="417" y="503"/>
                </a:cubicBezTo>
                <a:cubicBezTo>
                  <a:pt x="417" y="502"/>
                  <a:pt x="418" y="501"/>
                  <a:pt x="419" y="501"/>
                </a:cubicBezTo>
                <a:cubicBezTo>
                  <a:pt x="425" y="501"/>
                  <a:pt x="425" y="501"/>
                  <a:pt x="425" y="501"/>
                </a:cubicBezTo>
                <a:cubicBezTo>
                  <a:pt x="426" y="501"/>
                  <a:pt x="427" y="502"/>
                  <a:pt x="427" y="503"/>
                </a:cubicBezTo>
                <a:cubicBezTo>
                  <a:pt x="429" y="512"/>
                  <a:pt x="429" y="512"/>
                  <a:pt x="429" y="512"/>
                </a:cubicBezTo>
                <a:cubicBezTo>
                  <a:pt x="430" y="512"/>
                  <a:pt x="431" y="512"/>
                  <a:pt x="432" y="513"/>
                </a:cubicBezTo>
                <a:cubicBezTo>
                  <a:pt x="439" y="507"/>
                  <a:pt x="439" y="507"/>
                  <a:pt x="439" y="507"/>
                </a:cubicBezTo>
                <a:cubicBezTo>
                  <a:pt x="440" y="507"/>
                  <a:pt x="441" y="507"/>
                  <a:pt x="442" y="507"/>
                </a:cubicBezTo>
                <a:cubicBezTo>
                  <a:pt x="447" y="511"/>
                  <a:pt x="447" y="511"/>
                  <a:pt x="447" y="511"/>
                </a:cubicBezTo>
                <a:cubicBezTo>
                  <a:pt x="448" y="512"/>
                  <a:pt x="448" y="513"/>
                  <a:pt x="447" y="514"/>
                </a:cubicBezTo>
                <a:close/>
                <a:moveTo>
                  <a:pt x="435" y="536"/>
                </a:moveTo>
                <a:cubicBezTo>
                  <a:pt x="435" y="528"/>
                  <a:pt x="429" y="523"/>
                  <a:pt x="422" y="523"/>
                </a:cubicBezTo>
                <a:cubicBezTo>
                  <a:pt x="415" y="523"/>
                  <a:pt x="409" y="528"/>
                  <a:pt x="409" y="536"/>
                </a:cubicBezTo>
                <a:cubicBezTo>
                  <a:pt x="409" y="543"/>
                  <a:pt x="415" y="549"/>
                  <a:pt x="422" y="549"/>
                </a:cubicBezTo>
                <a:cubicBezTo>
                  <a:pt x="429" y="549"/>
                  <a:pt x="435" y="543"/>
                  <a:pt x="435" y="536"/>
                </a:cubicBezTo>
                <a:close/>
                <a:moveTo>
                  <a:pt x="422" y="530"/>
                </a:moveTo>
                <a:cubicBezTo>
                  <a:pt x="419" y="530"/>
                  <a:pt x="416" y="533"/>
                  <a:pt x="416" y="536"/>
                </a:cubicBezTo>
                <a:cubicBezTo>
                  <a:pt x="416" y="539"/>
                  <a:pt x="419" y="542"/>
                  <a:pt x="422" y="542"/>
                </a:cubicBezTo>
                <a:cubicBezTo>
                  <a:pt x="425" y="542"/>
                  <a:pt x="428" y="539"/>
                  <a:pt x="428" y="536"/>
                </a:cubicBezTo>
                <a:cubicBezTo>
                  <a:pt x="428" y="533"/>
                  <a:pt x="425" y="530"/>
                  <a:pt x="422" y="530"/>
                </a:cubicBezTo>
                <a:close/>
                <a:moveTo>
                  <a:pt x="265" y="566"/>
                </a:moveTo>
                <a:cubicBezTo>
                  <a:pt x="266" y="557"/>
                  <a:pt x="266" y="557"/>
                  <a:pt x="266" y="557"/>
                </a:cubicBezTo>
                <a:cubicBezTo>
                  <a:pt x="265" y="556"/>
                  <a:pt x="265" y="555"/>
                  <a:pt x="264" y="555"/>
                </a:cubicBezTo>
                <a:cubicBezTo>
                  <a:pt x="255" y="558"/>
                  <a:pt x="255" y="558"/>
                  <a:pt x="255" y="558"/>
                </a:cubicBezTo>
                <a:cubicBezTo>
                  <a:pt x="254" y="558"/>
                  <a:pt x="253" y="558"/>
                  <a:pt x="253" y="557"/>
                </a:cubicBezTo>
                <a:cubicBezTo>
                  <a:pt x="249" y="552"/>
                  <a:pt x="249" y="552"/>
                  <a:pt x="249" y="552"/>
                </a:cubicBezTo>
                <a:cubicBezTo>
                  <a:pt x="249" y="551"/>
                  <a:pt x="249" y="550"/>
                  <a:pt x="250" y="549"/>
                </a:cubicBezTo>
                <a:cubicBezTo>
                  <a:pt x="256" y="542"/>
                  <a:pt x="256" y="543"/>
                  <a:pt x="256" y="543"/>
                </a:cubicBezTo>
                <a:cubicBezTo>
                  <a:pt x="256" y="541"/>
                  <a:pt x="256" y="540"/>
                  <a:pt x="256" y="539"/>
                </a:cubicBezTo>
                <a:cubicBezTo>
                  <a:pt x="247" y="535"/>
                  <a:pt x="247" y="535"/>
                  <a:pt x="247" y="535"/>
                </a:cubicBezTo>
                <a:cubicBezTo>
                  <a:pt x="246" y="535"/>
                  <a:pt x="246" y="534"/>
                  <a:pt x="246" y="533"/>
                </a:cubicBezTo>
                <a:cubicBezTo>
                  <a:pt x="247" y="527"/>
                  <a:pt x="247" y="527"/>
                  <a:pt x="247" y="527"/>
                </a:cubicBezTo>
                <a:cubicBezTo>
                  <a:pt x="247" y="525"/>
                  <a:pt x="248" y="524"/>
                  <a:pt x="249" y="524"/>
                </a:cubicBezTo>
                <a:cubicBezTo>
                  <a:pt x="258" y="524"/>
                  <a:pt x="258" y="524"/>
                  <a:pt x="258" y="524"/>
                </a:cubicBezTo>
                <a:cubicBezTo>
                  <a:pt x="258" y="523"/>
                  <a:pt x="259" y="523"/>
                  <a:pt x="259" y="522"/>
                </a:cubicBezTo>
                <a:cubicBezTo>
                  <a:pt x="255" y="514"/>
                  <a:pt x="255" y="514"/>
                  <a:pt x="255" y="514"/>
                </a:cubicBezTo>
                <a:cubicBezTo>
                  <a:pt x="254" y="513"/>
                  <a:pt x="255" y="512"/>
                  <a:pt x="256" y="511"/>
                </a:cubicBezTo>
                <a:cubicBezTo>
                  <a:pt x="260" y="507"/>
                  <a:pt x="260" y="507"/>
                  <a:pt x="260" y="507"/>
                </a:cubicBezTo>
                <a:cubicBezTo>
                  <a:pt x="261" y="507"/>
                  <a:pt x="262" y="507"/>
                  <a:pt x="263" y="507"/>
                </a:cubicBezTo>
                <a:cubicBezTo>
                  <a:pt x="270" y="513"/>
                  <a:pt x="270" y="513"/>
                  <a:pt x="270" y="513"/>
                </a:cubicBezTo>
                <a:cubicBezTo>
                  <a:pt x="271" y="512"/>
                  <a:pt x="272" y="512"/>
                  <a:pt x="273" y="512"/>
                </a:cubicBezTo>
                <a:cubicBezTo>
                  <a:pt x="275" y="503"/>
                  <a:pt x="275" y="503"/>
                  <a:pt x="275" y="503"/>
                </a:cubicBezTo>
                <a:cubicBezTo>
                  <a:pt x="275" y="502"/>
                  <a:pt x="276" y="501"/>
                  <a:pt x="277" y="501"/>
                </a:cubicBezTo>
                <a:cubicBezTo>
                  <a:pt x="284" y="501"/>
                  <a:pt x="284" y="501"/>
                  <a:pt x="284" y="501"/>
                </a:cubicBezTo>
                <a:cubicBezTo>
                  <a:pt x="284" y="501"/>
                  <a:pt x="286" y="502"/>
                  <a:pt x="286" y="503"/>
                </a:cubicBezTo>
                <a:cubicBezTo>
                  <a:pt x="288" y="512"/>
                  <a:pt x="288" y="512"/>
                  <a:pt x="288" y="512"/>
                </a:cubicBezTo>
                <a:cubicBezTo>
                  <a:pt x="288" y="512"/>
                  <a:pt x="289" y="512"/>
                  <a:pt x="290" y="513"/>
                </a:cubicBezTo>
                <a:cubicBezTo>
                  <a:pt x="297" y="507"/>
                  <a:pt x="297" y="507"/>
                  <a:pt x="297" y="507"/>
                </a:cubicBezTo>
                <a:cubicBezTo>
                  <a:pt x="298" y="507"/>
                  <a:pt x="299" y="507"/>
                  <a:pt x="300" y="507"/>
                </a:cubicBezTo>
                <a:cubicBezTo>
                  <a:pt x="305" y="511"/>
                  <a:pt x="305" y="511"/>
                  <a:pt x="305" y="511"/>
                </a:cubicBezTo>
                <a:cubicBezTo>
                  <a:pt x="306" y="512"/>
                  <a:pt x="306" y="513"/>
                  <a:pt x="306" y="514"/>
                </a:cubicBezTo>
                <a:cubicBezTo>
                  <a:pt x="301" y="522"/>
                  <a:pt x="301" y="522"/>
                  <a:pt x="301" y="522"/>
                </a:cubicBezTo>
                <a:cubicBezTo>
                  <a:pt x="302" y="523"/>
                  <a:pt x="302" y="523"/>
                  <a:pt x="303" y="524"/>
                </a:cubicBezTo>
                <a:cubicBezTo>
                  <a:pt x="312" y="524"/>
                  <a:pt x="312" y="524"/>
                  <a:pt x="312" y="524"/>
                </a:cubicBezTo>
                <a:cubicBezTo>
                  <a:pt x="313" y="524"/>
                  <a:pt x="314" y="525"/>
                  <a:pt x="314" y="527"/>
                </a:cubicBezTo>
                <a:cubicBezTo>
                  <a:pt x="315" y="532"/>
                  <a:pt x="315" y="532"/>
                  <a:pt x="315" y="532"/>
                </a:cubicBezTo>
                <a:cubicBezTo>
                  <a:pt x="315" y="534"/>
                  <a:pt x="314" y="535"/>
                  <a:pt x="314" y="535"/>
                </a:cubicBezTo>
                <a:cubicBezTo>
                  <a:pt x="305" y="539"/>
                  <a:pt x="305" y="539"/>
                  <a:pt x="305" y="539"/>
                </a:cubicBezTo>
                <a:cubicBezTo>
                  <a:pt x="305" y="539"/>
                  <a:pt x="305" y="540"/>
                  <a:pt x="305" y="541"/>
                </a:cubicBezTo>
                <a:cubicBezTo>
                  <a:pt x="312" y="547"/>
                  <a:pt x="312" y="547"/>
                  <a:pt x="312" y="547"/>
                </a:cubicBezTo>
                <a:cubicBezTo>
                  <a:pt x="312" y="548"/>
                  <a:pt x="313" y="549"/>
                  <a:pt x="312" y="550"/>
                </a:cubicBezTo>
                <a:cubicBezTo>
                  <a:pt x="309" y="555"/>
                  <a:pt x="309" y="555"/>
                  <a:pt x="309" y="555"/>
                </a:cubicBezTo>
                <a:cubicBezTo>
                  <a:pt x="309" y="556"/>
                  <a:pt x="307" y="557"/>
                  <a:pt x="306" y="557"/>
                </a:cubicBezTo>
                <a:cubicBezTo>
                  <a:pt x="298" y="554"/>
                  <a:pt x="298" y="554"/>
                  <a:pt x="298" y="554"/>
                </a:cubicBezTo>
                <a:cubicBezTo>
                  <a:pt x="297" y="554"/>
                  <a:pt x="297" y="555"/>
                  <a:pt x="296" y="555"/>
                </a:cubicBezTo>
                <a:cubicBezTo>
                  <a:pt x="298" y="564"/>
                  <a:pt x="298" y="564"/>
                  <a:pt x="298" y="564"/>
                </a:cubicBezTo>
                <a:cubicBezTo>
                  <a:pt x="299" y="565"/>
                  <a:pt x="298" y="566"/>
                  <a:pt x="297" y="566"/>
                </a:cubicBezTo>
                <a:cubicBezTo>
                  <a:pt x="291" y="569"/>
                  <a:pt x="291" y="569"/>
                  <a:pt x="291" y="569"/>
                </a:cubicBezTo>
                <a:cubicBezTo>
                  <a:pt x="290" y="570"/>
                  <a:pt x="289" y="569"/>
                  <a:pt x="288" y="568"/>
                </a:cubicBezTo>
                <a:cubicBezTo>
                  <a:pt x="283" y="561"/>
                  <a:pt x="283" y="561"/>
                  <a:pt x="283" y="561"/>
                </a:cubicBezTo>
                <a:cubicBezTo>
                  <a:pt x="282" y="561"/>
                  <a:pt x="281" y="561"/>
                  <a:pt x="280" y="561"/>
                </a:cubicBezTo>
                <a:cubicBezTo>
                  <a:pt x="280" y="561"/>
                  <a:pt x="280" y="561"/>
                  <a:pt x="280" y="561"/>
                </a:cubicBezTo>
                <a:cubicBezTo>
                  <a:pt x="276" y="569"/>
                  <a:pt x="276" y="569"/>
                  <a:pt x="276" y="569"/>
                </a:cubicBezTo>
                <a:cubicBezTo>
                  <a:pt x="275" y="570"/>
                  <a:pt x="274" y="570"/>
                  <a:pt x="273" y="570"/>
                </a:cubicBezTo>
                <a:cubicBezTo>
                  <a:pt x="267" y="568"/>
                  <a:pt x="267" y="568"/>
                  <a:pt x="267" y="568"/>
                </a:cubicBezTo>
                <a:cubicBezTo>
                  <a:pt x="266" y="568"/>
                  <a:pt x="265" y="567"/>
                  <a:pt x="265" y="566"/>
                </a:cubicBezTo>
                <a:close/>
                <a:moveTo>
                  <a:pt x="267" y="536"/>
                </a:moveTo>
                <a:cubicBezTo>
                  <a:pt x="267" y="543"/>
                  <a:pt x="273" y="549"/>
                  <a:pt x="280" y="549"/>
                </a:cubicBezTo>
                <a:cubicBezTo>
                  <a:pt x="288" y="549"/>
                  <a:pt x="294" y="543"/>
                  <a:pt x="294" y="536"/>
                </a:cubicBezTo>
                <a:cubicBezTo>
                  <a:pt x="294" y="528"/>
                  <a:pt x="288" y="523"/>
                  <a:pt x="280" y="523"/>
                </a:cubicBezTo>
                <a:cubicBezTo>
                  <a:pt x="273" y="523"/>
                  <a:pt x="267" y="528"/>
                  <a:pt x="267" y="536"/>
                </a:cubicBezTo>
                <a:close/>
                <a:moveTo>
                  <a:pt x="32" y="473"/>
                </a:moveTo>
                <a:cubicBezTo>
                  <a:pt x="35" y="473"/>
                  <a:pt x="37" y="470"/>
                  <a:pt x="37" y="467"/>
                </a:cubicBezTo>
                <a:cubicBezTo>
                  <a:pt x="37" y="464"/>
                  <a:pt x="35" y="461"/>
                  <a:pt x="32" y="461"/>
                </a:cubicBezTo>
                <a:cubicBezTo>
                  <a:pt x="31" y="461"/>
                  <a:pt x="31" y="461"/>
                  <a:pt x="31" y="461"/>
                </a:cubicBezTo>
                <a:cubicBezTo>
                  <a:pt x="30" y="465"/>
                  <a:pt x="29" y="468"/>
                  <a:pt x="28" y="471"/>
                </a:cubicBezTo>
                <a:cubicBezTo>
                  <a:pt x="29" y="472"/>
                  <a:pt x="30" y="473"/>
                  <a:pt x="32" y="473"/>
                </a:cubicBezTo>
                <a:close/>
                <a:moveTo>
                  <a:pt x="315" y="610"/>
                </a:moveTo>
                <a:cubicBezTo>
                  <a:pt x="318" y="610"/>
                  <a:pt x="321" y="608"/>
                  <a:pt x="321" y="605"/>
                </a:cubicBezTo>
                <a:cubicBezTo>
                  <a:pt x="321" y="602"/>
                  <a:pt x="318" y="599"/>
                  <a:pt x="315" y="599"/>
                </a:cubicBezTo>
                <a:cubicBezTo>
                  <a:pt x="312" y="599"/>
                  <a:pt x="310" y="602"/>
                  <a:pt x="310" y="605"/>
                </a:cubicBezTo>
                <a:cubicBezTo>
                  <a:pt x="310" y="608"/>
                  <a:pt x="312" y="610"/>
                  <a:pt x="315" y="610"/>
                </a:cubicBezTo>
                <a:close/>
                <a:moveTo>
                  <a:pt x="280" y="542"/>
                </a:moveTo>
                <a:cubicBezTo>
                  <a:pt x="284" y="542"/>
                  <a:pt x="286" y="539"/>
                  <a:pt x="286" y="536"/>
                </a:cubicBezTo>
                <a:cubicBezTo>
                  <a:pt x="286" y="533"/>
                  <a:pt x="284" y="530"/>
                  <a:pt x="280" y="530"/>
                </a:cubicBezTo>
                <a:cubicBezTo>
                  <a:pt x="277" y="530"/>
                  <a:pt x="275" y="533"/>
                  <a:pt x="275" y="536"/>
                </a:cubicBezTo>
                <a:cubicBezTo>
                  <a:pt x="275" y="539"/>
                  <a:pt x="277" y="542"/>
                  <a:pt x="280" y="542"/>
                </a:cubicBezTo>
                <a:close/>
                <a:moveTo>
                  <a:pt x="300" y="634"/>
                </a:moveTo>
                <a:cubicBezTo>
                  <a:pt x="301" y="626"/>
                  <a:pt x="301" y="626"/>
                  <a:pt x="301" y="626"/>
                </a:cubicBezTo>
                <a:cubicBezTo>
                  <a:pt x="300" y="625"/>
                  <a:pt x="300" y="624"/>
                  <a:pt x="299" y="624"/>
                </a:cubicBezTo>
                <a:cubicBezTo>
                  <a:pt x="290" y="627"/>
                  <a:pt x="290" y="627"/>
                  <a:pt x="290" y="627"/>
                </a:cubicBezTo>
                <a:cubicBezTo>
                  <a:pt x="289" y="627"/>
                  <a:pt x="288" y="627"/>
                  <a:pt x="287" y="626"/>
                </a:cubicBezTo>
                <a:cubicBezTo>
                  <a:pt x="284" y="621"/>
                  <a:pt x="284" y="621"/>
                  <a:pt x="284" y="621"/>
                </a:cubicBezTo>
                <a:cubicBezTo>
                  <a:pt x="284" y="620"/>
                  <a:pt x="284" y="618"/>
                  <a:pt x="285" y="618"/>
                </a:cubicBezTo>
                <a:cubicBezTo>
                  <a:pt x="291" y="611"/>
                  <a:pt x="291" y="611"/>
                  <a:pt x="291" y="611"/>
                </a:cubicBezTo>
                <a:cubicBezTo>
                  <a:pt x="291" y="610"/>
                  <a:pt x="291" y="609"/>
                  <a:pt x="291" y="607"/>
                </a:cubicBezTo>
                <a:cubicBezTo>
                  <a:pt x="282" y="604"/>
                  <a:pt x="282" y="604"/>
                  <a:pt x="282" y="604"/>
                </a:cubicBezTo>
                <a:cubicBezTo>
                  <a:pt x="281" y="604"/>
                  <a:pt x="280" y="602"/>
                  <a:pt x="281" y="602"/>
                </a:cubicBezTo>
                <a:cubicBezTo>
                  <a:pt x="282" y="595"/>
                  <a:pt x="282" y="595"/>
                  <a:pt x="282" y="595"/>
                </a:cubicBezTo>
                <a:cubicBezTo>
                  <a:pt x="282" y="594"/>
                  <a:pt x="283" y="593"/>
                  <a:pt x="284" y="593"/>
                </a:cubicBezTo>
                <a:cubicBezTo>
                  <a:pt x="293" y="593"/>
                  <a:pt x="293" y="593"/>
                  <a:pt x="293" y="593"/>
                </a:cubicBezTo>
                <a:cubicBezTo>
                  <a:pt x="293" y="592"/>
                  <a:pt x="294" y="592"/>
                  <a:pt x="294" y="591"/>
                </a:cubicBezTo>
                <a:cubicBezTo>
                  <a:pt x="290" y="583"/>
                  <a:pt x="290" y="583"/>
                  <a:pt x="290" y="583"/>
                </a:cubicBezTo>
                <a:cubicBezTo>
                  <a:pt x="289" y="582"/>
                  <a:pt x="290" y="581"/>
                  <a:pt x="291" y="580"/>
                </a:cubicBezTo>
                <a:cubicBezTo>
                  <a:pt x="295" y="576"/>
                  <a:pt x="295" y="576"/>
                  <a:pt x="295" y="576"/>
                </a:cubicBezTo>
                <a:cubicBezTo>
                  <a:pt x="296" y="575"/>
                  <a:pt x="297" y="575"/>
                  <a:pt x="298" y="576"/>
                </a:cubicBezTo>
                <a:cubicBezTo>
                  <a:pt x="305" y="582"/>
                  <a:pt x="305" y="582"/>
                  <a:pt x="305" y="582"/>
                </a:cubicBezTo>
                <a:cubicBezTo>
                  <a:pt x="306" y="581"/>
                  <a:pt x="307" y="581"/>
                  <a:pt x="308" y="581"/>
                </a:cubicBezTo>
                <a:cubicBezTo>
                  <a:pt x="310" y="572"/>
                  <a:pt x="310" y="572"/>
                  <a:pt x="310" y="572"/>
                </a:cubicBezTo>
                <a:cubicBezTo>
                  <a:pt x="310" y="571"/>
                  <a:pt x="311" y="570"/>
                  <a:pt x="312" y="570"/>
                </a:cubicBezTo>
                <a:cubicBezTo>
                  <a:pt x="318" y="570"/>
                  <a:pt x="318" y="570"/>
                  <a:pt x="318" y="570"/>
                </a:cubicBezTo>
                <a:cubicBezTo>
                  <a:pt x="319" y="570"/>
                  <a:pt x="321" y="571"/>
                  <a:pt x="321" y="572"/>
                </a:cubicBezTo>
                <a:cubicBezTo>
                  <a:pt x="322" y="581"/>
                  <a:pt x="322" y="581"/>
                  <a:pt x="322" y="581"/>
                </a:cubicBezTo>
                <a:cubicBezTo>
                  <a:pt x="323" y="581"/>
                  <a:pt x="324" y="581"/>
                  <a:pt x="325" y="582"/>
                </a:cubicBezTo>
                <a:cubicBezTo>
                  <a:pt x="332" y="576"/>
                  <a:pt x="332" y="576"/>
                  <a:pt x="332" y="576"/>
                </a:cubicBezTo>
                <a:cubicBezTo>
                  <a:pt x="333" y="575"/>
                  <a:pt x="334" y="575"/>
                  <a:pt x="335" y="576"/>
                </a:cubicBezTo>
                <a:cubicBezTo>
                  <a:pt x="340" y="580"/>
                  <a:pt x="340" y="580"/>
                  <a:pt x="340" y="580"/>
                </a:cubicBezTo>
                <a:cubicBezTo>
                  <a:pt x="341" y="581"/>
                  <a:pt x="341" y="582"/>
                  <a:pt x="340" y="583"/>
                </a:cubicBezTo>
                <a:cubicBezTo>
                  <a:pt x="336" y="591"/>
                  <a:pt x="336" y="591"/>
                  <a:pt x="336" y="591"/>
                </a:cubicBezTo>
                <a:cubicBezTo>
                  <a:pt x="337" y="592"/>
                  <a:pt x="337" y="592"/>
                  <a:pt x="337" y="593"/>
                </a:cubicBezTo>
                <a:cubicBezTo>
                  <a:pt x="347" y="593"/>
                  <a:pt x="347" y="593"/>
                  <a:pt x="347" y="593"/>
                </a:cubicBezTo>
                <a:cubicBezTo>
                  <a:pt x="348" y="593"/>
                  <a:pt x="348" y="594"/>
                  <a:pt x="349" y="595"/>
                </a:cubicBezTo>
                <a:cubicBezTo>
                  <a:pt x="350" y="601"/>
                  <a:pt x="350" y="601"/>
                  <a:pt x="350" y="601"/>
                </a:cubicBezTo>
                <a:cubicBezTo>
                  <a:pt x="350" y="602"/>
                  <a:pt x="349" y="604"/>
                  <a:pt x="348" y="604"/>
                </a:cubicBezTo>
                <a:cubicBezTo>
                  <a:pt x="340" y="607"/>
                  <a:pt x="340" y="607"/>
                  <a:pt x="340" y="607"/>
                </a:cubicBezTo>
                <a:cubicBezTo>
                  <a:pt x="340" y="608"/>
                  <a:pt x="340" y="609"/>
                  <a:pt x="340" y="610"/>
                </a:cubicBezTo>
                <a:cubicBezTo>
                  <a:pt x="347" y="616"/>
                  <a:pt x="347" y="616"/>
                  <a:pt x="347" y="616"/>
                </a:cubicBezTo>
                <a:cubicBezTo>
                  <a:pt x="347" y="617"/>
                  <a:pt x="348" y="618"/>
                  <a:pt x="347" y="619"/>
                </a:cubicBezTo>
                <a:cubicBezTo>
                  <a:pt x="344" y="624"/>
                  <a:pt x="344" y="624"/>
                  <a:pt x="344" y="624"/>
                </a:cubicBezTo>
                <a:cubicBezTo>
                  <a:pt x="344" y="625"/>
                  <a:pt x="342" y="626"/>
                  <a:pt x="341" y="626"/>
                </a:cubicBezTo>
                <a:cubicBezTo>
                  <a:pt x="333" y="623"/>
                  <a:pt x="333" y="623"/>
                  <a:pt x="333" y="623"/>
                </a:cubicBezTo>
                <a:cubicBezTo>
                  <a:pt x="332" y="623"/>
                  <a:pt x="332" y="623"/>
                  <a:pt x="331" y="624"/>
                </a:cubicBezTo>
                <a:cubicBezTo>
                  <a:pt x="333" y="633"/>
                  <a:pt x="333" y="633"/>
                  <a:pt x="333" y="633"/>
                </a:cubicBezTo>
                <a:cubicBezTo>
                  <a:pt x="333" y="634"/>
                  <a:pt x="333" y="635"/>
                  <a:pt x="332" y="635"/>
                </a:cubicBezTo>
                <a:cubicBezTo>
                  <a:pt x="326" y="638"/>
                  <a:pt x="326" y="638"/>
                  <a:pt x="326" y="638"/>
                </a:cubicBezTo>
                <a:cubicBezTo>
                  <a:pt x="325" y="638"/>
                  <a:pt x="324" y="638"/>
                  <a:pt x="323" y="637"/>
                </a:cubicBezTo>
                <a:cubicBezTo>
                  <a:pt x="318" y="630"/>
                  <a:pt x="318" y="630"/>
                  <a:pt x="318" y="630"/>
                </a:cubicBezTo>
                <a:cubicBezTo>
                  <a:pt x="317" y="630"/>
                  <a:pt x="316" y="630"/>
                  <a:pt x="315" y="630"/>
                </a:cubicBezTo>
                <a:cubicBezTo>
                  <a:pt x="315" y="630"/>
                  <a:pt x="315" y="630"/>
                  <a:pt x="315" y="630"/>
                </a:cubicBezTo>
                <a:cubicBezTo>
                  <a:pt x="311" y="638"/>
                  <a:pt x="311" y="638"/>
                  <a:pt x="311" y="638"/>
                </a:cubicBezTo>
                <a:cubicBezTo>
                  <a:pt x="310" y="639"/>
                  <a:pt x="309" y="639"/>
                  <a:pt x="308" y="639"/>
                </a:cubicBezTo>
                <a:cubicBezTo>
                  <a:pt x="302" y="637"/>
                  <a:pt x="302" y="637"/>
                  <a:pt x="302" y="637"/>
                </a:cubicBezTo>
                <a:cubicBezTo>
                  <a:pt x="301" y="637"/>
                  <a:pt x="300" y="636"/>
                  <a:pt x="300" y="634"/>
                </a:cubicBezTo>
                <a:close/>
                <a:moveTo>
                  <a:pt x="302" y="605"/>
                </a:moveTo>
                <a:cubicBezTo>
                  <a:pt x="302" y="612"/>
                  <a:pt x="308" y="618"/>
                  <a:pt x="315" y="618"/>
                </a:cubicBezTo>
                <a:cubicBezTo>
                  <a:pt x="322" y="618"/>
                  <a:pt x="329" y="612"/>
                  <a:pt x="329" y="605"/>
                </a:cubicBezTo>
                <a:cubicBezTo>
                  <a:pt x="329" y="597"/>
                  <a:pt x="322" y="591"/>
                  <a:pt x="315" y="591"/>
                </a:cubicBezTo>
                <a:cubicBezTo>
                  <a:pt x="308" y="591"/>
                  <a:pt x="302" y="597"/>
                  <a:pt x="302" y="605"/>
                </a:cubicBezTo>
                <a:close/>
                <a:moveTo>
                  <a:pt x="351" y="679"/>
                </a:moveTo>
                <a:cubicBezTo>
                  <a:pt x="354" y="679"/>
                  <a:pt x="357" y="677"/>
                  <a:pt x="357" y="674"/>
                </a:cubicBezTo>
                <a:cubicBezTo>
                  <a:pt x="357" y="670"/>
                  <a:pt x="354" y="668"/>
                  <a:pt x="351" y="668"/>
                </a:cubicBezTo>
                <a:cubicBezTo>
                  <a:pt x="348" y="668"/>
                  <a:pt x="346" y="670"/>
                  <a:pt x="346" y="674"/>
                </a:cubicBezTo>
                <a:cubicBezTo>
                  <a:pt x="346" y="677"/>
                  <a:pt x="348" y="679"/>
                  <a:pt x="351" y="679"/>
                </a:cubicBezTo>
                <a:close/>
                <a:moveTo>
                  <a:pt x="386" y="737"/>
                </a:moveTo>
                <a:cubicBezTo>
                  <a:pt x="383" y="737"/>
                  <a:pt x="380" y="739"/>
                  <a:pt x="380" y="742"/>
                </a:cubicBezTo>
                <a:cubicBezTo>
                  <a:pt x="380" y="746"/>
                  <a:pt x="383" y="748"/>
                  <a:pt x="386" y="748"/>
                </a:cubicBezTo>
                <a:cubicBezTo>
                  <a:pt x="389" y="748"/>
                  <a:pt x="392" y="746"/>
                  <a:pt x="392" y="742"/>
                </a:cubicBezTo>
                <a:cubicBezTo>
                  <a:pt x="392" y="739"/>
                  <a:pt x="389" y="737"/>
                  <a:pt x="386" y="737"/>
                </a:cubicBezTo>
                <a:close/>
                <a:moveTo>
                  <a:pt x="403" y="761"/>
                </a:moveTo>
                <a:cubicBezTo>
                  <a:pt x="403" y="761"/>
                  <a:pt x="403" y="761"/>
                  <a:pt x="402" y="762"/>
                </a:cubicBezTo>
                <a:cubicBezTo>
                  <a:pt x="404" y="771"/>
                  <a:pt x="404" y="771"/>
                  <a:pt x="404" y="771"/>
                </a:cubicBezTo>
                <a:cubicBezTo>
                  <a:pt x="404" y="772"/>
                  <a:pt x="404" y="773"/>
                  <a:pt x="403" y="773"/>
                </a:cubicBezTo>
                <a:cubicBezTo>
                  <a:pt x="397" y="776"/>
                  <a:pt x="397" y="776"/>
                  <a:pt x="397" y="776"/>
                </a:cubicBezTo>
                <a:cubicBezTo>
                  <a:pt x="396" y="776"/>
                  <a:pt x="395" y="776"/>
                  <a:pt x="394" y="775"/>
                </a:cubicBezTo>
                <a:cubicBezTo>
                  <a:pt x="389" y="767"/>
                  <a:pt x="389" y="767"/>
                  <a:pt x="389" y="767"/>
                </a:cubicBezTo>
                <a:cubicBezTo>
                  <a:pt x="388" y="768"/>
                  <a:pt x="387" y="768"/>
                  <a:pt x="386" y="768"/>
                </a:cubicBezTo>
                <a:cubicBezTo>
                  <a:pt x="386" y="768"/>
                  <a:pt x="386" y="768"/>
                  <a:pt x="386" y="768"/>
                </a:cubicBezTo>
                <a:cubicBezTo>
                  <a:pt x="382" y="776"/>
                  <a:pt x="382" y="776"/>
                  <a:pt x="382" y="776"/>
                </a:cubicBezTo>
                <a:cubicBezTo>
                  <a:pt x="381" y="777"/>
                  <a:pt x="380" y="777"/>
                  <a:pt x="379" y="777"/>
                </a:cubicBezTo>
                <a:cubicBezTo>
                  <a:pt x="373" y="775"/>
                  <a:pt x="373" y="775"/>
                  <a:pt x="373" y="775"/>
                </a:cubicBezTo>
                <a:cubicBezTo>
                  <a:pt x="372" y="774"/>
                  <a:pt x="371" y="774"/>
                  <a:pt x="371" y="772"/>
                </a:cubicBezTo>
                <a:cubicBezTo>
                  <a:pt x="372" y="763"/>
                  <a:pt x="372" y="763"/>
                  <a:pt x="372" y="763"/>
                </a:cubicBezTo>
                <a:cubicBezTo>
                  <a:pt x="371" y="763"/>
                  <a:pt x="371" y="762"/>
                  <a:pt x="370" y="762"/>
                </a:cubicBezTo>
                <a:cubicBezTo>
                  <a:pt x="361" y="765"/>
                  <a:pt x="361" y="765"/>
                  <a:pt x="361" y="765"/>
                </a:cubicBezTo>
                <a:cubicBezTo>
                  <a:pt x="360" y="765"/>
                  <a:pt x="359" y="765"/>
                  <a:pt x="358" y="764"/>
                </a:cubicBezTo>
                <a:cubicBezTo>
                  <a:pt x="355" y="758"/>
                  <a:pt x="355" y="758"/>
                  <a:pt x="355" y="758"/>
                </a:cubicBezTo>
                <a:cubicBezTo>
                  <a:pt x="355" y="758"/>
                  <a:pt x="355" y="756"/>
                  <a:pt x="356" y="755"/>
                </a:cubicBezTo>
                <a:cubicBezTo>
                  <a:pt x="362" y="749"/>
                  <a:pt x="362" y="749"/>
                  <a:pt x="362" y="749"/>
                </a:cubicBezTo>
                <a:cubicBezTo>
                  <a:pt x="362" y="748"/>
                  <a:pt x="361" y="746"/>
                  <a:pt x="361" y="745"/>
                </a:cubicBezTo>
                <a:cubicBezTo>
                  <a:pt x="353" y="742"/>
                  <a:pt x="353" y="742"/>
                  <a:pt x="353" y="742"/>
                </a:cubicBezTo>
                <a:cubicBezTo>
                  <a:pt x="352" y="742"/>
                  <a:pt x="351" y="740"/>
                  <a:pt x="352" y="739"/>
                </a:cubicBezTo>
                <a:cubicBezTo>
                  <a:pt x="353" y="733"/>
                  <a:pt x="353" y="733"/>
                  <a:pt x="353" y="733"/>
                </a:cubicBezTo>
                <a:cubicBezTo>
                  <a:pt x="353" y="732"/>
                  <a:pt x="354" y="731"/>
                  <a:pt x="355" y="731"/>
                </a:cubicBezTo>
                <a:cubicBezTo>
                  <a:pt x="364" y="731"/>
                  <a:pt x="364" y="731"/>
                  <a:pt x="364" y="731"/>
                </a:cubicBezTo>
                <a:cubicBezTo>
                  <a:pt x="364" y="730"/>
                  <a:pt x="365" y="730"/>
                  <a:pt x="365" y="729"/>
                </a:cubicBezTo>
                <a:cubicBezTo>
                  <a:pt x="361" y="721"/>
                  <a:pt x="361" y="721"/>
                  <a:pt x="361" y="721"/>
                </a:cubicBezTo>
                <a:cubicBezTo>
                  <a:pt x="360" y="720"/>
                  <a:pt x="361" y="719"/>
                  <a:pt x="361" y="718"/>
                </a:cubicBezTo>
                <a:cubicBezTo>
                  <a:pt x="366" y="714"/>
                  <a:pt x="366" y="714"/>
                  <a:pt x="366" y="714"/>
                </a:cubicBezTo>
                <a:cubicBezTo>
                  <a:pt x="367" y="713"/>
                  <a:pt x="368" y="713"/>
                  <a:pt x="369" y="714"/>
                </a:cubicBezTo>
                <a:cubicBezTo>
                  <a:pt x="376" y="719"/>
                  <a:pt x="376" y="719"/>
                  <a:pt x="376" y="719"/>
                </a:cubicBezTo>
                <a:cubicBezTo>
                  <a:pt x="377" y="719"/>
                  <a:pt x="378" y="719"/>
                  <a:pt x="379" y="718"/>
                </a:cubicBezTo>
                <a:cubicBezTo>
                  <a:pt x="381" y="710"/>
                  <a:pt x="381" y="710"/>
                  <a:pt x="381" y="710"/>
                </a:cubicBezTo>
                <a:cubicBezTo>
                  <a:pt x="381" y="709"/>
                  <a:pt x="382" y="708"/>
                  <a:pt x="383" y="708"/>
                </a:cubicBezTo>
                <a:cubicBezTo>
                  <a:pt x="389" y="708"/>
                  <a:pt x="389" y="708"/>
                  <a:pt x="389" y="708"/>
                </a:cubicBezTo>
                <a:cubicBezTo>
                  <a:pt x="390" y="708"/>
                  <a:pt x="391" y="709"/>
                  <a:pt x="391" y="710"/>
                </a:cubicBezTo>
                <a:cubicBezTo>
                  <a:pt x="393" y="718"/>
                  <a:pt x="393" y="718"/>
                  <a:pt x="393" y="718"/>
                </a:cubicBezTo>
                <a:cubicBezTo>
                  <a:pt x="394" y="719"/>
                  <a:pt x="395" y="719"/>
                  <a:pt x="396" y="719"/>
                </a:cubicBezTo>
                <a:cubicBezTo>
                  <a:pt x="403" y="714"/>
                  <a:pt x="403" y="714"/>
                  <a:pt x="403" y="714"/>
                </a:cubicBezTo>
                <a:cubicBezTo>
                  <a:pt x="404" y="713"/>
                  <a:pt x="405" y="713"/>
                  <a:pt x="406" y="714"/>
                </a:cubicBezTo>
                <a:cubicBezTo>
                  <a:pt x="411" y="718"/>
                  <a:pt x="411" y="718"/>
                  <a:pt x="411" y="718"/>
                </a:cubicBezTo>
                <a:cubicBezTo>
                  <a:pt x="412" y="718"/>
                  <a:pt x="412" y="720"/>
                  <a:pt x="411" y="721"/>
                </a:cubicBezTo>
                <a:cubicBezTo>
                  <a:pt x="407" y="729"/>
                  <a:pt x="407" y="729"/>
                  <a:pt x="407" y="729"/>
                </a:cubicBezTo>
                <a:cubicBezTo>
                  <a:pt x="407" y="730"/>
                  <a:pt x="408" y="730"/>
                  <a:pt x="408" y="731"/>
                </a:cubicBezTo>
                <a:cubicBezTo>
                  <a:pt x="418" y="731"/>
                  <a:pt x="418" y="731"/>
                  <a:pt x="418" y="731"/>
                </a:cubicBezTo>
                <a:cubicBezTo>
                  <a:pt x="418" y="731"/>
                  <a:pt x="419" y="732"/>
                  <a:pt x="420" y="733"/>
                </a:cubicBezTo>
                <a:cubicBezTo>
                  <a:pt x="421" y="739"/>
                  <a:pt x="421" y="739"/>
                  <a:pt x="421" y="739"/>
                </a:cubicBezTo>
                <a:cubicBezTo>
                  <a:pt x="421" y="740"/>
                  <a:pt x="420" y="742"/>
                  <a:pt x="419" y="742"/>
                </a:cubicBezTo>
                <a:cubicBezTo>
                  <a:pt x="411" y="745"/>
                  <a:pt x="411" y="745"/>
                  <a:pt x="411" y="745"/>
                </a:cubicBezTo>
                <a:cubicBezTo>
                  <a:pt x="411" y="746"/>
                  <a:pt x="411" y="747"/>
                  <a:pt x="410" y="748"/>
                </a:cubicBezTo>
                <a:cubicBezTo>
                  <a:pt x="418" y="754"/>
                  <a:pt x="418" y="754"/>
                  <a:pt x="418" y="754"/>
                </a:cubicBezTo>
                <a:cubicBezTo>
                  <a:pt x="418" y="754"/>
                  <a:pt x="418" y="756"/>
                  <a:pt x="418" y="757"/>
                </a:cubicBezTo>
                <a:cubicBezTo>
                  <a:pt x="415" y="762"/>
                  <a:pt x="415" y="762"/>
                  <a:pt x="415" y="762"/>
                </a:cubicBezTo>
                <a:cubicBezTo>
                  <a:pt x="414" y="763"/>
                  <a:pt x="413" y="764"/>
                  <a:pt x="412" y="763"/>
                </a:cubicBezTo>
                <a:cubicBezTo>
                  <a:pt x="403" y="761"/>
                  <a:pt x="403" y="761"/>
                  <a:pt x="403" y="761"/>
                </a:cubicBezTo>
                <a:close/>
                <a:moveTo>
                  <a:pt x="399" y="742"/>
                </a:moveTo>
                <a:cubicBezTo>
                  <a:pt x="399" y="735"/>
                  <a:pt x="393" y="729"/>
                  <a:pt x="386" y="729"/>
                </a:cubicBezTo>
                <a:cubicBezTo>
                  <a:pt x="379" y="729"/>
                  <a:pt x="373" y="735"/>
                  <a:pt x="373" y="742"/>
                </a:cubicBezTo>
                <a:cubicBezTo>
                  <a:pt x="373" y="750"/>
                  <a:pt x="379" y="756"/>
                  <a:pt x="386" y="756"/>
                </a:cubicBezTo>
                <a:cubicBezTo>
                  <a:pt x="393" y="756"/>
                  <a:pt x="399" y="750"/>
                  <a:pt x="399" y="742"/>
                </a:cubicBezTo>
                <a:close/>
                <a:moveTo>
                  <a:pt x="336" y="703"/>
                </a:moveTo>
                <a:cubicBezTo>
                  <a:pt x="337" y="694"/>
                  <a:pt x="337" y="694"/>
                  <a:pt x="337" y="694"/>
                </a:cubicBezTo>
                <a:cubicBezTo>
                  <a:pt x="336" y="694"/>
                  <a:pt x="336" y="693"/>
                  <a:pt x="335" y="693"/>
                </a:cubicBezTo>
                <a:cubicBezTo>
                  <a:pt x="326" y="696"/>
                  <a:pt x="326" y="696"/>
                  <a:pt x="326" y="696"/>
                </a:cubicBezTo>
                <a:cubicBezTo>
                  <a:pt x="325" y="696"/>
                  <a:pt x="324" y="696"/>
                  <a:pt x="323" y="695"/>
                </a:cubicBezTo>
                <a:cubicBezTo>
                  <a:pt x="320" y="690"/>
                  <a:pt x="320" y="690"/>
                  <a:pt x="320" y="690"/>
                </a:cubicBezTo>
                <a:cubicBezTo>
                  <a:pt x="320" y="689"/>
                  <a:pt x="320" y="687"/>
                  <a:pt x="321" y="686"/>
                </a:cubicBezTo>
                <a:cubicBezTo>
                  <a:pt x="327" y="680"/>
                  <a:pt x="327" y="680"/>
                  <a:pt x="327" y="680"/>
                </a:cubicBezTo>
                <a:cubicBezTo>
                  <a:pt x="327" y="679"/>
                  <a:pt x="327" y="678"/>
                  <a:pt x="327" y="676"/>
                </a:cubicBezTo>
                <a:cubicBezTo>
                  <a:pt x="318" y="673"/>
                  <a:pt x="318" y="673"/>
                  <a:pt x="318" y="673"/>
                </a:cubicBezTo>
                <a:cubicBezTo>
                  <a:pt x="317" y="673"/>
                  <a:pt x="316" y="671"/>
                  <a:pt x="317" y="670"/>
                </a:cubicBezTo>
                <a:cubicBezTo>
                  <a:pt x="318" y="664"/>
                  <a:pt x="318" y="664"/>
                  <a:pt x="318" y="664"/>
                </a:cubicBezTo>
                <a:cubicBezTo>
                  <a:pt x="318" y="663"/>
                  <a:pt x="319" y="662"/>
                  <a:pt x="320" y="662"/>
                </a:cubicBezTo>
                <a:cubicBezTo>
                  <a:pt x="329" y="662"/>
                  <a:pt x="329" y="662"/>
                  <a:pt x="329" y="662"/>
                </a:cubicBezTo>
                <a:cubicBezTo>
                  <a:pt x="329" y="661"/>
                  <a:pt x="330" y="661"/>
                  <a:pt x="330" y="660"/>
                </a:cubicBezTo>
                <a:cubicBezTo>
                  <a:pt x="326" y="652"/>
                  <a:pt x="326" y="652"/>
                  <a:pt x="326" y="652"/>
                </a:cubicBezTo>
                <a:cubicBezTo>
                  <a:pt x="325" y="651"/>
                  <a:pt x="326" y="650"/>
                  <a:pt x="327" y="649"/>
                </a:cubicBezTo>
                <a:cubicBezTo>
                  <a:pt x="331" y="645"/>
                  <a:pt x="331" y="645"/>
                  <a:pt x="331" y="645"/>
                </a:cubicBezTo>
                <a:cubicBezTo>
                  <a:pt x="332" y="644"/>
                  <a:pt x="333" y="644"/>
                  <a:pt x="334" y="645"/>
                </a:cubicBezTo>
                <a:cubicBezTo>
                  <a:pt x="341" y="650"/>
                  <a:pt x="341" y="650"/>
                  <a:pt x="341" y="650"/>
                </a:cubicBezTo>
                <a:cubicBezTo>
                  <a:pt x="342" y="650"/>
                  <a:pt x="343" y="650"/>
                  <a:pt x="344" y="650"/>
                </a:cubicBezTo>
                <a:cubicBezTo>
                  <a:pt x="346" y="641"/>
                  <a:pt x="346" y="641"/>
                  <a:pt x="346" y="641"/>
                </a:cubicBezTo>
                <a:cubicBezTo>
                  <a:pt x="346" y="640"/>
                  <a:pt x="347" y="639"/>
                  <a:pt x="348" y="639"/>
                </a:cubicBezTo>
                <a:cubicBezTo>
                  <a:pt x="354" y="639"/>
                  <a:pt x="354" y="639"/>
                  <a:pt x="354" y="639"/>
                </a:cubicBezTo>
                <a:cubicBezTo>
                  <a:pt x="355" y="639"/>
                  <a:pt x="357" y="640"/>
                  <a:pt x="357" y="641"/>
                </a:cubicBezTo>
                <a:cubicBezTo>
                  <a:pt x="358" y="650"/>
                  <a:pt x="358" y="650"/>
                  <a:pt x="358" y="650"/>
                </a:cubicBezTo>
                <a:cubicBezTo>
                  <a:pt x="359" y="650"/>
                  <a:pt x="360" y="650"/>
                  <a:pt x="361" y="650"/>
                </a:cubicBezTo>
                <a:cubicBezTo>
                  <a:pt x="368" y="645"/>
                  <a:pt x="368" y="645"/>
                  <a:pt x="368" y="645"/>
                </a:cubicBezTo>
                <a:cubicBezTo>
                  <a:pt x="369" y="644"/>
                  <a:pt x="370" y="644"/>
                  <a:pt x="371" y="645"/>
                </a:cubicBezTo>
                <a:cubicBezTo>
                  <a:pt x="376" y="649"/>
                  <a:pt x="376" y="649"/>
                  <a:pt x="376" y="649"/>
                </a:cubicBezTo>
                <a:cubicBezTo>
                  <a:pt x="377" y="650"/>
                  <a:pt x="377" y="651"/>
                  <a:pt x="376" y="652"/>
                </a:cubicBezTo>
                <a:cubicBezTo>
                  <a:pt x="372" y="660"/>
                  <a:pt x="372" y="660"/>
                  <a:pt x="372" y="660"/>
                </a:cubicBezTo>
                <a:cubicBezTo>
                  <a:pt x="373" y="661"/>
                  <a:pt x="373" y="661"/>
                  <a:pt x="373" y="662"/>
                </a:cubicBezTo>
                <a:cubicBezTo>
                  <a:pt x="383" y="662"/>
                  <a:pt x="383" y="662"/>
                  <a:pt x="383" y="662"/>
                </a:cubicBezTo>
                <a:cubicBezTo>
                  <a:pt x="384" y="662"/>
                  <a:pt x="384" y="663"/>
                  <a:pt x="385" y="664"/>
                </a:cubicBezTo>
                <a:cubicBezTo>
                  <a:pt x="386" y="670"/>
                  <a:pt x="386" y="670"/>
                  <a:pt x="386" y="670"/>
                </a:cubicBezTo>
                <a:cubicBezTo>
                  <a:pt x="386" y="671"/>
                  <a:pt x="385" y="673"/>
                  <a:pt x="384" y="673"/>
                </a:cubicBezTo>
                <a:cubicBezTo>
                  <a:pt x="376" y="676"/>
                  <a:pt x="376" y="676"/>
                  <a:pt x="376" y="676"/>
                </a:cubicBezTo>
                <a:cubicBezTo>
                  <a:pt x="376" y="677"/>
                  <a:pt x="376" y="678"/>
                  <a:pt x="376" y="679"/>
                </a:cubicBezTo>
                <a:cubicBezTo>
                  <a:pt x="383" y="685"/>
                  <a:pt x="383" y="685"/>
                  <a:pt x="383" y="685"/>
                </a:cubicBezTo>
                <a:cubicBezTo>
                  <a:pt x="383" y="686"/>
                  <a:pt x="384" y="687"/>
                  <a:pt x="383" y="688"/>
                </a:cubicBezTo>
                <a:cubicBezTo>
                  <a:pt x="380" y="693"/>
                  <a:pt x="380" y="693"/>
                  <a:pt x="380" y="693"/>
                </a:cubicBezTo>
                <a:cubicBezTo>
                  <a:pt x="380" y="694"/>
                  <a:pt x="378" y="695"/>
                  <a:pt x="377" y="694"/>
                </a:cubicBezTo>
                <a:cubicBezTo>
                  <a:pt x="369" y="692"/>
                  <a:pt x="369" y="692"/>
                  <a:pt x="369" y="692"/>
                </a:cubicBezTo>
                <a:cubicBezTo>
                  <a:pt x="368" y="692"/>
                  <a:pt x="368" y="692"/>
                  <a:pt x="367" y="693"/>
                </a:cubicBezTo>
                <a:cubicBezTo>
                  <a:pt x="369" y="702"/>
                  <a:pt x="369" y="702"/>
                  <a:pt x="369" y="702"/>
                </a:cubicBezTo>
                <a:cubicBezTo>
                  <a:pt x="369" y="703"/>
                  <a:pt x="369" y="704"/>
                  <a:pt x="368" y="704"/>
                </a:cubicBezTo>
                <a:cubicBezTo>
                  <a:pt x="362" y="707"/>
                  <a:pt x="362" y="707"/>
                  <a:pt x="362" y="707"/>
                </a:cubicBezTo>
                <a:cubicBezTo>
                  <a:pt x="361" y="707"/>
                  <a:pt x="360" y="707"/>
                  <a:pt x="359" y="706"/>
                </a:cubicBezTo>
                <a:cubicBezTo>
                  <a:pt x="354" y="698"/>
                  <a:pt x="354" y="698"/>
                  <a:pt x="354" y="698"/>
                </a:cubicBezTo>
                <a:cubicBezTo>
                  <a:pt x="353" y="699"/>
                  <a:pt x="352" y="699"/>
                  <a:pt x="351" y="699"/>
                </a:cubicBezTo>
                <a:cubicBezTo>
                  <a:pt x="351" y="699"/>
                  <a:pt x="351" y="699"/>
                  <a:pt x="351" y="699"/>
                </a:cubicBezTo>
                <a:cubicBezTo>
                  <a:pt x="347" y="707"/>
                  <a:pt x="347" y="707"/>
                  <a:pt x="347" y="707"/>
                </a:cubicBezTo>
                <a:cubicBezTo>
                  <a:pt x="346" y="708"/>
                  <a:pt x="345" y="708"/>
                  <a:pt x="344" y="708"/>
                </a:cubicBezTo>
                <a:cubicBezTo>
                  <a:pt x="338" y="706"/>
                  <a:pt x="338" y="706"/>
                  <a:pt x="338" y="706"/>
                </a:cubicBezTo>
                <a:cubicBezTo>
                  <a:pt x="337" y="706"/>
                  <a:pt x="336" y="705"/>
                  <a:pt x="336" y="703"/>
                </a:cubicBezTo>
                <a:close/>
                <a:moveTo>
                  <a:pt x="338" y="674"/>
                </a:moveTo>
                <a:cubicBezTo>
                  <a:pt x="338" y="681"/>
                  <a:pt x="344" y="687"/>
                  <a:pt x="351" y="687"/>
                </a:cubicBezTo>
                <a:cubicBezTo>
                  <a:pt x="358" y="687"/>
                  <a:pt x="365" y="681"/>
                  <a:pt x="365" y="674"/>
                </a:cubicBezTo>
                <a:cubicBezTo>
                  <a:pt x="365" y="666"/>
                  <a:pt x="358" y="660"/>
                  <a:pt x="351" y="660"/>
                </a:cubicBezTo>
                <a:cubicBezTo>
                  <a:pt x="344" y="660"/>
                  <a:pt x="338" y="666"/>
                  <a:pt x="338" y="674"/>
                </a:cubicBezTo>
                <a:close/>
                <a:moveTo>
                  <a:pt x="198" y="401"/>
                </a:moveTo>
                <a:cubicBezTo>
                  <a:pt x="198" y="402"/>
                  <a:pt x="198" y="403"/>
                  <a:pt x="198" y="403"/>
                </a:cubicBezTo>
                <a:cubicBezTo>
                  <a:pt x="205" y="409"/>
                  <a:pt x="205" y="409"/>
                  <a:pt x="205" y="409"/>
                </a:cubicBezTo>
                <a:cubicBezTo>
                  <a:pt x="205" y="410"/>
                  <a:pt x="206" y="411"/>
                  <a:pt x="205" y="412"/>
                </a:cubicBezTo>
                <a:cubicBezTo>
                  <a:pt x="202" y="418"/>
                  <a:pt x="202" y="418"/>
                  <a:pt x="202" y="418"/>
                </a:cubicBezTo>
                <a:cubicBezTo>
                  <a:pt x="202" y="419"/>
                  <a:pt x="201" y="419"/>
                  <a:pt x="199" y="419"/>
                </a:cubicBezTo>
                <a:cubicBezTo>
                  <a:pt x="191" y="416"/>
                  <a:pt x="191" y="416"/>
                  <a:pt x="191" y="416"/>
                </a:cubicBezTo>
                <a:cubicBezTo>
                  <a:pt x="190" y="416"/>
                  <a:pt x="190" y="417"/>
                  <a:pt x="190" y="417"/>
                </a:cubicBezTo>
                <a:cubicBezTo>
                  <a:pt x="191" y="426"/>
                  <a:pt x="191" y="426"/>
                  <a:pt x="191" y="426"/>
                </a:cubicBezTo>
                <a:cubicBezTo>
                  <a:pt x="192" y="427"/>
                  <a:pt x="191" y="428"/>
                  <a:pt x="190" y="429"/>
                </a:cubicBezTo>
                <a:cubicBezTo>
                  <a:pt x="184" y="431"/>
                  <a:pt x="184" y="431"/>
                  <a:pt x="184" y="431"/>
                </a:cubicBezTo>
                <a:cubicBezTo>
                  <a:pt x="183" y="432"/>
                  <a:pt x="182" y="431"/>
                  <a:pt x="182" y="431"/>
                </a:cubicBezTo>
                <a:cubicBezTo>
                  <a:pt x="176" y="423"/>
                  <a:pt x="176" y="423"/>
                  <a:pt x="176" y="423"/>
                </a:cubicBezTo>
                <a:cubicBezTo>
                  <a:pt x="175" y="423"/>
                  <a:pt x="174" y="423"/>
                  <a:pt x="174" y="423"/>
                </a:cubicBezTo>
                <a:cubicBezTo>
                  <a:pt x="173" y="423"/>
                  <a:pt x="173" y="423"/>
                  <a:pt x="173" y="423"/>
                </a:cubicBezTo>
                <a:cubicBezTo>
                  <a:pt x="169" y="431"/>
                  <a:pt x="169" y="431"/>
                  <a:pt x="169" y="431"/>
                </a:cubicBezTo>
                <a:cubicBezTo>
                  <a:pt x="168" y="432"/>
                  <a:pt x="167" y="432"/>
                  <a:pt x="166" y="432"/>
                </a:cubicBezTo>
                <a:cubicBezTo>
                  <a:pt x="160" y="430"/>
                  <a:pt x="160" y="430"/>
                  <a:pt x="160" y="430"/>
                </a:cubicBezTo>
                <a:cubicBezTo>
                  <a:pt x="159" y="430"/>
                  <a:pt x="159" y="429"/>
                  <a:pt x="159" y="428"/>
                </a:cubicBezTo>
                <a:cubicBezTo>
                  <a:pt x="159" y="419"/>
                  <a:pt x="159" y="419"/>
                  <a:pt x="159" y="419"/>
                </a:cubicBezTo>
                <a:cubicBezTo>
                  <a:pt x="159" y="418"/>
                  <a:pt x="158" y="418"/>
                  <a:pt x="157" y="417"/>
                </a:cubicBezTo>
                <a:cubicBezTo>
                  <a:pt x="148" y="420"/>
                  <a:pt x="148" y="420"/>
                  <a:pt x="148" y="420"/>
                </a:cubicBezTo>
                <a:cubicBezTo>
                  <a:pt x="148" y="420"/>
                  <a:pt x="146" y="420"/>
                  <a:pt x="146" y="419"/>
                </a:cubicBezTo>
                <a:cubicBezTo>
                  <a:pt x="142" y="414"/>
                  <a:pt x="142" y="414"/>
                  <a:pt x="142" y="414"/>
                </a:cubicBezTo>
                <a:cubicBezTo>
                  <a:pt x="142" y="413"/>
                  <a:pt x="142" y="412"/>
                  <a:pt x="143" y="411"/>
                </a:cubicBezTo>
                <a:cubicBezTo>
                  <a:pt x="149" y="405"/>
                  <a:pt x="149" y="405"/>
                  <a:pt x="149" y="405"/>
                </a:cubicBezTo>
                <a:cubicBezTo>
                  <a:pt x="149" y="403"/>
                  <a:pt x="149" y="402"/>
                  <a:pt x="149" y="401"/>
                </a:cubicBezTo>
                <a:cubicBezTo>
                  <a:pt x="140" y="397"/>
                  <a:pt x="140" y="397"/>
                  <a:pt x="140" y="397"/>
                </a:cubicBezTo>
                <a:cubicBezTo>
                  <a:pt x="139" y="397"/>
                  <a:pt x="139" y="396"/>
                  <a:pt x="139" y="395"/>
                </a:cubicBezTo>
                <a:cubicBezTo>
                  <a:pt x="140" y="389"/>
                  <a:pt x="140" y="389"/>
                  <a:pt x="140" y="389"/>
                </a:cubicBezTo>
                <a:cubicBezTo>
                  <a:pt x="140" y="387"/>
                  <a:pt x="141" y="387"/>
                  <a:pt x="142" y="387"/>
                </a:cubicBezTo>
                <a:cubicBezTo>
                  <a:pt x="151" y="387"/>
                  <a:pt x="151" y="387"/>
                  <a:pt x="151" y="387"/>
                </a:cubicBezTo>
                <a:cubicBezTo>
                  <a:pt x="151" y="386"/>
                  <a:pt x="152" y="385"/>
                  <a:pt x="152" y="384"/>
                </a:cubicBezTo>
                <a:cubicBezTo>
                  <a:pt x="148" y="376"/>
                  <a:pt x="148" y="376"/>
                  <a:pt x="148" y="376"/>
                </a:cubicBezTo>
                <a:cubicBezTo>
                  <a:pt x="148" y="375"/>
                  <a:pt x="148" y="374"/>
                  <a:pt x="149" y="373"/>
                </a:cubicBezTo>
                <a:cubicBezTo>
                  <a:pt x="153" y="369"/>
                  <a:pt x="153" y="369"/>
                  <a:pt x="153" y="369"/>
                </a:cubicBezTo>
                <a:cubicBezTo>
                  <a:pt x="154" y="369"/>
                  <a:pt x="155" y="369"/>
                  <a:pt x="156" y="369"/>
                </a:cubicBezTo>
                <a:cubicBezTo>
                  <a:pt x="163" y="375"/>
                  <a:pt x="163" y="375"/>
                  <a:pt x="163" y="375"/>
                </a:cubicBezTo>
                <a:cubicBezTo>
                  <a:pt x="164" y="375"/>
                  <a:pt x="165" y="374"/>
                  <a:pt x="166" y="374"/>
                </a:cubicBezTo>
                <a:cubicBezTo>
                  <a:pt x="168" y="365"/>
                  <a:pt x="168" y="365"/>
                  <a:pt x="168" y="365"/>
                </a:cubicBezTo>
                <a:cubicBezTo>
                  <a:pt x="168" y="364"/>
                  <a:pt x="169" y="363"/>
                  <a:pt x="170" y="363"/>
                </a:cubicBezTo>
                <a:cubicBezTo>
                  <a:pt x="177" y="363"/>
                  <a:pt x="177" y="363"/>
                  <a:pt x="177" y="363"/>
                </a:cubicBezTo>
                <a:cubicBezTo>
                  <a:pt x="178" y="363"/>
                  <a:pt x="179" y="364"/>
                  <a:pt x="179" y="365"/>
                </a:cubicBezTo>
                <a:cubicBezTo>
                  <a:pt x="181" y="374"/>
                  <a:pt x="181" y="374"/>
                  <a:pt x="181" y="374"/>
                </a:cubicBezTo>
                <a:cubicBezTo>
                  <a:pt x="182" y="374"/>
                  <a:pt x="182" y="375"/>
                  <a:pt x="183" y="375"/>
                </a:cubicBezTo>
                <a:cubicBezTo>
                  <a:pt x="190" y="369"/>
                  <a:pt x="190" y="369"/>
                  <a:pt x="190" y="369"/>
                </a:cubicBezTo>
                <a:cubicBezTo>
                  <a:pt x="191" y="369"/>
                  <a:pt x="193" y="369"/>
                  <a:pt x="193" y="369"/>
                </a:cubicBezTo>
                <a:cubicBezTo>
                  <a:pt x="198" y="373"/>
                  <a:pt x="198" y="373"/>
                  <a:pt x="198" y="373"/>
                </a:cubicBezTo>
                <a:cubicBezTo>
                  <a:pt x="199" y="374"/>
                  <a:pt x="199" y="375"/>
                  <a:pt x="199" y="376"/>
                </a:cubicBezTo>
                <a:cubicBezTo>
                  <a:pt x="194" y="384"/>
                  <a:pt x="194" y="384"/>
                  <a:pt x="194" y="384"/>
                </a:cubicBezTo>
                <a:cubicBezTo>
                  <a:pt x="195" y="385"/>
                  <a:pt x="195" y="386"/>
                  <a:pt x="196" y="387"/>
                </a:cubicBezTo>
                <a:cubicBezTo>
                  <a:pt x="205" y="387"/>
                  <a:pt x="205" y="387"/>
                  <a:pt x="205" y="387"/>
                </a:cubicBezTo>
                <a:cubicBezTo>
                  <a:pt x="206" y="387"/>
                  <a:pt x="207" y="387"/>
                  <a:pt x="207" y="389"/>
                </a:cubicBezTo>
                <a:cubicBezTo>
                  <a:pt x="208" y="395"/>
                  <a:pt x="208" y="395"/>
                  <a:pt x="208" y="395"/>
                </a:cubicBezTo>
                <a:cubicBezTo>
                  <a:pt x="208" y="396"/>
                  <a:pt x="208" y="397"/>
                  <a:pt x="207" y="397"/>
                </a:cubicBezTo>
                <a:cubicBezTo>
                  <a:pt x="198" y="401"/>
                  <a:pt x="198" y="401"/>
                  <a:pt x="198" y="401"/>
                </a:cubicBezTo>
                <a:close/>
                <a:moveTo>
                  <a:pt x="187" y="398"/>
                </a:moveTo>
                <a:cubicBezTo>
                  <a:pt x="187" y="391"/>
                  <a:pt x="181" y="385"/>
                  <a:pt x="174" y="385"/>
                </a:cubicBezTo>
                <a:cubicBezTo>
                  <a:pt x="166" y="385"/>
                  <a:pt x="160" y="391"/>
                  <a:pt x="160" y="398"/>
                </a:cubicBezTo>
                <a:cubicBezTo>
                  <a:pt x="160" y="405"/>
                  <a:pt x="166" y="411"/>
                  <a:pt x="174" y="411"/>
                </a:cubicBezTo>
                <a:cubicBezTo>
                  <a:pt x="181" y="411"/>
                  <a:pt x="187" y="405"/>
                  <a:pt x="187" y="398"/>
                </a:cubicBezTo>
                <a:close/>
                <a:moveTo>
                  <a:pt x="506" y="593"/>
                </a:moveTo>
                <a:cubicBezTo>
                  <a:pt x="506" y="592"/>
                  <a:pt x="507" y="592"/>
                  <a:pt x="507" y="591"/>
                </a:cubicBezTo>
                <a:cubicBezTo>
                  <a:pt x="503" y="583"/>
                  <a:pt x="503" y="583"/>
                  <a:pt x="503" y="583"/>
                </a:cubicBezTo>
                <a:cubicBezTo>
                  <a:pt x="502" y="582"/>
                  <a:pt x="502" y="581"/>
                  <a:pt x="503" y="580"/>
                </a:cubicBezTo>
                <a:cubicBezTo>
                  <a:pt x="508" y="576"/>
                  <a:pt x="508" y="576"/>
                  <a:pt x="508" y="576"/>
                </a:cubicBezTo>
                <a:cubicBezTo>
                  <a:pt x="509" y="575"/>
                  <a:pt x="510" y="575"/>
                  <a:pt x="511" y="576"/>
                </a:cubicBezTo>
                <a:cubicBezTo>
                  <a:pt x="518" y="582"/>
                  <a:pt x="518" y="582"/>
                  <a:pt x="518" y="582"/>
                </a:cubicBezTo>
                <a:cubicBezTo>
                  <a:pt x="519" y="581"/>
                  <a:pt x="520" y="581"/>
                  <a:pt x="521" y="581"/>
                </a:cubicBezTo>
                <a:cubicBezTo>
                  <a:pt x="523" y="572"/>
                  <a:pt x="523" y="572"/>
                  <a:pt x="523" y="572"/>
                </a:cubicBezTo>
                <a:cubicBezTo>
                  <a:pt x="523" y="571"/>
                  <a:pt x="524" y="570"/>
                  <a:pt x="525" y="570"/>
                </a:cubicBezTo>
                <a:cubicBezTo>
                  <a:pt x="531" y="570"/>
                  <a:pt x="531" y="570"/>
                  <a:pt x="531" y="570"/>
                </a:cubicBezTo>
                <a:cubicBezTo>
                  <a:pt x="532" y="570"/>
                  <a:pt x="533" y="571"/>
                  <a:pt x="533" y="572"/>
                </a:cubicBezTo>
                <a:cubicBezTo>
                  <a:pt x="535" y="581"/>
                  <a:pt x="535" y="581"/>
                  <a:pt x="535" y="581"/>
                </a:cubicBezTo>
                <a:cubicBezTo>
                  <a:pt x="536" y="581"/>
                  <a:pt x="537" y="581"/>
                  <a:pt x="538" y="582"/>
                </a:cubicBezTo>
                <a:cubicBezTo>
                  <a:pt x="545" y="576"/>
                  <a:pt x="545" y="576"/>
                  <a:pt x="545" y="576"/>
                </a:cubicBezTo>
                <a:cubicBezTo>
                  <a:pt x="546" y="575"/>
                  <a:pt x="547" y="575"/>
                  <a:pt x="548" y="576"/>
                </a:cubicBezTo>
                <a:cubicBezTo>
                  <a:pt x="553" y="580"/>
                  <a:pt x="553" y="580"/>
                  <a:pt x="553" y="580"/>
                </a:cubicBezTo>
                <a:cubicBezTo>
                  <a:pt x="553" y="581"/>
                  <a:pt x="554" y="582"/>
                  <a:pt x="553" y="583"/>
                </a:cubicBezTo>
                <a:cubicBezTo>
                  <a:pt x="549" y="591"/>
                  <a:pt x="549" y="591"/>
                  <a:pt x="549" y="591"/>
                </a:cubicBezTo>
                <a:cubicBezTo>
                  <a:pt x="549" y="592"/>
                  <a:pt x="550" y="592"/>
                  <a:pt x="550" y="593"/>
                </a:cubicBezTo>
                <a:cubicBezTo>
                  <a:pt x="559" y="593"/>
                  <a:pt x="559" y="593"/>
                  <a:pt x="559" y="593"/>
                </a:cubicBezTo>
                <a:cubicBezTo>
                  <a:pt x="560" y="593"/>
                  <a:pt x="561" y="594"/>
                  <a:pt x="561" y="595"/>
                </a:cubicBezTo>
                <a:cubicBezTo>
                  <a:pt x="563" y="601"/>
                  <a:pt x="563" y="601"/>
                  <a:pt x="563" y="601"/>
                </a:cubicBezTo>
                <a:cubicBezTo>
                  <a:pt x="563" y="602"/>
                  <a:pt x="562" y="604"/>
                  <a:pt x="561" y="604"/>
                </a:cubicBezTo>
                <a:cubicBezTo>
                  <a:pt x="553" y="607"/>
                  <a:pt x="553" y="607"/>
                  <a:pt x="553" y="607"/>
                </a:cubicBezTo>
                <a:cubicBezTo>
                  <a:pt x="553" y="608"/>
                  <a:pt x="553" y="609"/>
                  <a:pt x="552" y="610"/>
                </a:cubicBezTo>
                <a:cubicBezTo>
                  <a:pt x="559" y="616"/>
                  <a:pt x="559" y="616"/>
                  <a:pt x="559" y="616"/>
                </a:cubicBezTo>
                <a:cubicBezTo>
                  <a:pt x="560" y="617"/>
                  <a:pt x="560" y="618"/>
                  <a:pt x="560" y="619"/>
                </a:cubicBezTo>
                <a:cubicBezTo>
                  <a:pt x="557" y="624"/>
                  <a:pt x="557" y="624"/>
                  <a:pt x="557" y="624"/>
                </a:cubicBezTo>
                <a:cubicBezTo>
                  <a:pt x="556" y="625"/>
                  <a:pt x="555" y="626"/>
                  <a:pt x="554" y="626"/>
                </a:cubicBezTo>
                <a:cubicBezTo>
                  <a:pt x="545" y="623"/>
                  <a:pt x="545" y="623"/>
                  <a:pt x="545" y="623"/>
                </a:cubicBezTo>
                <a:cubicBezTo>
                  <a:pt x="545" y="623"/>
                  <a:pt x="545" y="623"/>
                  <a:pt x="544" y="624"/>
                </a:cubicBezTo>
                <a:cubicBezTo>
                  <a:pt x="546" y="633"/>
                  <a:pt x="546" y="633"/>
                  <a:pt x="546" y="633"/>
                </a:cubicBezTo>
                <a:cubicBezTo>
                  <a:pt x="546" y="634"/>
                  <a:pt x="546" y="635"/>
                  <a:pt x="545" y="635"/>
                </a:cubicBezTo>
                <a:cubicBezTo>
                  <a:pt x="539" y="638"/>
                  <a:pt x="539" y="638"/>
                  <a:pt x="539" y="638"/>
                </a:cubicBezTo>
                <a:cubicBezTo>
                  <a:pt x="538" y="638"/>
                  <a:pt x="537" y="638"/>
                  <a:pt x="536" y="637"/>
                </a:cubicBezTo>
                <a:cubicBezTo>
                  <a:pt x="531" y="630"/>
                  <a:pt x="531" y="630"/>
                  <a:pt x="531" y="630"/>
                </a:cubicBezTo>
                <a:cubicBezTo>
                  <a:pt x="530" y="630"/>
                  <a:pt x="529" y="630"/>
                  <a:pt x="528" y="630"/>
                </a:cubicBezTo>
                <a:cubicBezTo>
                  <a:pt x="528" y="630"/>
                  <a:pt x="528" y="630"/>
                  <a:pt x="528" y="630"/>
                </a:cubicBezTo>
                <a:cubicBezTo>
                  <a:pt x="523" y="638"/>
                  <a:pt x="523" y="638"/>
                  <a:pt x="523" y="638"/>
                </a:cubicBezTo>
                <a:cubicBezTo>
                  <a:pt x="523" y="639"/>
                  <a:pt x="522" y="639"/>
                  <a:pt x="521" y="639"/>
                </a:cubicBezTo>
                <a:cubicBezTo>
                  <a:pt x="515" y="637"/>
                  <a:pt x="515" y="637"/>
                  <a:pt x="515" y="637"/>
                </a:cubicBezTo>
                <a:cubicBezTo>
                  <a:pt x="514" y="637"/>
                  <a:pt x="513" y="636"/>
                  <a:pt x="513" y="634"/>
                </a:cubicBezTo>
                <a:cubicBezTo>
                  <a:pt x="514" y="626"/>
                  <a:pt x="514" y="626"/>
                  <a:pt x="514" y="626"/>
                </a:cubicBezTo>
                <a:cubicBezTo>
                  <a:pt x="513" y="625"/>
                  <a:pt x="512" y="624"/>
                  <a:pt x="511" y="624"/>
                </a:cubicBezTo>
                <a:cubicBezTo>
                  <a:pt x="503" y="627"/>
                  <a:pt x="503" y="627"/>
                  <a:pt x="503" y="627"/>
                </a:cubicBezTo>
                <a:cubicBezTo>
                  <a:pt x="502" y="627"/>
                  <a:pt x="501" y="627"/>
                  <a:pt x="500" y="626"/>
                </a:cubicBezTo>
                <a:cubicBezTo>
                  <a:pt x="497" y="621"/>
                  <a:pt x="497" y="621"/>
                  <a:pt x="497" y="621"/>
                </a:cubicBezTo>
                <a:cubicBezTo>
                  <a:pt x="496" y="620"/>
                  <a:pt x="496" y="618"/>
                  <a:pt x="497" y="618"/>
                </a:cubicBezTo>
                <a:cubicBezTo>
                  <a:pt x="504" y="611"/>
                  <a:pt x="504" y="611"/>
                  <a:pt x="504" y="611"/>
                </a:cubicBezTo>
                <a:cubicBezTo>
                  <a:pt x="504" y="610"/>
                  <a:pt x="503" y="609"/>
                  <a:pt x="503" y="607"/>
                </a:cubicBezTo>
                <a:cubicBezTo>
                  <a:pt x="495" y="604"/>
                  <a:pt x="495" y="604"/>
                  <a:pt x="495" y="604"/>
                </a:cubicBezTo>
                <a:cubicBezTo>
                  <a:pt x="494" y="604"/>
                  <a:pt x="493" y="602"/>
                  <a:pt x="493" y="602"/>
                </a:cubicBezTo>
                <a:cubicBezTo>
                  <a:pt x="494" y="595"/>
                  <a:pt x="494" y="595"/>
                  <a:pt x="494" y="595"/>
                </a:cubicBezTo>
                <a:cubicBezTo>
                  <a:pt x="495" y="594"/>
                  <a:pt x="496" y="593"/>
                  <a:pt x="497" y="593"/>
                </a:cubicBezTo>
                <a:cubicBezTo>
                  <a:pt x="506" y="593"/>
                  <a:pt x="506" y="593"/>
                  <a:pt x="506" y="593"/>
                </a:cubicBezTo>
                <a:close/>
                <a:moveTo>
                  <a:pt x="515" y="605"/>
                </a:moveTo>
                <a:cubicBezTo>
                  <a:pt x="515" y="612"/>
                  <a:pt x="521" y="618"/>
                  <a:pt x="528" y="618"/>
                </a:cubicBezTo>
                <a:cubicBezTo>
                  <a:pt x="535" y="618"/>
                  <a:pt x="541" y="612"/>
                  <a:pt x="541" y="605"/>
                </a:cubicBezTo>
                <a:cubicBezTo>
                  <a:pt x="541" y="597"/>
                  <a:pt x="535" y="591"/>
                  <a:pt x="528" y="591"/>
                </a:cubicBezTo>
                <a:cubicBezTo>
                  <a:pt x="521" y="591"/>
                  <a:pt x="515" y="597"/>
                  <a:pt x="515" y="605"/>
                </a:cubicBezTo>
                <a:close/>
                <a:moveTo>
                  <a:pt x="172" y="260"/>
                </a:moveTo>
                <a:cubicBezTo>
                  <a:pt x="173" y="259"/>
                  <a:pt x="173" y="258"/>
                  <a:pt x="173" y="257"/>
                </a:cubicBezTo>
                <a:cubicBezTo>
                  <a:pt x="172" y="251"/>
                  <a:pt x="172" y="251"/>
                  <a:pt x="172" y="251"/>
                </a:cubicBezTo>
                <a:cubicBezTo>
                  <a:pt x="172" y="250"/>
                  <a:pt x="171" y="249"/>
                  <a:pt x="170" y="249"/>
                </a:cubicBezTo>
                <a:cubicBezTo>
                  <a:pt x="170" y="249"/>
                  <a:pt x="170" y="249"/>
                  <a:pt x="161" y="249"/>
                </a:cubicBezTo>
                <a:cubicBezTo>
                  <a:pt x="160" y="248"/>
                  <a:pt x="160" y="247"/>
                  <a:pt x="160" y="247"/>
                </a:cubicBezTo>
                <a:cubicBezTo>
                  <a:pt x="160" y="247"/>
                  <a:pt x="160" y="247"/>
                  <a:pt x="164" y="239"/>
                </a:cubicBezTo>
                <a:cubicBezTo>
                  <a:pt x="164" y="238"/>
                  <a:pt x="164" y="236"/>
                  <a:pt x="163" y="236"/>
                </a:cubicBezTo>
                <a:cubicBezTo>
                  <a:pt x="163" y="236"/>
                  <a:pt x="163" y="236"/>
                  <a:pt x="159" y="232"/>
                </a:cubicBezTo>
                <a:cubicBezTo>
                  <a:pt x="158" y="231"/>
                  <a:pt x="158" y="231"/>
                  <a:pt x="158" y="231"/>
                </a:cubicBezTo>
                <a:cubicBezTo>
                  <a:pt x="153" y="237"/>
                  <a:pt x="148" y="242"/>
                  <a:pt x="144" y="248"/>
                </a:cubicBezTo>
                <a:cubicBezTo>
                  <a:pt x="148" y="250"/>
                  <a:pt x="152" y="255"/>
                  <a:pt x="152" y="260"/>
                </a:cubicBezTo>
                <a:cubicBezTo>
                  <a:pt x="152" y="268"/>
                  <a:pt x="146" y="273"/>
                  <a:pt x="139" y="273"/>
                </a:cubicBezTo>
                <a:cubicBezTo>
                  <a:pt x="134" y="273"/>
                  <a:pt x="131" y="271"/>
                  <a:pt x="128" y="268"/>
                </a:cubicBezTo>
                <a:cubicBezTo>
                  <a:pt x="125" y="272"/>
                  <a:pt x="123" y="276"/>
                  <a:pt x="120" y="280"/>
                </a:cubicBezTo>
                <a:cubicBezTo>
                  <a:pt x="121" y="280"/>
                  <a:pt x="121" y="280"/>
                  <a:pt x="122" y="279"/>
                </a:cubicBezTo>
                <a:cubicBezTo>
                  <a:pt x="123" y="280"/>
                  <a:pt x="124" y="280"/>
                  <a:pt x="125" y="281"/>
                </a:cubicBezTo>
                <a:cubicBezTo>
                  <a:pt x="125" y="281"/>
                  <a:pt x="125" y="281"/>
                  <a:pt x="124" y="290"/>
                </a:cubicBezTo>
                <a:cubicBezTo>
                  <a:pt x="124" y="291"/>
                  <a:pt x="124" y="292"/>
                  <a:pt x="125" y="292"/>
                </a:cubicBezTo>
                <a:cubicBezTo>
                  <a:pt x="125" y="292"/>
                  <a:pt x="125" y="292"/>
                  <a:pt x="131" y="294"/>
                </a:cubicBezTo>
                <a:cubicBezTo>
                  <a:pt x="132" y="295"/>
                  <a:pt x="133" y="294"/>
                  <a:pt x="134" y="293"/>
                </a:cubicBezTo>
                <a:cubicBezTo>
                  <a:pt x="134" y="293"/>
                  <a:pt x="134" y="293"/>
                  <a:pt x="138" y="285"/>
                </a:cubicBezTo>
                <a:cubicBezTo>
                  <a:pt x="138" y="285"/>
                  <a:pt x="138" y="285"/>
                  <a:pt x="139" y="285"/>
                </a:cubicBezTo>
                <a:cubicBezTo>
                  <a:pt x="140" y="285"/>
                  <a:pt x="141" y="285"/>
                  <a:pt x="141" y="285"/>
                </a:cubicBezTo>
                <a:cubicBezTo>
                  <a:pt x="141" y="285"/>
                  <a:pt x="141" y="285"/>
                  <a:pt x="147" y="293"/>
                </a:cubicBezTo>
                <a:cubicBezTo>
                  <a:pt x="147" y="293"/>
                  <a:pt x="148" y="294"/>
                  <a:pt x="149" y="293"/>
                </a:cubicBezTo>
                <a:cubicBezTo>
                  <a:pt x="149" y="293"/>
                  <a:pt x="149" y="293"/>
                  <a:pt x="155" y="291"/>
                </a:cubicBezTo>
                <a:cubicBezTo>
                  <a:pt x="156" y="291"/>
                  <a:pt x="157" y="289"/>
                  <a:pt x="156" y="288"/>
                </a:cubicBezTo>
                <a:cubicBezTo>
                  <a:pt x="156" y="288"/>
                  <a:pt x="156" y="288"/>
                  <a:pt x="155" y="280"/>
                </a:cubicBezTo>
                <a:cubicBezTo>
                  <a:pt x="155" y="279"/>
                  <a:pt x="156" y="279"/>
                  <a:pt x="156" y="278"/>
                </a:cubicBezTo>
                <a:cubicBezTo>
                  <a:pt x="156" y="278"/>
                  <a:pt x="156" y="278"/>
                  <a:pt x="164" y="281"/>
                </a:cubicBezTo>
                <a:cubicBezTo>
                  <a:pt x="166" y="281"/>
                  <a:pt x="167" y="281"/>
                  <a:pt x="167" y="280"/>
                </a:cubicBezTo>
                <a:cubicBezTo>
                  <a:pt x="167" y="280"/>
                  <a:pt x="167" y="280"/>
                  <a:pt x="170" y="274"/>
                </a:cubicBezTo>
                <a:cubicBezTo>
                  <a:pt x="171" y="273"/>
                  <a:pt x="171" y="272"/>
                  <a:pt x="170" y="272"/>
                </a:cubicBezTo>
                <a:cubicBezTo>
                  <a:pt x="170" y="272"/>
                  <a:pt x="170" y="272"/>
                  <a:pt x="163" y="266"/>
                </a:cubicBezTo>
                <a:cubicBezTo>
                  <a:pt x="163" y="265"/>
                  <a:pt x="163" y="264"/>
                  <a:pt x="163" y="263"/>
                </a:cubicBezTo>
                <a:cubicBezTo>
                  <a:pt x="163" y="263"/>
                  <a:pt x="163" y="263"/>
                  <a:pt x="172" y="260"/>
                </a:cubicBezTo>
                <a:close/>
                <a:moveTo>
                  <a:pt x="174" y="392"/>
                </a:moveTo>
                <a:cubicBezTo>
                  <a:pt x="170" y="392"/>
                  <a:pt x="168" y="395"/>
                  <a:pt x="168" y="398"/>
                </a:cubicBezTo>
                <a:cubicBezTo>
                  <a:pt x="168" y="401"/>
                  <a:pt x="170" y="404"/>
                  <a:pt x="174" y="404"/>
                </a:cubicBezTo>
                <a:cubicBezTo>
                  <a:pt x="177" y="404"/>
                  <a:pt x="179" y="401"/>
                  <a:pt x="179" y="398"/>
                </a:cubicBezTo>
                <a:cubicBezTo>
                  <a:pt x="179" y="395"/>
                  <a:pt x="177" y="392"/>
                  <a:pt x="174" y="392"/>
                </a:cubicBezTo>
                <a:close/>
                <a:moveTo>
                  <a:pt x="229" y="497"/>
                </a:moveTo>
                <a:cubicBezTo>
                  <a:pt x="230" y="488"/>
                  <a:pt x="230" y="488"/>
                  <a:pt x="230" y="488"/>
                </a:cubicBezTo>
                <a:cubicBezTo>
                  <a:pt x="229" y="487"/>
                  <a:pt x="229" y="487"/>
                  <a:pt x="228" y="486"/>
                </a:cubicBezTo>
                <a:cubicBezTo>
                  <a:pt x="219" y="489"/>
                  <a:pt x="219" y="489"/>
                  <a:pt x="219" y="489"/>
                </a:cubicBezTo>
                <a:cubicBezTo>
                  <a:pt x="218" y="489"/>
                  <a:pt x="217" y="489"/>
                  <a:pt x="217" y="488"/>
                </a:cubicBezTo>
                <a:cubicBezTo>
                  <a:pt x="213" y="483"/>
                  <a:pt x="213" y="483"/>
                  <a:pt x="213" y="483"/>
                </a:cubicBezTo>
                <a:cubicBezTo>
                  <a:pt x="213" y="482"/>
                  <a:pt x="213" y="481"/>
                  <a:pt x="214" y="480"/>
                </a:cubicBezTo>
                <a:cubicBezTo>
                  <a:pt x="220" y="474"/>
                  <a:pt x="220" y="474"/>
                  <a:pt x="220" y="474"/>
                </a:cubicBezTo>
                <a:cubicBezTo>
                  <a:pt x="220" y="472"/>
                  <a:pt x="220" y="471"/>
                  <a:pt x="220" y="470"/>
                </a:cubicBezTo>
                <a:cubicBezTo>
                  <a:pt x="211" y="466"/>
                  <a:pt x="211" y="466"/>
                  <a:pt x="211" y="466"/>
                </a:cubicBezTo>
                <a:cubicBezTo>
                  <a:pt x="210" y="466"/>
                  <a:pt x="210" y="465"/>
                  <a:pt x="210" y="464"/>
                </a:cubicBezTo>
                <a:cubicBezTo>
                  <a:pt x="211" y="458"/>
                  <a:pt x="211" y="458"/>
                  <a:pt x="211" y="458"/>
                </a:cubicBezTo>
                <a:cubicBezTo>
                  <a:pt x="211" y="456"/>
                  <a:pt x="212" y="455"/>
                  <a:pt x="213" y="455"/>
                </a:cubicBezTo>
                <a:cubicBezTo>
                  <a:pt x="222" y="455"/>
                  <a:pt x="222" y="455"/>
                  <a:pt x="222" y="455"/>
                </a:cubicBezTo>
                <a:cubicBezTo>
                  <a:pt x="222" y="455"/>
                  <a:pt x="223" y="454"/>
                  <a:pt x="223" y="453"/>
                </a:cubicBezTo>
                <a:cubicBezTo>
                  <a:pt x="219" y="445"/>
                  <a:pt x="219" y="445"/>
                  <a:pt x="219" y="445"/>
                </a:cubicBezTo>
                <a:cubicBezTo>
                  <a:pt x="218" y="444"/>
                  <a:pt x="219" y="443"/>
                  <a:pt x="220" y="442"/>
                </a:cubicBezTo>
                <a:cubicBezTo>
                  <a:pt x="224" y="438"/>
                  <a:pt x="224" y="438"/>
                  <a:pt x="224" y="438"/>
                </a:cubicBezTo>
                <a:cubicBezTo>
                  <a:pt x="225" y="438"/>
                  <a:pt x="226" y="438"/>
                  <a:pt x="227" y="438"/>
                </a:cubicBezTo>
                <a:cubicBezTo>
                  <a:pt x="234" y="444"/>
                  <a:pt x="234" y="444"/>
                  <a:pt x="234" y="444"/>
                </a:cubicBezTo>
                <a:cubicBezTo>
                  <a:pt x="235" y="443"/>
                  <a:pt x="236" y="443"/>
                  <a:pt x="237" y="443"/>
                </a:cubicBezTo>
                <a:cubicBezTo>
                  <a:pt x="239" y="434"/>
                  <a:pt x="239" y="434"/>
                  <a:pt x="239" y="434"/>
                </a:cubicBezTo>
                <a:cubicBezTo>
                  <a:pt x="239" y="433"/>
                  <a:pt x="240" y="432"/>
                  <a:pt x="241" y="432"/>
                </a:cubicBezTo>
                <a:cubicBezTo>
                  <a:pt x="248" y="432"/>
                  <a:pt x="248" y="432"/>
                  <a:pt x="248" y="432"/>
                </a:cubicBezTo>
                <a:cubicBezTo>
                  <a:pt x="248" y="432"/>
                  <a:pt x="250" y="433"/>
                  <a:pt x="250" y="434"/>
                </a:cubicBezTo>
                <a:cubicBezTo>
                  <a:pt x="252" y="443"/>
                  <a:pt x="252" y="443"/>
                  <a:pt x="252" y="443"/>
                </a:cubicBezTo>
                <a:cubicBezTo>
                  <a:pt x="252" y="443"/>
                  <a:pt x="253" y="443"/>
                  <a:pt x="254" y="444"/>
                </a:cubicBezTo>
                <a:cubicBezTo>
                  <a:pt x="261" y="438"/>
                  <a:pt x="261" y="438"/>
                  <a:pt x="261" y="438"/>
                </a:cubicBezTo>
                <a:cubicBezTo>
                  <a:pt x="262" y="438"/>
                  <a:pt x="263" y="438"/>
                  <a:pt x="264" y="438"/>
                </a:cubicBezTo>
                <a:cubicBezTo>
                  <a:pt x="269" y="442"/>
                  <a:pt x="269" y="442"/>
                  <a:pt x="269" y="442"/>
                </a:cubicBezTo>
                <a:cubicBezTo>
                  <a:pt x="270" y="443"/>
                  <a:pt x="270" y="444"/>
                  <a:pt x="270" y="445"/>
                </a:cubicBezTo>
                <a:cubicBezTo>
                  <a:pt x="265" y="453"/>
                  <a:pt x="265" y="453"/>
                  <a:pt x="265" y="453"/>
                </a:cubicBezTo>
                <a:cubicBezTo>
                  <a:pt x="266" y="454"/>
                  <a:pt x="266" y="455"/>
                  <a:pt x="267" y="455"/>
                </a:cubicBezTo>
                <a:cubicBezTo>
                  <a:pt x="276" y="455"/>
                  <a:pt x="276" y="455"/>
                  <a:pt x="276" y="455"/>
                </a:cubicBezTo>
                <a:cubicBezTo>
                  <a:pt x="277" y="455"/>
                  <a:pt x="278" y="456"/>
                  <a:pt x="278" y="458"/>
                </a:cubicBezTo>
                <a:cubicBezTo>
                  <a:pt x="279" y="463"/>
                  <a:pt x="279" y="463"/>
                  <a:pt x="279" y="463"/>
                </a:cubicBezTo>
                <a:cubicBezTo>
                  <a:pt x="279" y="465"/>
                  <a:pt x="278" y="466"/>
                  <a:pt x="278" y="466"/>
                </a:cubicBezTo>
                <a:cubicBezTo>
                  <a:pt x="269" y="470"/>
                  <a:pt x="269" y="470"/>
                  <a:pt x="269" y="470"/>
                </a:cubicBezTo>
                <a:cubicBezTo>
                  <a:pt x="269" y="471"/>
                  <a:pt x="269" y="471"/>
                  <a:pt x="269" y="472"/>
                </a:cubicBezTo>
                <a:cubicBezTo>
                  <a:pt x="276" y="478"/>
                  <a:pt x="276" y="478"/>
                  <a:pt x="276" y="478"/>
                </a:cubicBezTo>
                <a:cubicBezTo>
                  <a:pt x="276" y="479"/>
                  <a:pt x="277" y="480"/>
                  <a:pt x="276" y="481"/>
                </a:cubicBezTo>
                <a:cubicBezTo>
                  <a:pt x="273" y="487"/>
                  <a:pt x="273" y="487"/>
                  <a:pt x="273" y="487"/>
                </a:cubicBezTo>
                <a:cubicBezTo>
                  <a:pt x="273" y="487"/>
                  <a:pt x="271" y="488"/>
                  <a:pt x="270" y="488"/>
                </a:cubicBezTo>
                <a:cubicBezTo>
                  <a:pt x="262" y="485"/>
                  <a:pt x="262" y="485"/>
                  <a:pt x="262" y="485"/>
                </a:cubicBezTo>
                <a:cubicBezTo>
                  <a:pt x="261" y="485"/>
                  <a:pt x="261" y="486"/>
                  <a:pt x="260" y="486"/>
                </a:cubicBezTo>
                <a:cubicBezTo>
                  <a:pt x="262" y="495"/>
                  <a:pt x="262" y="495"/>
                  <a:pt x="262" y="495"/>
                </a:cubicBezTo>
                <a:cubicBezTo>
                  <a:pt x="263" y="496"/>
                  <a:pt x="262" y="497"/>
                  <a:pt x="261" y="498"/>
                </a:cubicBezTo>
                <a:cubicBezTo>
                  <a:pt x="255" y="500"/>
                  <a:pt x="255" y="500"/>
                  <a:pt x="255" y="500"/>
                </a:cubicBezTo>
                <a:cubicBezTo>
                  <a:pt x="254" y="501"/>
                  <a:pt x="253" y="500"/>
                  <a:pt x="252" y="499"/>
                </a:cubicBezTo>
                <a:cubicBezTo>
                  <a:pt x="247" y="492"/>
                  <a:pt x="247" y="492"/>
                  <a:pt x="247" y="492"/>
                </a:cubicBezTo>
                <a:cubicBezTo>
                  <a:pt x="246" y="492"/>
                  <a:pt x="245" y="492"/>
                  <a:pt x="244" y="492"/>
                </a:cubicBezTo>
                <a:cubicBezTo>
                  <a:pt x="244" y="492"/>
                  <a:pt x="244" y="492"/>
                  <a:pt x="244" y="492"/>
                </a:cubicBezTo>
                <a:cubicBezTo>
                  <a:pt x="240" y="500"/>
                  <a:pt x="240" y="500"/>
                  <a:pt x="240" y="500"/>
                </a:cubicBezTo>
                <a:cubicBezTo>
                  <a:pt x="239" y="501"/>
                  <a:pt x="238" y="501"/>
                  <a:pt x="237" y="501"/>
                </a:cubicBezTo>
                <a:cubicBezTo>
                  <a:pt x="231" y="499"/>
                  <a:pt x="231" y="499"/>
                  <a:pt x="231" y="499"/>
                </a:cubicBezTo>
                <a:cubicBezTo>
                  <a:pt x="230" y="499"/>
                  <a:pt x="229" y="498"/>
                  <a:pt x="229" y="497"/>
                </a:cubicBezTo>
                <a:close/>
                <a:moveTo>
                  <a:pt x="231" y="467"/>
                </a:moveTo>
                <a:cubicBezTo>
                  <a:pt x="231" y="474"/>
                  <a:pt x="237" y="480"/>
                  <a:pt x="244" y="480"/>
                </a:cubicBezTo>
                <a:cubicBezTo>
                  <a:pt x="252" y="480"/>
                  <a:pt x="258" y="474"/>
                  <a:pt x="258" y="467"/>
                </a:cubicBezTo>
                <a:cubicBezTo>
                  <a:pt x="258" y="459"/>
                  <a:pt x="252" y="454"/>
                  <a:pt x="244" y="454"/>
                </a:cubicBezTo>
                <a:cubicBezTo>
                  <a:pt x="237" y="454"/>
                  <a:pt x="231" y="459"/>
                  <a:pt x="231" y="467"/>
                </a:cubicBezTo>
                <a:close/>
                <a:moveTo>
                  <a:pt x="244" y="473"/>
                </a:moveTo>
                <a:cubicBezTo>
                  <a:pt x="248" y="473"/>
                  <a:pt x="250" y="470"/>
                  <a:pt x="250" y="467"/>
                </a:cubicBezTo>
                <a:cubicBezTo>
                  <a:pt x="250" y="464"/>
                  <a:pt x="248" y="461"/>
                  <a:pt x="244" y="461"/>
                </a:cubicBezTo>
                <a:cubicBezTo>
                  <a:pt x="241" y="461"/>
                  <a:pt x="239" y="464"/>
                  <a:pt x="239" y="467"/>
                </a:cubicBezTo>
                <a:cubicBezTo>
                  <a:pt x="239" y="470"/>
                  <a:pt x="241" y="473"/>
                  <a:pt x="244" y="473"/>
                </a:cubicBezTo>
                <a:close/>
                <a:moveTo>
                  <a:pt x="215" y="329"/>
                </a:moveTo>
                <a:cubicBezTo>
                  <a:pt x="215" y="326"/>
                  <a:pt x="213" y="323"/>
                  <a:pt x="210" y="323"/>
                </a:cubicBezTo>
                <a:cubicBezTo>
                  <a:pt x="206" y="323"/>
                  <a:pt x="204" y="326"/>
                  <a:pt x="204" y="329"/>
                </a:cubicBezTo>
                <a:cubicBezTo>
                  <a:pt x="204" y="332"/>
                  <a:pt x="206" y="335"/>
                  <a:pt x="210" y="335"/>
                </a:cubicBezTo>
                <a:cubicBezTo>
                  <a:pt x="213" y="335"/>
                  <a:pt x="215" y="332"/>
                  <a:pt x="215" y="329"/>
                </a:cubicBezTo>
                <a:close/>
                <a:moveTo>
                  <a:pt x="241" y="363"/>
                </a:moveTo>
                <a:cubicBezTo>
                  <a:pt x="248" y="363"/>
                  <a:pt x="248" y="363"/>
                  <a:pt x="248" y="363"/>
                </a:cubicBezTo>
                <a:cubicBezTo>
                  <a:pt x="248" y="363"/>
                  <a:pt x="250" y="364"/>
                  <a:pt x="250" y="365"/>
                </a:cubicBezTo>
                <a:cubicBezTo>
                  <a:pt x="252" y="374"/>
                  <a:pt x="252" y="374"/>
                  <a:pt x="252" y="374"/>
                </a:cubicBezTo>
                <a:cubicBezTo>
                  <a:pt x="252" y="374"/>
                  <a:pt x="253" y="375"/>
                  <a:pt x="254" y="375"/>
                </a:cubicBezTo>
                <a:cubicBezTo>
                  <a:pt x="261" y="369"/>
                  <a:pt x="261" y="369"/>
                  <a:pt x="261" y="369"/>
                </a:cubicBezTo>
                <a:cubicBezTo>
                  <a:pt x="262" y="369"/>
                  <a:pt x="263" y="369"/>
                  <a:pt x="264" y="369"/>
                </a:cubicBezTo>
                <a:cubicBezTo>
                  <a:pt x="269" y="373"/>
                  <a:pt x="269" y="373"/>
                  <a:pt x="269" y="373"/>
                </a:cubicBezTo>
                <a:cubicBezTo>
                  <a:pt x="270" y="374"/>
                  <a:pt x="270" y="375"/>
                  <a:pt x="270" y="376"/>
                </a:cubicBezTo>
                <a:cubicBezTo>
                  <a:pt x="265" y="384"/>
                  <a:pt x="265" y="384"/>
                  <a:pt x="265" y="384"/>
                </a:cubicBezTo>
                <a:cubicBezTo>
                  <a:pt x="266" y="385"/>
                  <a:pt x="266" y="386"/>
                  <a:pt x="267" y="387"/>
                </a:cubicBezTo>
                <a:cubicBezTo>
                  <a:pt x="276" y="387"/>
                  <a:pt x="276" y="387"/>
                  <a:pt x="276" y="387"/>
                </a:cubicBezTo>
                <a:cubicBezTo>
                  <a:pt x="277" y="387"/>
                  <a:pt x="278" y="387"/>
                  <a:pt x="278" y="389"/>
                </a:cubicBezTo>
                <a:cubicBezTo>
                  <a:pt x="279" y="395"/>
                  <a:pt x="279" y="395"/>
                  <a:pt x="279" y="395"/>
                </a:cubicBezTo>
                <a:cubicBezTo>
                  <a:pt x="279" y="396"/>
                  <a:pt x="278" y="397"/>
                  <a:pt x="278" y="397"/>
                </a:cubicBezTo>
                <a:cubicBezTo>
                  <a:pt x="269" y="401"/>
                  <a:pt x="269" y="401"/>
                  <a:pt x="269" y="401"/>
                </a:cubicBezTo>
                <a:cubicBezTo>
                  <a:pt x="269" y="402"/>
                  <a:pt x="269" y="403"/>
                  <a:pt x="269" y="403"/>
                </a:cubicBezTo>
                <a:cubicBezTo>
                  <a:pt x="276" y="409"/>
                  <a:pt x="276" y="409"/>
                  <a:pt x="276" y="409"/>
                </a:cubicBezTo>
                <a:cubicBezTo>
                  <a:pt x="276" y="410"/>
                  <a:pt x="277" y="411"/>
                  <a:pt x="276" y="412"/>
                </a:cubicBezTo>
                <a:cubicBezTo>
                  <a:pt x="273" y="418"/>
                  <a:pt x="273" y="418"/>
                  <a:pt x="273" y="418"/>
                </a:cubicBezTo>
                <a:cubicBezTo>
                  <a:pt x="273" y="419"/>
                  <a:pt x="271" y="419"/>
                  <a:pt x="270" y="419"/>
                </a:cubicBezTo>
                <a:cubicBezTo>
                  <a:pt x="262" y="416"/>
                  <a:pt x="262" y="416"/>
                  <a:pt x="262" y="416"/>
                </a:cubicBezTo>
                <a:cubicBezTo>
                  <a:pt x="261" y="416"/>
                  <a:pt x="261" y="417"/>
                  <a:pt x="260" y="417"/>
                </a:cubicBezTo>
                <a:cubicBezTo>
                  <a:pt x="262" y="426"/>
                  <a:pt x="262" y="426"/>
                  <a:pt x="262" y="426"/>
                </a:cubicBezTo>
                <a:cubicBezTo>
                  <a:pt x="263" y="427"/>
                  <a:pt x="262" y="428"/>
                  <a:pt x="261" y="429"/>
                </a:cubicBezTo>
                <a:cubicBezTo>
                  <a:pt x="255" y="431"/>
                  <a:pt x="255" y="431"/>
                  <a:pt x="255" y="431"/>
                </a:cubicBezTo>
                <a:cubicBezTo>
                  <a:pt x="254" y="432"/>
                  <a:pt x="253" y="431"/>
                  <a:pt x="252" y="431"/>
                </a:cubicBezTo>
                <a:cubicBezTo>
                  <a:pt x="247" y="423"/>
                  <a:pt x="247" y="423"/>
                  <a:pt x="247" y="423"/>
                </a:cubicBezTo>
                <a:cubicBezTo>
                  <a:pt x="246" y="423"/>
                  <a:pt x="245" y="423"/>
                  <a:pt x="244" y="423"/>
                </a:cubicBezTo>
                <a:cubicBezTo>
                  <a:pt x="244" y="423"/>
                  <a:pt x="244" y="423"/>
                  <a:pt x="244" y="423"/>
                </a:cubicBezTo>
                <a:cubicBezTo>
                  <a:pt x="240" y="431"/>
                  <a:pt x="240" y="431"/>
                  <a:pt x="240" y="431"/>
                </a:cubicBezTo>
                <a:cubicBezTo>
                  <a:pt x="239" y="432"/>
                  <a:pt x="238" y="432"/>
                  <a:pt x="237" y="432"/>
                </a:cubicBezTo>
                <a:cubicBezTo>
                  <a:pt x="231" y="430"/>
                  <a:pt x="231" y="430"/>
                  <a:pt x="231" y="430"/>
                </a:cubicBezTo>
                <a:cubicBezTo>
                  <a:pt x="230" y="430"/>
                  <a:pt x="229" y="429"/>
                  <a:pt x="229" y="428"/>
                </a:cubicBezTo>
                <a:cubicBezTo>
                  <a:pt x="230" y="419"/>
                  <a:pt x="230" y="419"/>
                  <a:pt x="230" y="419"/>
                </a:cubicBezTo>
                <a:cubicBezTo>
                  <a:pt x="229" y="418"/>
                  <a:pt x="229" y="418"/>
                  <a:pt x="228" y="417"/>
                </a:cubicBezTo>
                <a:cubicBezTo>
                  <a:pt x="219" y="420"/>
                  <a:pt x="219" y="420"/>
                  <a:pt x="219" y="420"/>
                </a:cubicBezTo>
                <a:cubicBezTo>
                  <a:pt x="218" y="420"/>
                  <a:pt x="217" y="420"/>
                  <a:pt x="217" y="419"/>
                </a:cubicBezTo>
                <a:cubicBezTo>
                  <a:pt x="213" y="414"/>
                  <a:pt x="213" y="414"/>
                  <a:pt x="213" y="414"/>
                </a:cubicBezTo>
                <a:cubicBezTo>
                  <a:pt x="213" y="413"/>
                  <a:pt x="213" y="412"/>
                  <a:pt x="214" y="411"/>
                </a:cubicBezTo>
                <a:cubicBezTo>
                  <a:pt x="220" y="405"/>
                  <a:pt x="220" y="405"/>
                  <a:pt x="220" y="405"/>
                </a:cubicBezTo>
                <a:cubicBezTo>
                  <a:pt x="220" y="403"/>
                  <a:pt x="220" y="402"/>
                  <a:pt x="220" y="401"/>
                </a:cubicBezTo>
                <a:cubicBezTo>
                  <a:pt x="211" y="397"/>
                  <a:pt x="211" y="397"/>
                  <a:pt x="211" y="397"/>
                </a:cubicBezTo>
                <a:cubicBezTo>
                  <a:pt x="210" y="397"/>
                  <a:pt x="210" y="396"/>
                  <a:pt x="210" y="395"/>
                </a:cubicBezTo>
                <a:cubicBezTo>
                  <a:pt x="211" y="389"/>
                  <a:pt x="211" y="389"/>
                  <a:pt x="211" y="389"/>
                </a:cubicBezTo>
                <a:cubicBezTo>
                  <a:pt x="211" y="387"/>
                  <a:pt x="212" y="387"/>
                  <a:pt x="213" y="387"/>
                </a:cubicBezTo>
                <a:cubicBezTo>
                  <a:pt x="222" y="387"/>
                  <a:pt x="222" y="387"/>
                  <a:pt x="222" y="387"/>
                </a:cubicBezTo>
                <a:cubicBezTo>
                  <a:pt x="222" y="386"/>
                  <a:pt x="223" y="385"/>
                  <a:pt x="223" y="384"/>
                </a:cubicBezTo>
                <a:cubicBezTo>
                  <a:pt x="219" y="376"/>
                  <a:pt x="219" y="376"/>
                  <a:pt x="219" y="376"/>
                </a:cubicBezTo>
                <a:cubicBezTo>
                  <a:pt x="218" y="375"/>
                  <a:pt x="219" y="374"/>
                  <a:pt x="220" y="373"/>
                </a:cubicBezTo>
                <a:cubicBezTo>
                  <a:pt x="224" y="369"/>
                  <a:pt x="224" y="369"/>
                  <a:pt x="224" y="369"/>
                </a:cubicBezTo>
                <a:cubicBezTo>
                  <a:pt x="225" y="369"/>
                  <a:pt x="226" y="369"/>
                  <a:pt x="227" y="369"/>
                </a:cubicBezTo>
                <a:cubicBezTo>
                  <a:pt x="234" y="375"/>
                  <a:pt x="234" y="375"/>
                  <a:pt x="234" y="375"/>
                </a:cubicBezTo>
                <a:cubicBezTo>
                  <a:pt x="235" y="375"/>
                  <a:pt x="236" y="374"/>
                  <a:pt x="237" y="374"/>
                </a:cubicBezTo>
                <a:cubicBezTo>
                  <a:pt x="239" y="365"/>
                  <a:pt x="239" y="365"/>
                  <a:pt x="239" y="365"/>
                </a:cubicBezTo>
                <a:cubicBezTo>
                  <a:pt x="239" y="364"/>
                  <a:pt x="240" y="363"/>
                  <a:pt x="241" y="363"/>
                </a:cubicBezTo>
                <a:close/>
                <a:moveTo>
                  <a:pt x="244" y="385"/>
                </a:moveTo>
                <a:cubicBezTo>
                  <a:pt x="237" y="385"/>
                  <a:pt x="231" y="391"/>
                  <a:pt x="231" y="398"/>
                </a:cubicBezTo>
                <a:cubicBezTo>
                  <a:pt x="231" y="405"/>
                  <a:pt x="237" y="411"/>
                  <a:pt x="244" y="411"/>
                </a:cubicBezTo>
                <a:cubicBezTo>
                  <a:pt x="252" y="411"/>
                  <a:pt x="258" y="405"/>
                  <a:pt x="258" y="398"/>
                </a:cubicBezTo>
                <a:cubicBezTo>
                  <a:pt x="258" y="391"/>
                  <a:pt x="252" y="385"/>
                  <a:pt x="244" y="385"/>
                </a:cubicBezTo>
                <a:close/>
                <a:moveTo>
                  <a:pt x="139" y="266"/>
                </a:moveTo>
                <a:cubicBezTo>
                  <a:pt x="142" y="266"/>
                  <a:pt x="144" y="263"/>
                  <a:pt x="144" y="260"/>
                </a:cubicBezTo>
                <a:cubicBezTo>
                  <a:pt x="144" y="257"/>
                  <a:pt x="142" y="255"/>
                  <a:pt x="139" y="255"/>
                </a:cubicBezTo>
                <a:cubicBezTo>
                  <a:pt x="139" y="255"/>
                  <a:pt x="139" y="255"/>
                  <a:pt x="139" y="255"/>
                </a:cubicBezTo>
                <a:cubicBezTo>
                  <a:pt x="137" y="257"/>
                  <a:pt x="135" y="259"/>
                  <a:pt x="133" y="262"/>
                </a:cubicBezTo>
                <a:cubicBezTo>
                  <a:pt x="134" y="264"/>
                  <a:pt x="136" y="266"/>
                  <a:pt x="139" y="266"/>
                </a:cubicBezTo>
                <a:close/>
                <a:moveTo>
                  <a:pt x="244" y="404"/>
                </a:moveTo>
                <a:cubicBezTo>
                  <a:pt x="248" y="404"/>
                  <a:pt x="250" y="401"/>
                  <a:pt x="250" y="398"/>
                </a:cubicBezTo>
                <a:cubicBezTo>
                  <a:pt x="250" y="395"/>
                  <a:pt x="248" y="392"/>
                  <a:pt x="244" y="392"/>
                </a:cubicBezTo>
                <a:cubicBezTo>
                  <a:pt x="241" y="392"/>
                  <a:pt x="239" y="395"/>
                  <a:pt x="239" y="398"/>
                </a:cubicBezTo>
                <a:cubicBezTo>
                  <a:pt x="239" y="401"/>
                  <a:pt x="241" y="404"/>
                  <a:pt x="244" y="404"/>
                </a:cubicBezTo>
                <a:close/>
                <a:moveTo>
                  <a:pt x="312" y="363"/>
                </a:moveTo>
                <a:cubicBezTo>
                  <a:pt x="318" y="363"/>
                  <a:pt x="318" y="363"/>
                  <a:pt x="318" y="363"/>
                </a:cubicBezTo>
                <a:cubicBezTo>
                  <a:pt x="319" y="363"/>
                  <a:pt x="321" y="364"/>
                  <a:pt x="321" y="365"/>
                </a:cubicBezTo>
                <a:cubicBezTo>
                  <a:pt x="322" y="374"/>
                  <a:pt x="322" y="374"/>
                  <a:pt x="322" y="374"/>
                </a:cubicBezTo>
                <a:cubicBezTo>
                  <a:pt x="323" y="374"/>
                  <a:pt x="324" y="375"/>
                  <a:pt x="325" y="375"/>
                </a:cubicBezTo>
                <a:cubicBezTo>
                  <a:pt x="332" y="369"/>
                  <a:pt x="332" y="369"/>
                  <a:pt x="332" y="369"/>
                </a:cubicBezTo>
                <a:cubicBezTo>
                  <a:pt x="333" y="369"/>
                  <a:pt x="334" y="369"/>
                  <a:pt x="335" y="369"/>
                </a:cubicBezTo>
                <a:cubicBezTo>
                  <a:pt x="340" y="373"/>
                  <a:pt x="340" y="373"/>
                  <a:pt x="340" y="373"/>
                </a:cubicBezTo>
                <a:cubicBezTo>
                  <a:pt x="341" y="374"/>
                  <a:pt x="341" y="375"/>
                  <a:pt x="340" y="376"/>
                </a:cubicBezTo>
                <a:cubicBezTo>
                  <a:pt x="336" y="384"/>
                  <a:pt x="336" y="384"/>
                  <a:pt x="336" y="384"/>
                </a:cubicBezTo>
                <a:cubicBezTo>
                  <a:pt x="337" y="385"/>
                  <a:pt x="337" y="386"/>
                  <a:pt x="337" y="387"/>
                </a:cubicBezTo>
                <a:cubicBezTo>
                  <a:pt x="347" y="387"/>
                  <a:pt x="347" y="387"/>
                  <a:pt x="347" y="387"/>
                </a:cubicBezTo>
                <a:cubicBezTo>
                  <a:pt x="348" y="387"/>
                  <a:pt x="348" y="387"/>
                  <a:pt x="349" y="389"/>
                </a:cubicBezTo>
                <a:cubicBezTo>
                  <a:pt x="350" y="395"/>
                  <a:pt x="350" y="395"/>
                  <a:pt x="350" y="395"/>
                </a:cubicBezTo>
                <a:cubicBezTo>
                  <a:pt x="350" y="396"/>
                  <a:pt x="349" y="397"/>
                  <a:pt x="348" y="397"/>
                </a:cubicBezTo>
                <a:cubicBezTo>
                  <a:pt x="340" y="401"/>
                  <a:pt x="340" y="401"/>
                  <a:pt x="340" y="401"/>
                </a:cubicBezTo>
                <a:cubicBezTo>
                  <a:pt x="340" y="402"/>
                  <a:pt x="340" y="403"/>
                  <a:pt x="340" y="403"/>
                </a:cubicBezTo>
                <a:cubicBezTo>
                  <a:pt x="347" y="409"/>
                  <a:pt x="347" y="409"/>
                  <a:pt x="347" y="409"/>
                </a:cubicBezTo>
                <a:cubicBezTo>
                  <a:pt x="347" y="410"/>
                  <a:pt x="348" y="411"/>
                  <a:pt x="347" y="412"/>
                </a:cubicBezTo>
                <a:cubicBezTo>
                  <a:pt x="344" y="418"/>
                  <a:pt x="344" y="418"/>
                  <a:pt x="344" y="418"/>
                </a:cubicBezTo>
                <a:cubicBezTo>
                  <a:pt x="344" y="419"/>
                  <a:pt x="342" y="419"/>
                  <a:pt x="341" y="419"/>
                </a:cubicBezTo>
                <a:cubicBezTo>
                  <a:pt x="333" y="416"/>
                  <a:pt x="333" y="416"/>
                  <a:pt x="333" y="416"/>
                </a:cubicBezTo>
                <a:cubicBezTo>
                  <a:pt x="332" y="416"/>
                  <a:pt x="332" y="417"/>
                  <a:pt x="331" y="417"/>
                </a:cubicBezTo>
                <a:cubicBezTo>
                  <a:pt x="333" y="426"/>
                  <a:pt x="333" y="426"/>
                  <a:pt x="333" y="426"/>
                </a:cubicBezTo>
                <a:cubicBezTo>
                  <a:pt x="333" y="427"/>
                  <a:pt x="333" y="428"/>
                  <a:pt x="332" y="429"/>
                </a:cubicBezTo>
                <a:cubicBezTo>
                  <a:pt x="326" y="431"/>
                  <a:pt x="326" y="431"/>
                  <a:pt x="326" y="431"/>
                </a:cubicBezTo>
                <a:cubicBezTo>
                  <a:pt x="325" y="432"/>
                  <a:pt x="324" y="431"/>
                  <a:pt x="323" y="431"/>
                </a:cubicBezTo>
                <a:cubicBezTo>
                  <a:pt x="318" y="423"/>
                  <a:pt x="318" y="423"/>
                  <a:pt x="318" y="423"/>
                </a:cubicBezTo>
                <a:cubicBezTo>
                  <a:pt x="317" y="423"/>
                  <a:pt x="316" y="423"/>
                  <a:pt x="315" y="423"/>
                </a:cubicBezTo>
                <a:cubicBezTo>
                  <a:pt x="315" y="423"/>
                  <a:pt x="315" y="423"/>
                  <a:pt x="315" y="423"/>
                </a:cubicBezTo>
                <a:cubicBezTo>
                  <a:pt x="311" y="431"/>
                  <a:pt x="311" y="431"/>
                  <a:pt x="311" y="431"/>
                </a:cubicBezTo>
                <a:cubicBezTo>
                  <a:pt x="310" y="432"/>
                  <a:pt x="309" y="432"/>
                  <a:pt x="308" y="432"/>
                </a:cubicBezTo>
                <a:cubicBezTo>
                  <a:pt x="302" y="430"/>
                  <a:pt x="302" y="430"/>
                  <a:pt x="302" y="430"/>
                </a:cubicBezTo>
                <a:cubicBezTo>
                  <a:pt x="301" y="430"/>
                  <a:pt x="300" y="429"/>
                  <a:pt x="300" y="428"/>
                </a:cubicBezTo>
                <a:cubicBezTo>
                  <a:pt x="301" y="419"/>
                  <a:pt x="301" y="419"/>
                  <a:pt x="301" y="419"/>
                </a:cubicBezTo>
                <a:cubicBezTo>
                  <a:pt x="300" y="418"/>
                  <a:pt x="300" y="418"/>
                  <a:pt x="299" y="417"/>
                </a:cubicBezTo>
                <a:cubicBezTo>
                  <a:pt x="290" y="420"/>
                  <a:pt x="290" y="420"/>
                  <a:pt x="290" y="420"/>
                </a:cubicBezTo>
                <a:cubicBezTo>
                  <a:pt x="289" y="420"/>
                  <a:pt x="288" y="420"/>
                  <a:pt x="287" y="419"/>
                </a:cubicBezTo>
                <a:cubicBezTo>
                  <a:pt x="284" y="414"/>
                  <a:pt x="284" y="414"/>
                  <a:pt x="284" y="414"/>
                </a:cubicBezTo>
                <a:cubicBezTo>
                  <a:pt x="284" y="413"/>
                  <a:pt x="284" y="412"/>
                  <a:pt x="285" y="411"/>
                </a:cubicBezTo>
                <a:cubicBezTo>
                  <a:pt x="291" y="405"/>
                  <a:pt x="291" y="405"/>
                  <a:pt x="291" y="405"/>
                </a:cubicBezTo>
                <a:cubicBezTo>
                  <a:pt x="291" y="403"/>
                  <a:pt x="291" y="402"/>
                  <a:pt x="291" y="401"/>
                </a:cubicBezTo>
                <a:cubicBezTo>
                  <a:pt x="282" y="397"/>
                  <a:pt x="282" y="397"/>
                  <a:pt x="282" y="397"/>
                </a:cubicBezTo>
                <a:cubicBezTo>
                  <a:pt x="281" y="397"/>
                  <a:pt x="280" y="396"/>
                  <a:pt x="281" y="395"/>
                </a:cubicBezTo>
                <a:cubicBezTo>
                  <a:pt x="282" y="389"/>
                  <a:pt x="282" y="389"/>
                  <a:pt x="282" y="389"/>
                </a:cubicBezTo>
                <a:cubicBezTo>
                  <a:pt x="282" y="387"/>
                  <a:pt x="283" y="387"/>
                  <a:pt x="284" y="387"/>
                </a:cubicBezTo>
                <a:cubicBezTo>
                  <a:pt x="293" y="387"/>
                  <a:pt x="293" y="387"/>
                  <a:pt x="293" y="387"/>
                </a:cubicBezTo>
                <a:cubicBezTo>
                  <a:pt x="293" y="386"/>
                  <a:pt x="294" y="385"/>
                  <a:pt x="294" y="384"/>
                </a:cubicBezTo>
                <a:cubicBezTo>
                  <a:pt x="290" y="376"/>
                  <a:pt x="290" y="376"/>
                  <a:pt x="290" y="376"/>
                </a:cubicBezTo>
                <a:cubicBezTo>
                  <a:pt x="289" y="375"/>
                  <a:pt x="290" y="374"/>
                  <a:pt x="291" y="373"/>
                </a:cubicBezTo>
                <a:cubicBezTo>
                  <a:pt x="295" y="369"/>
                  <a:pt x="295" y="369"/>
                  <a:pt x="295" y="369"/>
                </a:cubicBezTo>
                <a:cubicBezTo>
                  <a:pt x="296" y="369"/>
                  <a:pt x="297" y="369"/>
                  <a:pt x="298" y="369"/>
                </a:cubicBezTo>
                <a:cubicBezTo>
                  <a:pt x="305" y="375"/>
                  <a:pt x="305" y="375"/>
                  <a:pt x="305" y="375"/>
                </a:cubicBezTo>
                <a:cubicBezTo>
                  <a:pt x="306" y="375"/>
                  <a:pt x="307" y="374"/>
                  <a:pt x="308" y="374"/>
                </a:cubicBezTo>
                <a:cubicBezTo>
                  <a:pt x="310" y="365"/>
                  <a:pt x="310" y="365"/>
                  <a:pt x="310" y="365"/>
                </a:cubicBezTo>
                <a:cubicBezTo>
                  <a:pt x="310" y="364"/>
                  <a:pt x="311" y="363"/>
                  <a:pt x="312" y="363"/>
                </a:cubicBezTo>
                <a:close/>
                <a:moveTo>
                  <a:pt x="315" y="385"/>
                </a:moveTo>
                <a:cubicBezTo>
                  <a:pt x="308" y="385"/>
                  <a:pt x="302" y="391"/>
                  <a:pt x="302" y="398"/>
                </a:cubicBezTo>
                <a:cubicBezTo>
                  <a:pt x="302" y="405"/>
                  <a:pt x="308" y="411"/>
                  <a:pt x="315" y="411"/>
                </a:cubicBezTo>
                <a:cubicBezTo>
                  <a:pt x="322" y="411"/>
                  <a:pt x="329" y="405"/>
                  <a:pt x="329" y="398"/>
                </a:cubicBezTo>
                <a:cubicBezTo>
                  <a:pt x="329" y="391"/>
                  <a:pt x="322" y="385"/>
                  <a:pt x="315" y="385"/>
                </a:cubicBezTo>
                <a:close/>
                <a:moveTo>
                  <a:pt x="300" y="497"/>
                </a:moveTo>
                <a:cubicBezTo>
                  <a:pt x="301" y="488"/>
                  <a:pt x="301" y="488"/>
                  <a:pt x="301" y="488"/>
                </a:cubicBezTo>
                <a:cubicBezTo>
                  <a:pt x="300" y="487"/>
                  <a:pt x="300" y="487"/>
                  <a:pt x="299" y="486"/>
                </a:cubicBezTo>
                <a:cubicBezTo>
                  <a:pt x="290" y="489"/>
                  <a:pt x="290" y="489"/>
                  <a:pt x="290" y="489"/>
                </a:cubicBezTo>
                <a:cubicBezTo>
                  <a:pt x="289" y="489"/>
                  <a:pt x="288" y="489"/>
                  <a:pt x="287" y="488"/>
                </a:cubicBezTo>
                <a:cubicBezTo>
                  <a:pt x="284" y="483"/>
                  <a:pt x="284" y="483"/>
                  <a:pt x="284" y="483"/>
                </a:cubicBezTo>
                <a:cubicBezTo>
                  <a:pt x="284" y="482"/>
                  <a:pt x="284" y="481"/>
                  <a:pt x="285" y="480"/>
                </a:cubicBezTo>
                <a:cubicBezTo>
                  <a:pt x="291" y="474"/>
                  <a:pt x="291" y="474"/>
                  <a:pt x="291" y="474"/>
                </a:cubicBezTo>
                <a:cubicBezTo>
                  <a:pt x="291" y="472"/>
                  <a:pt x="291" y="471"/>
                  <a:pt x="291" y="470"/>
                </a:cubicBezTo>
                <a:cubicBezTo>
                  <a:pt x="282" y="466"/>
                  <a:pt x="282" y="466"/>
                  <a:pt x="282" y="466"/>
                </a:cubicBezTo>
                <a:cubicBezTo>
                  <a:pt x="281" y="466"/>
                  <a:pt x="280" y="465"/>
                  <a:pt x="281" y="464"/>
                </a:cubicBezTo>
                <a:cubicBezTo>
                  <a:pt x="282" y="458"/>
                  <a:pt x="282" y="458"/>
                  <a:pt x="282" y="458"/>
                </a:cubicBezTo>
                <a:cubicBezTo>
                  <a:pt x="282" y="456"/>
                  <a:pt x="283" y="455"/>
                  <a:pt x="284" y="455"/>
                </a:cubicBezTo>
                <a:cubicBezTo>
                  <a:pt x="293" y="455"/>
                  <a:pt x="293" y="455"/>
                  <a:pt x="293" y="455"/>
                </a:cubicBezTo>
                <a:cubicBezTo>
                  <a:pt x="293" y="455"/>
                  <a:pt x="294" y="454"/>
                  <a:pt x="294" y="453"/>
                </a:cubicBezTo>
                <a:cubicBezTo>
                  <a:pt x="290" y="445"/>
                  <a:pt x="290" y="445"/>
                  <a:pt x="290" y="445"/>
                </a:cubicBezTo>
                <a:cubicBezTo>
                  <a:pt x="289" y="444"/>
                  <a:pt x="290" y="443"/>
                  <a:pt x="291" y="442"/>
                </a:cubicBezTo>
                <a:cubicBezTo>
                  <a:pt x="295" y="438"/>
                  <a:pt x="295" y="438"/>
                  <a:pt x="295" y="438"/>
                </a:cubicBezTo>
                <a:cubicBezTo>
                  <a:pt x="296" y="438"/>
                  <a:pt x="297" y="438"/>
                  <a:pt x="298" y="438"/>
                </a:cubicBezTo>
                <a:cubicBezTo>
                  <a:pt x="305" y="444"/>
                  <a:pt x="305" y="444"/>
                  <a:pt x="305" y="444"/>
                </a:cubicBezTo>
                <a:cubicBezTo>
                  <a:pt x="306" y="443"/>
                  <a:pt x="307" y="443"/>
                  <a:pt x="308" y="443"/>
                </a:cubicBezTo>
                <a:cubicBezTo>
                  <a:pt x="310" y="434"/>
                  <a:pt x="310" y="434"/>
                  <a:pt x="310" y="434"/>
                </a:cubicBezTo>
                <a:cubicBezTo>
                  <a:pt x="310" y="433"/>
                  <a:pt x="311" y="432"/>
                  <a:pt x="312" y="432"/>
                </a:cubicBezTo>
                <a:cubicBezTo>
                  <a:pt x="318" y="432"/>
                  <a:pt x="318" y="432"/>
                  <a:pt x="318" y="432"/>
                </a:cubicBezTo>
                <a:cubicBezTo>
                  <a:pt x="319" y="432"/>
                  <a:pt x="321" y="433"/>
                  <a:pt x="321" y="434"/>
                </a:cubicBezTo>
                <a:cubicBezTo>
                  <a:pt x="322" y="443"/>
                  <a:pt x="322" y="443"/>
                  <a:pt x="322" y="443"/>
                </a:cubicBezTo>
                <a:cubicBezTo>
                  <a:pt x="323" y="443"/>
                  <a:pt x="324" y="443"/>
                  <a:pt x="325" y="444"/>
                </a:cubicBezTo>
                <a:cubicBezTo>
                  <a:pt x="332" y="438"/>
                  <a:pt x="332" y="438"/>
                  <a:pt x="332" y="438"/>
                </a:cubicBezTo>
                <a:cubicBezTo>
                  <a:pt x="333" y="438"/>
                  <a:pt x="334" y="438"/>
                  <a:pt x="335" y="438"/>
                </a:cubicBezTo>
                <a:cubicBezTo>
                  <a:pt x="340" y="442"/>
                  <a:pt x="340" y="442"/>
                  <a:pt x="340" y="442"/>
                </a:cubicBezTo>
                <a:cubicBezTo>
                  <a:pt x="341" y="443"/>
                  <a:pt x="341" y="444"/>
                  <a:pt x="340" y="445"/>
                </a:cubicBezTo>
                <a:cubicBezTo>
                  <a:pt x="336" y="453"/>
                  <a:pt x="336" y="453"/>
                  <a:pt x="336" y="453"/>
                </a:cubicBezTo>
                <a:cubicBezTo>
                  <a:pt x="337" y="454"/>
                  <a:pt x="337" y="455"/>
                  <a:pt x="337" y="455"/>
                </a:cubicBezTo>
                <a:cubicBezTo>
                  <a:pt x="347" y="455"/>
                  <a:pt x="347" y="455"/>
                  <a:pt x="347" y="455"/>
                </a:cubicBezTo>
                <a:cubicBezTo>
                  <a:pt x="348" y="455"/>
                  <a:pt x="348" y="456"/>
                  <a:pt x="349" y="458"/>
                </a:cubicBezTo>
                <a:cubicBezTo>
                  <a:pt x="350" y="463"/>
                  <a:pt x="350" y="463"/>
                  <a:pt x="350" y="463"/>
                </a:cubicBezTo>
                <a:cubicBezTo>
                  <a:pt x="350" y="465"/>
                  <a:pt x="349" y="466"/>
                  <a:pt x="348" y="466"/>
                </a:cubicBezTo>
                <a:cubicBezTo>
                  <a:pt x="340" y="470"/>
                  <a:pt x="340" y="470"/>
                  <a:pt x="340" y="470"/>
                </a:cubicBezTo>
                <a:cubicBezTo>
                  <a:pt x="340" y="471"/>
                  <a:pt x="340" y="471"/>
                  <a:pt x="340" y="472"/>
                </a:cubicBezTo>
                <a:cubicBezTo>
                  <a:pt x="347" y="478"/>
                  <a:pt x="347" y="478"/>
                  <a:pt x="347" y="478"/>
                </a:cubicBezTo>
                <a:cubicBezTo>
                  <a:pt x="347" y="479"/>
                  <a:pt x="348" y="480"/>
                  <a:pt x="347" y="481"/>
                </a:cubicBezTo>
                <a:cubicBezTo>
                  <a:pt x="344" y="487"/>
                  <a:pt x="344" y="487"/>
                  <a:pt x="344" y="487"/>
                </a:cubicBezTo>
                <a:cubicBezTo>
                  <a:pt x="344" y="487"/>
                  <a:pt x="342" y="488"/>
                  <a:pt x="341" y="488"/>
                </a:cubicBezTo>
                <a:cubicBezTo>
                  <a:pt x="333" y="485"/>
                  <a:pt x="333" y="485"/>
                  <a:pt x="333" y="485"/>
                </a:cubicBezTo>
                <a:cubicBezTo>
                  <a:pt x="332" y="485"/>
                  <a:pt x="332" y="486"/>
                  <a:pt x="331" y="486"/>
                </a:cubicBezTo>
                <a:cubicBezTo>
                  <a:pt x="333" y="495"/>
                  <a:pt x="333" y="495"/>
                  <a:pt x="333" y="495"/>
                </a:cubicBezTo>
                <a:cubicBezTo>
                  <a:pt x="333" y="496"/>
                  <a:pt x="333" y="497"/>
                  <a:pt x="332" y="498"/>
                </a:cubicBezTo>
                <a:cubicBezTo>
                  <a:pt x="326" y="500"/>
                  <a:pt x="326" y="500"/>
                  <a:pt x="326" y="500"/>
                </a:cubicBezTo>
                <a:cubicBezTo>
                  <a:pt x="325" y="501"/>
                  <a:pt x="324" y="500"/>
                  <a:pt x="323" y="499"/>
                </a:cubicBezTo>
                <a:cubicBezTo>
                  <a:pt x="318" y="492"/>
                  <a:pt x="318" y="492"/>
                  <a:pt x="318" y="492"/>
                </a:cubicBezTo>
                <a:cubicBezTo>
                  <a:pt x="317" y="492"/>
                  <a:pt x="316" y="492"/>
                  <a:pt x="315" y="492"/>
                </a:cubicBezTo>
                <a:cubicBezTo>
                  <a:pt x="315" y="492"/>
                  <a:pt x="315" y="492"/>
                  <a:pt x="315" y="492"/>
                </a:cubicBezTo>
                <a:cubicBezTo>
                  <a:pt x="311" y="500"/>
                  <a:pt x="311" y="500"/>
                  <a:pt x="311" y="500"/>
                </a:cubicBezTo>
                <a:cubicBezTo>
                  <a:pt x="310" y="501"/>
                  <a:pt x="309" y="501"/>
                  <a:pt x="308" y="501"/>
                </a:cubicBezTo>
                <a:cubicBezTo>
                  <a:pt x="302" y="499"/>
                  <a:pt x="302" y="499"/>
                  <a:pt x="302" y="499"/>
                </a:cubicBezTo>
                <a:cubicBezTo>
                  <a:pt x="301" y="499"/>
                  <a:pt x="300" y="498"/>
                  <a:pt x="300" y="497"/>
                </a:cubicBezTo>
                <a:close/>
                <a:moveTo>
                  <a:pt x="302" y="467"/>
                </a:moveTo>
                <a:cubicBezTo>
                  <a:pt x="302" y="474"/>
                  <a:pt x="308" y="480"/>
                  <a:pt x="315" y="480"/>
                </a:cubicBezTo>
                <a:cubicBezTo>
                  <a:pt x="322" y="480"/>
                  <a:pt x="329" y="474"/>
                  <a:pt x="329" y="467"/>
                </a:cubicBezTo>
                <a:cubicBezTo>
                  <a:pt x="329" y="459"/>
                  <a:pt x="322" y="454"/>
                  <a:pt x="315" y="454"/>
                </a:cubicBezTo>
                <a:cubicBezTo>
                  <a:pt x="308" y="454"/>
                  <a:pt x="302" y="459"/>
                  <a:pt x="302" y="467"/>
                </a:cubicBezTo>
                <a:close/>
                <a:moveTo>
                  <a:pt x="315" y="404"/>
                </a:moveTo>
                <a:cubicBezTo>
                  <a:pt x="318" y="404"/>
                  <a:pt x="321" y="401"/>
                  <a:pt x="321" y="398"/>
                </a:cubicBezTo>
                <a:cubicBezTo>
                  <a:pt x="321" y="395"/>
                  <a:pt x="318" y="392"/>
                  <a:pt x="315" y="392"/>
                </a:cubicBezTo>
                <a:cubicBezTo>
                  <a:pt x="312" y="392"/>
                  <a:pt x="310" y="395"/>
                  <a:pt x="310" y="398"/>
                </a:cubicBezTo>
                <a:cubicBezTo>
                  <a:pt x="310" y="401"/>
                  <a:pt x="312" y="404"/>
                  <a:pt x="315" y="404"/>
                </a:cubicBezTo>
                <a:close/>
                <a:moveTo>
                  <a:pt x="564" y="542"/>
                </a:moveTo>
                <a:cubicBezTo>
                  <a:pt x="567" y="542"/>
                  <a:pt x="570" y="539"/>
                  <a:pt x="570" y="536"/>
                </a:cubicBezTo>
                <a:cubicBezTo>
                  <a:pt x="570" y="533"/>
                  <a:pt x="567" y="530"/>
                  <a:pt x="564" y="530"/>
                </a:cubicBezTo>
                <a:cubicBezTo>
                  <a:pt x="561" y="530"/>
                  <a:pt x="558" y="533"/>
                  <a:pt x="558" y="536"/>
                </a:cubicBezTo>
                <a:cubicBezTo>
                  <a:pt x="558" y="539"/>
                  <a:pt x="561" y="542"/>
                  <a:pt x="564" y="542"/>
                </a:cubicBezTo>
                <a:close/>
                <a:moveTo>
                  <a:pt x="442" y="772"/>
                </a:moveTo>
                <a:cubicBezTo>
                  <a:pt x="443" y="763"/>
                  <a:pt x="443" y="763"/>
                  <a:pt x="443" y="763"/>
                </a:cubicBezTo>
                <a:cubicBezTo>
                  <a:pt x="442" y="763"/>
                  <a:pt x="442" y="762"/>
                  <a:pt x="441" y="762"/>
                </a:cubicBezTo>
                <a:cubicBezTo>
                  <a:pt x="432" y="765"/>
                  <a:pt x="432" y="765"/>
                  <a:pt x="432" y="765"/>
                </a:cubicBezTo>
                <a:cubicBezTo>
                  <a:pt x="431" y="765"/>
                  <a:pt x="430" y="765"/>
                  <a:pt x="429" y="764"/>
                </a:cubicBezTo>
                <a:cubicBezTo>
                  <a:pt x="426" y="758"/>
                  <a:pt x="426" y="758"/>
                  <a:pt x="426" y="758"/>
                </a:cubicBezTo>
                <a:cubicBezTo>
                  <a:pt x="426" y="758"/>
                  <a:pt x="426" y="756"/>
                  <a:pt x="426" y="755"/>
                </a:cubicBezTo>
                <a:cubicBezTo>
                  <a:pt x="433" y="749"/>
                  <a:pt x="433" y="749"/>
                  <a:pt x="433" y="749"/>
                </a:cubicBezTo>
                <a:cubicBezTo>
                  <a:pt x="433" y="748"/>
                  <a:pt x="432" y="746"/>
                  <a:pt x="432" y="745"/>
                </a:cubicBezTo>
                <a:cubicBezTo>
                  <a:pt x="424" y="742"/>
                  <a:pt x="424" y="742"/>
                  <a:pt x="424" y="742"/>
                </a:cubicBezTo>
                <a:cubicBezTo>
                  <a:pt x="423" y="742"/>
                  <a:pt x="422" y="740"/>
                  <a:pt x="423" y="739"/>
                </a:cubicBezTo>
                <a:cubicBezTo>
                  <a:pt x="423" y="733"/>
                  <a:pt x="423" y="733"/>
                  <a:pt x="423" y="733"/>
                </a:cubicBezTo>
                <a:cubicBezTo>
                  <a:pt x="424" y="732"/>
                  <a:pt x="425" y="731"/>
                  <a:pt x="426" y="731"/>
                </a:cubicBezTo>
                <a:cubicBezTo>
                  <a:pt x="435" y="731"/>
                  <a:pt x="435" y="731"/>
                  <a:pt x="435" y="731"/>
                </a:cubicBezTo>
                <a:cubicBezTo>
                  <a:pt x="435" y="730"/>
                  <a:pt x="436" y="730"/>
                  <a:pt x="436" y="729"/>
                </a:cubicBezTo>
                <a:cubicBezTo>
                  <a:pt x="432" y="721"/>
                  <a:pt x="432" y="721"/>
                  <a:pt x="432" y="721"/>
                </a:cubicBezTo>
                <a:cubicBezTo>
                  <a:pt x="431" y="720"/>
                  <a:pt x="431" y="719"/>
                  <a:pt x="432" y="718"/>
                </a:cubicBezTo>
                <a:cubicBezTo>
                  <a:pt x="437" y="714"/>
                  <a:pt x="437" y="714"/>
                  <a:pt x="437" y="714"/>
                </a:cubicBezTo>
                <a:cubicBezTo>
                  <a:pt x="438" y="713"/>
                  <a:pt x="439" y="713"/>
                  <a:pt x="440" y="714"/>
                </a:cubicBezTo>
                <a:cubicBezTo>
                  <a:pt x="447" y="719"/>
                  <a:pt x="447" y="719"/>
                  <a:pt x="447" y="719"/>
                </a:cubicBezTo>
                <a:cubicBezTo>
                  <a:pt x="448" y="719"/>
                  <a:pt x="449" y="719"/>
                  <a:pt x="450" y="718"/>
                </a:cubicBezTo>
                <a:cubicBezTo>
                  <a:pt x="452" y="710"/>
                  <a:pt x="452" y="710"/>
                  <a:pt x="452" y="710"/>
                </a:cubicBezTo>
                <a:cubicBezTo>
                  <a:pt x="452" y="709"/>
                  <a:pt x="453" y="708"/>
                  <a:pt x="454" y="708"/>
                </a:cubicBezTo>
                <a:cubicBezTo>
                  <a:pt x="460" y="708"/>
                  <a:pt x="460" y="708"/>
                  <a:pt x="460" y="708"/>
                </a:cubicBezTo>
                <a:cubicBezTo>
                  <a:pt x="461" y="708"/>
                  <a:pt x="462" y="709"/>
                  <a:pt x="462" y="710"/>
                </a:cubicBezTo>
                <a:cubicBezTo>
                  <a:pt x="464" y="718"/>
                  <a:pt x="464" y="718"/>
                  <a:pt x="464" y="718"/>
                </a:cubicBezTo>
                <a:cubicBezTo>
                  <a:pt x="465" y="719"/>
                  <a:pt x="466" y="719"/>
                  <a:pt x="467" y="719"/>
                </a:cubicBezTo>
                <a:cubicBezTo>
                  <a:pt x="474" y="714"/>
                  <a:pt x="474" y="714"/>
                  <a:pt x="474" y="714"/>
                </a:cubicBezTo>
                <a:cubicBezTo>
                  <a:pt x="475" y="713"/>
                  <a:pt x="476" y="713"/>
                  <a:pt x="477" y="714"/>
                </a:cubicBezTo>
                <a:cubicBezTo>
                  <a:pt x="482" y="718"/>
                  <a:pt x="482" y="718"/>
                  <a:pt x="482" y="718"/>
                </a:cubicBezTo>
                <a:cubicBezTo>
                  <a:pt x="483" y="718"/>
                  <a:pt x="483" y="720"/>
                  <a:pt x="482" y="721"/>
                </a:cubicBezTo>
                <a:cubicBezTo>
                  <a:pt x="478" y="729"/>
                  <a:pt x="478" y="729"/>
                  <a:pt x="478" y="729"/>
                </a:cubicBezTo>
                <a:cubicBezTo>
                  <a:pt x="478" y="730"/>
                  <a:pt x="479" y="730"/>
                  <a:pt x="479" y="731"/>
                </a:cubicBezTo>
                <a:cubicBezTo>
                  <a:pt x="488" y="731"/>
                  <a:pt x="488" y="731"/>
                  <a:pt x="488" y="731"/>
                </a:cubicBezTo>
                <a:cubicBezTo>
                  <a:pt x="489" y="731"/>
                  <a:pt x="490" y="732"/>
                  <a:pt x="491" y="733"/>
                </a:cubicBezTo>
                <a:cubicBezTo>
                  <a:pt x="492" y="739"/>
                  <a:pt x="492" y="739"/>
                  <a:pt x="492" y="739"/>
                </a:cubicBezTo>
                <a:cubicBezTo>
                  <a:pt x="492" y="740"/>
                  <a:pt x="491" y="742"/>
                  <a:pt x="490" y="742"/>
                </a:cubicBezTo>
                <a:cubicBezTo>
                  <a:pt x="482" y="745"/>
                  <a:pt x="482" y="745"/>
                  <a:pt x="482" y="745"/>
                </a:cubicBezTo>
                <a:cubicBezTo>
                  <a:pt x="482" y="746"/>
                  <a:pt x="482" y="747"/>
                  <a:pt x="481" y="748"/>
                </a:cubicBezTo>
                <a:cubicBezTo>
                  <a:pt x="482" y="748"/>
                  <a:pt x="482" y="749"/>
                  <a:pt x="483" y="749"/>
                </a:cubicBezTo>
                <a:lnTo>
                  <a:pt x="442" y="772"/>
                </a:lnTo>
                <a:close/>
                <a:moveTo>
                  <a:pt x="444" y="742"/>
                </a:moveTo>
                <a:cubicBezTo>
                  <a:pt x="444" y="750"/>
                  <a:pt x="450" y="756"/>
                  <a:pt x="457" y="756"/>
                </a:cubicBezTo>
                <a:cubicBezTo>
                  <a:pt x="464" y="756"/>
                  <a:pt x="470" y="750"/>
                  <a:pt x="470" y="742"/>
                </a:cubicBezTo>
                <a:cubicBezTo>
                  <a:pt x="470" y="735"/>
                  <a:pt x="464" y="729"/>
                  <a:pt x="457" y="729"/>
                </a:cubicBezTo>
                <a:cubicBezTo>
                  <a:pt x="450" y="729"/>
                  <a:pt x="444" y="735"/>
                  <a:pt x="444" y="742"/>
                </a:cubicBezTo>
                <a:close/>
                <a:moveTo>
                  <a:pt x="635" y="542"/>
                </a:moveTo>
                <a:cubicBezTo>
                  <a:pt x="638" y="542"/>
                  <a:pt x="640" y="539"/>
                  <a:pt x="640" y="536"/>
                </a:cubicBezTo>
                <a:cubicBezTo>
                  <a:pt x="640" y="533"/>
                  <a:pt x="638" y="530"/>
                  <a:pt x="635" y="530"/>
                </a:cubicBezTo>
                <a:cubicBezTo>
                  <a:pt x="632" y="530"/>
                  <a:pt x="629" y="533"/>
                  <a:pt x="629" y="536"/>
                </a:cubicBezTo>
                <a:cubicBezTo>
                  <a:pt x="629" y="539"/>
                  <a:pt x="632" y="542"/>
                  <a:pt x="635" y="542"/>
                </a:cubicBezTo>
                <a:close/>
                <a:moveTo>
                  <a:pt x="636" y="466"/>
                </a:moveTo>
                <a:cubicBezTo>
                  <a:pt x="636" y="466"/>
                  <a:pt x="636" y="466"/>
                  <a:pt x="645" y="470"/>
                </a:cubicBezTo>
                <a:cubicBezTo>
                  <a:pt x="645" y="471"/>
                  <a:pt x="645" y="472"/>
                  <a:pt x="646" y="474"/>
                </a:cubicBezTo>
                <a:cubicBezTo>
                  <a:pt x="646" y="474"/>
                  <a:pt x="646" y="474"/>
                  <a:pt x="639" y="480"/>
                </a:cubicBezTo>
                <a:cubicBezTo>
                  <a:pt x="638" y="481"/>
                  <a:pt x="638" y="482"/>
                  <a:pt x="639" y="483"/>
                </a:cubicBezTo>
                <a:cubicBezTo>
                  <a:pt x="639" y="483"/>
                  <a:pt x="639" y="483"/>
                  <a:pt x="642" y="488"/>
                </a:cubicBezTo>
                <a:cubicBezTo>
                  <a:pt x="643" y="489"/>
                  <a:pt x="644" y="489"/>
                  <a:pt x="645" y="489"/>
                </a:cubicBezTo>
                <a:cubicBezTo>
                  <a:pt x="645" y="489"/>
                  <a:pt x="645" y="489"/>
                  <a:pt x="649" y="487"/>
                </a:cubicBezTo>
                <a:cubicBezTo>
                  <a:pt x="649" y="439"/>
                  <a:pt x="649" y="439"/>
                  <a:pt x="649" y="439"/>
                </a:cubicBezTo>
                <a:cubicBezTo>
                  <a:pt x="649" y="439"/>
                  <a:pt x="647" y="440"/>
                  <a:pt x="645" y="442"/>
                </a:cubicBezTo>
                <a:cubicBezTo>
                  <a:pt x="644" y="443"/>
                  <a:pt x="644" y="444"/>
                  <a:pt x="644" y="445"/>
                </a:cubicBezTo>
                <a:cubicBezTo>
                  <a:pt x="644" y="445"/>
                  <a:pt x="644" y="445"/>
                  <a:pt x="649" y="453"/>
                </a:cubicBezTo>
                <a:cubicBezTo>
                  <a:pt x="648" y="454"/>
                  <a:pt x="648" y="455"/>
                  <a:pt x="647" y="455"/>
                </a:cubicBezTo>
                <a:cubicBezTo>
                  <a:pt x="647" y="455"/>
                  <a:pt x="647" y="455"/>
                  <a:pt x="639" y="455"/>
                </a:cubicBezTo>
                <a:cubicBezTo>
                  <a:pt x="637" y="455"/>
                  <a:pt x="636" y="456"/>
                  <a:pt x="636" y="458"/>
                </a:cubicBezTo>
                <a:cubicBezTo>
                  <a:pt x="636" y="458"/>
                  <a:pt x="636" y="458"/>
                  <a:pt x="635" y="464"/>
                </a:cubicBezTo>
                <a:cubicBezTo>
                  <a:pt x="635" y="465"/>
                  <a:pt x="636" y="466"/>
                  <a:pt x="636" y="466"/>
                </a:cubicBezTo>
                <a:close/>
                <a:moveTo>
                  <a:pt x="209" y="354"/>
                </a:moveTo>
                <a:cubicBezTo>
                  <a:pt x="205" y="362"/>
                  <a:pt x="205" y="362"/>
                  <a:pt x="205" y="362"/>
                </a:cubicBezTo>
                <a:cubicBezTo>
                  <a:pt x="204" y="363"/>
                  <a:pt x="203" y="363"/>
                  <a:pt x="202" y="363"/>
                </a:cubicBezTo>
                <a:cubicBezTo>
                  <a:pt x="196" y="361"/>
                  <a:pt x="196" y="361"/>
                  <a:pt x="196" y="361"/>
                </a:cubicBezTo>
                <a:cubicBezTo>
                  <a:pt x="195" y="361"/>
                  <a:pt x="195" y="360"/>
                  <a:pt x="195" y="359"/>
                </a:cubicBezTo>
                <a:cubicBezTo>
                  <a:pt x="195" y="350"/>
                  <a:pt x="195" y="350"/>
                  <a:pt x="195" y="350"/>
                </a:cubicBezTo>
                <a:cubicBezTo>
                  <a:pt x="195" y="349"/>
                  <a:pt x="194" y="349"/>
                  <a:pt x="193" y="348"/>
                </a:cubicBezTo>
                <a:cubicBezTo>
                  <a:pt x="184" y="351"/>
                  <a:pt x="184" y="351"/>
                  <a:pt x="184" y="351"/>
                </a:cubicBezTo>
                <a:cubicBezTo>
                  <a:pt x="184" y="351"/>
                  <a:pt x="182" y="351"/>
                  <a:pt x="182" y="350"/>
                </a:cubicBezTo>
                <a:cubicBezTo>
                  <a:pt x="178" y="345"/>
                  <a:pt x="178" y="345"/>
                  <a:pt x="178" y="345"/>
                </a:cubicBezTo>
                <a:cubicBezTo>
                  <a:pt x="178" y="344"/>
                  <a:pt x="178" y="343"/>
                  <a:pt x="179" y="342"/>
                </a:cubicBezTo>
                <a:cubicBezTo>
                  <a:pt x="185" y="336"/>
                  <a:pt x="185" y="336"/>
                  <a:pt x="185" y="336"/>
                </a:cubicBezTo>
                <a:cubicBezTo>
                  <a:pt x="185" y="335"/>
                  <a:pt x="185" y="333"/>
                  <a:pt x="185" y="332"/>
                </a:cubicBezTo>
                <a:cubicBezTo>
                  <a:pt x="176" y="328"/>
                  <a:pt x="176" y="328"/>
                  <a:pt x="176" y="328"/>
                </a:cubicBezTo>
                <a:cubicBezTo>
                  <a:pt x="175" y="328"/>
                  <a:pt x="175" y="327"/>
                  <a:pt x="175" y="326"/>
                </a:cubicBezTo>
                <a:cubicBezTo>
                  <a:pt x="176" y="320"/>
                  <a:pt x="176" y="320"/>
                  <a:pt x="176" y="320"/>
                </a:cubicBezTo>
                <a:cubicBezTo>
                  <a:pt x="176" y="319"/>
                  <a:pt x="177" y="318"/>
                  <a:pt x="178" y="318"/>
                </a:cubicBezTo>
                <a:cubicBezTo>
                  <a:pt x="187" y="318"/>
                  <a:pt x="187" y="318"/>
                  <a:pt x="187" y="318"/>
                </a:cubicBezTo>
                <a:cubicBezTo>
                  <a:pt x="187" y="317"/>
                  <a:pt x="188" y="316"/>
                  <a:pt x="188" y="315"/>
                </a:cubicBezTo>
                <a:cubicBezTo>
                  <a:pt x="184" y="307"/>
                  <a:pt x="184" y="307"/>
                  <a:pt x="184" y="307"/>
                </a:cubicBezTo>
                <a:cubicBezTo>
                  <a:pt x="184" y="307"/>
                  <a:pt x="184" y="305"/>
                  <a:pt x="185" y="304"/>
                </a:cubicBezTo>
                <a:cubicBezTo>
                  <a:pt x="189" y="300"/>
                  <a:pt x="189" y="300"/>
                  <a:pt x="189" y="300"/>
                </a:cubicBezTo>
                <a:cubicBezTo>
                  <a:pt x="190" y="300"/>
                  <a:pt x="191" y="300"/>
                  <a:pt x="192" y="300"/>
                </a:cubicBezTo>
                <a:cubicBezTo>
                  <a:pt x="199" y="306"/>
                  <a:pt x="199" y="306"/>
                  <a:pt x="199" y="306"/>
                </a:cubicBezTo>
                <a:cubicBezTo>
                  <a:pt x="200" y="306"/>
                  <a:pt x="201" y="305"/>
                  <a:pt x="202" y="305"/>
                </a:cubicBezTo>
                <a:cubicBezTo>
                  <a:pt x="204" y="296"/>
                  <a:pt x="204" y="296"/>
                  <a:pt x="204" y="296"/>
                </a:cubicBezTo>
                <a:cubicBezTo>
                  <a:pt x="204" y="295"/>
                  <a:pt x="205" y="294"/>
                  <a:pt x="206" y="294"/>
                </a:cubicBezTo>
                <a:cubicBezTo>
                  <a:pt x="213" y="294"/>
                  <a:pt x="213" y="294"/>
                  <a:pt x="213" y="294"/>
                </a:cubicBezTo>
                <a:cubicBezTo>
                  <a:pt x="214" y="294"/>
                  <a:pt x="215" y="295"/>
                  <a:pt x="215" y="296"/>
                </a:cubicBezTo>
                <a:cubicBezTo>
                  <a:pt x="217" y="305"/>
                  <a:pt x="217" y="305"/>
                  <a:pt x="217" y="305"/>
                </a:cubicBezTo>
                <a:cubicBezTo>
                  <a:pt x="218" y="305"/>
                  <a:pt x="218" y="306"/>
                  <a:pt x="219" y="306"/>
                </a:cubicBezTo>
                <a:cubicBezTo>
                  <a:pt x="226" y="300"/>
                  <a:pt x="226" y="300"/>
                  <a:pt x="226" y="300"/>
                </a:cubicBezTo>
                <a:cubicBezTo>
                  <a:pt x="227" y="300"/>
                  <a:pt x="229" y="300"/>
                  <a:pt x="229" y="300"/>
                </a:cubicBezTo>
                <a:cubicBezTo>
                  <a:pt x="234" y="304"/>
                  <a:pt x="234" y="304"/>
                  <a:pt x="234" y="304"/>
                </a:cubicBezTo>
                <a:cubicBezTo>
                  <a:pt x="235" y="305"/>
                  <a:pt x="235" y="307"/>
                  <a:pt x="235" y="307"/>
                </a:cubicBezTo>
                <a:cubicBezTo>
                  <a:pt x="230" y="315"/>
                  <a:pt x="230" y="315"/>
                  <a:pt x="230" y="315"/>
                </a:cubicBezTo>
                <a:cubicBezTo>
                  <a:pt x="231" y="316"/>
                  <a:pt x="231" y="317"/>
                  <a:pt x="232" y="318"/>
                </a:cubicBezTo>
                <a:cubicBezTo>
                  <a:pt x="241" y="318"/>
                  <a:pt x="241" y="318"/>
                  <a:pt x="241" y="318"/>
                </a:cubicBezTo>
                <a:cubicBezTo>
                  <a:pt x="242" y="318"/>
                  <a:pt x="243" y="319"/>
                  <a:pt x="243" y="320"/>
                </a:cubicBezTo>
                <a:cubicBezTo>
                  <a:pt x="244" y="326"/>
                  <a:pt x="244" y="326"/>
                  <a:pt x="244" y="326"/>
                </a:cubicBezTo>
                <a:cubicBezTo>
                  <a:pt x="244" y="327"/>
                  <a:pt x="244" y="328"/>
                  <a:pt x="243" y="328"/>
                </a:cubicBezTo>
                <a:cubicBezTo>
                  <a:pt x="234" y="332"/>
                  <a:pt x="234" y="332"/>
                  <a:pt x="234" y="332"/>
                </a:cubicBezTo>
                <a:cubicBezTo>
                  <a:pt x="234" y="333"/>
                  <a:pt x="234" y="334"/>
                  <a:pt x="234" y="335"/>
                </a:cubicBezTo>
                <a:cubicBezTo>
                  <a:pt x="241" y="340"/>
                  <a:pt x="241" y="340"/>
                  <a:pt x="241" y="340"/>
                </a:cubicBezTo>
                <a:cubicBezTo>
                  <a:pt x="241" y="341"/>
                  <a:pt x="242" y="342"/>
                  <a:pt x="241" y="343"/>
                </a:cubicBezTo>
                <a:cubicBezTo>
                  <a:pt x="238" y="349"/>
                  <a:pt x="238" y="349"/>
                  <a:pt x="238" y="349"/>
                </a:cubicBezTo>
                <a:cubicBezTo>
                  <a:pt x="238" y="350"/>
                  <a:pt x="237" y="350"/>
                  <a:pt x="235" y="350"/>
                </a:cubicBezTo>
                <a:cubicBezTo>
                  <a:pt x="227" y="347"/>
                  <a:pt x="227" y="347"/>
                  <a:pt x="227" y="347"/>
                </a:cubicBezTo>
                <a:cubicBezTo>
                  <a:pt x="226" y="347"/>
                  <a:pt x="226" y="348"/>
                  <a:pt x="226" y="348"/>
                </a:cubicBezTo>
                <a:cubicBezTo>
                  <a:pt x="227" y="357"/>
                  <a:pt x="227" y="357"/>
                  <a:pt x="227" y="357"/>
                </a:cubicBezTo>
                <a:cubicBezTo>
                  <a:pt x="228" y="358"/>
                  <a:pt x="227" y="359"/>
                  <a:pt x="226" y="360"/>
                </a:cubicBezTo>
                <a:cubicBezTo>
                  <a:pt x="220" y="362"/>
                  <a:pt x="220" y="362"/>
                  <a:pt x="220" y="362"/>
                </a:cubicBezTo>
                <a:cubicBezTo>
                  <a:pt x="219" y="363"/>
                  <a:pt x="218" y="362"/>
                  <a:pt x="218" y="362"/>
                </a:cubicBezTo>
                <a:cubicBezTo>
                  <a:pt x="212" y="354"/>
                  <a:pt x="212" y="354"/>
                  <a:pt x="212" y="354"/>
                </a:cubicBezTo>
                <a:cubicBezTo>
                  <a:pt x="211" y="354"/>
                  <a:pt x="210" y="354"/>
                  <a:pt x="210" y="354"/>
                </a:cubicBezTo>
                <a:cubicBezTo>
                  <a:pt x="209" y="354"/>
                  <a:pt x="209" y="354"/>
                  <a:pt x="209" y="354"/>
                </a:cubicBezTo>
                <a:close/>
                <a:moveTo>
                  <a:pt x="210" y="342"/>
                </a:moveTo>
                <a:cubicBezTo>
                  <a:pt x="217" y="342"/>
                  <a:pt x="223" y="336"/>
                  <a:pt x="223" y="329"/>
                </a:cubicBezTo>
                <a:cubicBezTo>
                  <a:pt x="223" y="322"/>
                  <a:pt x="217" y="316"/>
                  <a:pt x="210" y="316"/>
                </a:cubicBezTo>
                <a:cubicBezTo>
                  <a:pt x="202" y="316"/>
                  <a:pt x="196" y="322"/>
                  <a:pt x="196" y="329"/>
                </a:cubicBezTo>
                <a:cubicBezTo>
                  <a:pt x="196" y="336"/>
                  <a:pt x="202" y="342"/>
                  <a:pt x="210" y="342"/>
                </a:cubicBezTo>
                <a:close/>
                <a:moveTo>
                  <a:pt x="599" y="610"/>
                </a:moveTo>
                <a:cubicBezTo>
                  <a:pt x="602" y="610"/>
                  <a:pt x="604" y="608"/>
                  <a:pt x="604" y="605"/>
                </a:cubicBezTo>
                <a:cubicBezTo>
                  <a:pt x="604" y="602"/>
                  <a:pt x="602" y="599"/>
                  <a:pt x="599" y="599"/>
                </a:cubicBezTo>
                <a:cubicBezTo>
                  <a:pt x="596" y="599"/>
                  <a:pt x="593" y="602"/>
                  <a:pt x="593" y="605"/>
                </a:cubicBezTo>
                <a:cubicBezTo>
                  <a:pt x="593" y="608"/>
                  <a:pt x="596" y="610"/>
                  <a:pt x="599" y="610"/>
                </a:cubicBezTo>
                <a:close/>
                <a:moveTo>
                  <a:pt x="457" y="748"/>
                </a:moveTo>
                <a:cubicBezTo>
                  <a:pt x="460" y="748"/>
                  <a:pt x="463" y="746"/>
                  <a:pt x="463" y="742"/>
                </a:cubicBezTo>
                <a:cubicBezTo>
                  <a:pt x="463" y="739"/>
                  <a:pt x="460" y="737"/>
                  <a:pt x="457" y="737"/>
                </a:cubicBezTo>
                <a:cubicBezTo>
                  <a:pt x="454" y="737"/>
                  <a:pt x="451" y="739"/>
                  <a:pt x="451" y="742"/>
                </a:cubicBezTo>
                <a:cubicBezTo>
                  <a:pt x="451" y="746"/>
                  <a:pt x="454" y="748"/>
                  <a:pt x="457" y="748"/>
                </a:cubicBezTo>
                <a:close/>
                <a:moveTo>
                  <a:pt x="315" y="473"/>
                </a:moveTo>
                <a:cubicBezTo>
                  <a:pt x="318" y="473"/>
                  <a:pt x="321" y="470"/>
                  <a:pt x="321" y="467"/>
                </a:cubicBezTo>
                <a:cubicBezTo>
                  <a:pt x="321" y="464"/>
                  <a:pt x="318" y="461"/>
                  <a:pt x="315" y="461"/>
                </a:cubicBezTo>
                <a:cubicBezTo>
                  <a:pt x="312" y="461"/>
                  <a:pt x="310" y="464"/>
                  <a:pt x="310" y="467"/>
                </a:cubicBezTo>
                <a:cubicBezTo>
                  <a:pt x="310" y="470"/>
                  <a:pt x="312" y="473"/>
                  <a:pt x="315" y="473"/>
                </a:cubicBezTo>
                <a:close/>
                <a:moveTo>
                  <a:pt x="632" y="501"/>
                </a:moveTo>
                <a:cubicBezTo>
                  <a:pt x="638" y="501"/>
                  <a:pt x="638" y="501"/>
                  <a:pt x="638" y="501"/>
                </a:cubicBezTo>
                <a:cubicBezTo>
                  <a:pt x="639" y="501"/>
                  <a:pt x="640" y="502"/>
                  <a:pt x="640" y="503"/>
                </a:cubicBezTo>
                <a:cubicBezTo>
                  <a:pt x="642" y="512"/>
                  <a:pt x="642" y="512"/>
                  <a:pt x="642" y="512"/>
                </a:cubicBezTo>
                <a:cubicBezTo>
                  <a:pt x="643" y="512"/>
                  <a:pt x="644" y="512"/>
                  <a:pt x="645" y="513"/>
                </a:cubicBezTo>
                <a:cubicBezTo>
                  <a:pt x="647" y="511"/>
                  <a:pt x="648" y="510"/>
                  <a:pt x="649" y="509"/>
                </a:cubicBezTo>
                <a:cubicBezTo>
                  <a:pt x="649" y="568"/>
                  <a:pt x="649" y="568"/>
                  <a:pt x="649" y="568"/>
                </a:cubicBezTo>
                <a:cubicBezTo>
                  <a:pt x="646" y="569"/>
                  <a:pt x="646" y="569"/>
                  <a:pt x="646" y="569"/>
                </a:cubicBezTo>
                <a:cubicBezTo>
                  <a:pt x="645" y="570"/>
                  <a:pt x="644" y="569"/>
                  <a:pt x="643" y="568"/>
                </a:cubicBezTo>
                <a:cubicBezTo>
                  <a:pt x="638" y="561"/>
                  <a:pt x="638" y="561"/>
                  <a:pt x="638" y="561"/>
                </a:cubicBezTo>
                <a:cubicBezTo>
                  <a:pt x="637" y="561"/>
                  <a:pt x="636" y="561"/>
                  <a:pt x="635" y="561"/>
                </a:cubicBezTo>
                <a:cubicBezTo>
                  <a:pt x="635" y="561"/>
                  <a:pt x="635" y="561"/>
                  <a:pt x="635" y="561"/>
                </a:cubicBezTo>
                <a:cubicBezTo>
                  <a:pt x="630" y="569"/>
                  <a:pt x="630" y="569"/>
                  <a:pt x="630" y="569"/>
                </a:cubicBezTo>
                <a:cubicBezTo>
                  <a:pt x="630" y="570"/>
                  <a:pt x="629" y="570"/>
                  <a:pt x="628" y="570"/>
                </a:cubicBezTo>
                <a:cubicBezTo>
                  <a:pt x="621" y="568"/>
                  <a:pt x="621" y="568"/>
                  <a:pt x="621" y="568"/>
                </a:cubicBezTo>
                <a:cubicBezTo>
                  <a:pt x="621" y="568"/>
                  <a:pt x="620" y="567"/>
                  <a:pt x="620" y="566"/>
                </a:cubicBezTo>
                <a:cubicBezTo>
                  <a:pt x="621" y="557"/>
                  <a:pt x="621" y="557"/>
                  <a:pt x="621" y="557"/>
                </a:cubicBezTo>
                <a:cubicBezTo>
                  <a:pt x="620" y="556"/>
                  <a:pt x="619" y="555"/>
                  <a:pt x="618" y="555"/>
                </a:cubicBezTo>
                <a:cubicBezTo>
                  <a:pt x="610" y="558"/>
                  <a:pt x="610" y="558"/>
                  <a:pt x="610" y="558"/>
                </a:cubicBezTo>
                <a:cubicBezTo>
                  <a:pt x="609" y="558"/>
                  <a:pt x="608" y="558"/>
                  <a:pt x="607" y="557"/>
                </a:cubicBezTo>
                <a:cubicBezTo>
                  <a:pt x="604" y="552"/>
                  <a:pt x="604" y="552"/>
                  <a:pt x="604" y="552"/>
                </a:cubicBezTo>
                <a:cubicBezTo>
                  <a:pt x="603" y="551"/>
                  <a:pt x="603" y="550"/>
                  <a:pt x="604" y="549"/>
                </a:cubicBezTo>
                <a:cubicBezTo>
                  <a:pt x="611" y="542"/>
                  <a:pt x="611" y="543"/>
                  <a:pt x="611" y="543"/>
                </a:cubicBezTo>
                <a:cubicBezTo>
                  <a:pt x="610" y="541"/>
                  <a:pt x="610" y="540"/>
                  <a:pt x="610" y="539"/>
                </a:cubicBezTo>
                <a:cubicBezTo>
                  <a:pt x="602" y="535"/>
                  <a:pt x="602" y="535"/>
                  <a:pt x="602" y="535"/>
                </a:cubicBezTo>
                <a:cubicBezTo>
                  <a:pt x="601" y="535"/>
                  <a:pt x="600" y="534"/>
                  <a:pt x="600" y="533"/>
                </a:cubicBezTo>
                <a:cubicBezTo>
                  <a:pt x="601" y="527"/>
                  <a:pt x="601" y="527"/>
                  <a:pt x="601" y="527"/>
                </a:cubicBezTo>
                <a:cubicBezTo>
                  <a:pt x="602" y="525"/>
                  <a:pt x="602" y="524"/>
                  <a:pt x="604" y="524"/>
                </a:cubicBezTo>
                <a:cubicBezTo>
                  <a:pt x="613" y="524"/>
                  <a:pt x="613" y="524"/>
                  <a:pt x="613" y="524"/>
                </a:cubicBezTo>
                <a:cubicBezTo>
                  <a:pt x="613" y="523"/>
                  <a:pt x="613" y="523"/>
                  <a:pt x="614" y="522"/>
                </a:cubicBezTo>
                <a:cubicBezTo>
                  <a:pt x="609" y="514"/>
                  <a:pt x="609" y="514"/>
                  <a:pt x="609" y="514"/>
                </a:cubicBezTo>
                <a:cubicBezTo>
                  <a:pt x="609" y="513"/>
                  <a:pt x="609" y="512"/>
                  <a:pt x="610" y="511"/>
                </a:cubicBezTo>
                <a:cubicBezTo>
                  <a:pt x="615" y="507"/>
                  <a:pt x="615" y="507"/>
                  <a:pt x="615" y="507"/>
                </a:cubicBezTo>
                <a:cubicBezTo>
                  <a:pt x="616" y="507"/>
                  <a:pt x="617" y="507"/>
                  <a:pt x="618" y="507"/>
                </a:cubicBezTo>
                <a:cubicBezTo>
                  <a:pt x="625" y="513"/>
                  <a:pt x="625" y="513"/>
                  <a:pt x="625" y="513"/>
                </a:cubicBezTo>
                <a:cubicBezTo>
                  <a:pt x="626" y="512"/>
                  <a:pt x="627" y="512"/>
                  <a:pt x="628" y="512"/>
                </a:cubicBezTo>
                <a:cubicBezTo>
                  <a:pt x="629" y="503"/>
                  <a:pt x="629" y="503"/>
                  <a:pt x="629" y="503"/>
                </a:cubicBezTo>
                <a:cubicBezTo>
                  <a:pt x="630" y="502"/>
                  <a:pt x="631" y="501"/>
                  <a:pt x="632" y="501"/>
                </a:cubicBezTo>
                <a:close/>
                <a:moveTo>
                  <a:pt x="635" y="523"/>
                </a:moveTo>
                <a:cubicBezTo>
                  <a:pt x="628" y="523"/>
                  <a:pt x="621" y="528"/>
                  <a:pt x="621" y="536"/>
                </a:cubicBezTo>
                <a:cubicBezTo>
                  <a:pt x="621" y="543"/>
                  <a:pt x="628" y="549"/>
                  <a:pt x="635" y="549"/>
                </a:cubicBezTo>
                <a:cubicBezTo>
                  <a:pt x="642" y="549"/>
                  <a:pt x="648" y="543"/>
                  <a:pt x="648" y="536"/>
                </a:cubicBezTo>
                <a:cubicBezTo>
                  <a:pt x="648" y="528"/>
                  <a:pt x="642" y="523"/>
                  <a:pt x="635" y="523"/>
                </a:cubicBezTo>
                <a:close/>
                <a:moveTo>
                  <a:pt x="564" y="679"/>
                </a:moveTo>
                <a:cubicBezTo>
                  <a:pt x="567" y="679"/>
                  <a:pt x="570" y="677"/>
                  <a:pt x="570" y="674"/>
                </a:cubicBezTo>
                <a:cubicBezTo>
                  <a:pt x="570" y="670"/>
                  <a:pt x="567" y="668"/>
                  <a:pt x="564" y="668"/>
                </a:cubicBezTo>
                <a:cubicBezTo>
                  <a:pt x="561" y="668"/>
                  <a:pt x="558" y="670"/>
                  <a:pt x="558" y="674"/>
                </a:cubicBezTo>
                <a:cubicBezTo>
                  <a:pt x="558" y="677"/>
                  <a:pt x="561" y="679"/>
                  <a:pt x="564" y="679"/>
                </a:cubicBezTo>
                <a:close/>
                <a:moveTo>
                  <a:pt x="629" y="641"/>
                </a:moveTo>
                <a:cubicBezTo>
                  <a:pt x="629" y="641"/>
                  <a:pt x="629" y="641"/>
                  <a:pt x="628" y="650"/>
                </a:cubicBezTo>
                <a:cubicBezTo>
                  <a:pt x="627" y="650"/>
                  <a:pt x="626" y="650"/>
                  <a:pt x="625" y="650"/>
                </a:cubicBezTo>
                <a:cubicBezTo>
                  <a:pt x="625" y="650"/>
                  <a:pt x="625" y="650"/>
                  <a:pt x="618" y="645"/>
                </a:cubicBezTo>
                <a:cubicBezTo>
                  <a:pt x="617" y="644"/>
                  <a:pt x="616" y="644"/>
                  <a:pt x="615" y="645"/>
                </a:cubicBezTo>
                <a:cubicBezTo>
                  <a:pt x="615" y="645"/>
                  <a:pt x="615" y="645"/>
                  <a:pt x="610" y="649"/>
                </a:cubicBezTo>
                <a:cubicBezTo>
                  <a:pt x="609" y="650"/>
                  <a:pt x="609" y="651"/>
                  <a:pt x="609" y="652"/>
                </a:cubicBezTo>
                <a:cubicBezTo>
                  <a:pt x="609" y="652"/>
                  <a:pt x="609" y="652"/>
                  <a:pt x="614" y="660"/>
                </a:cubicBezTo>
                <a:cubicBezTo>
                  <a:pt x="613" y="661"/>
                  <a:pt x="613" y="661"/>
                  <a:pt x="613" y="662"/>
                </a:cubicBezTo>
                <a:cubicBezTo>
                  <a:pt x="613" y="662"/>
                  <a:pt x="613" y="662"/>
                  <a:pt x="604" y="662"/>
                </a:cubicBezTo>
                <a:cubicBezTo>
                  <a:pt x="602" y="662"/>
                  <a:pt x="602" y="663"/>
                  <a:pt x="601" y="664"/>
                </a:cubicBezTo>
                <a:cubicBezTo>
                  <a:pt x="601" y="664"/>
                  <a:pt x="601" y="664"/>
                  <a:pt x="600" y="670"/>
                </a:cubicBezTo>
                <a:cubicBezTo>
                  <a:pt x="600" y="671"/>
                  <a:pt x="601" y="673"/>
                  <a:pt x="602" y="673"/>
                </a:cubicBezTo>
                <a:cubicBezTo>
                  <a:pt x="602" y="673"/>
                  <a:pt x="602" y="673"/>
                  <a:pt x="609" y="676"/>
                </a:cubicBezTo>
                <a:cubicBezTo>
                  <a:pt x="623" y="668"/>
                  <a:pt x="623" y="668"/>
                  <a:pt x="623" y="668"/>
                </a:cubicBezTo>
                <a:cubicBezTo>
                  <a:pt x="625" y="663"/>
                  <a:pt x="630" y="660"/>
                  <a:pt x="635" y="660"/>
                </a:cubicBezTo>
                <a:cubicBezTo>
                  <a:pt x="635" y="660"/>
                  <a:pt x="636" y="660"/>
                  <a:pt x="636" y="660"/>
                </a:cubicBezTo>
                <a:cubicBezTo>
                  <a:pt x="649" y="653"/>
                  <a:pt x="649" y="653"/>
                  <a:pt x="649" y="653"/>
                </a:cubicBezTo>
                <a:cubicBezTo>
                  <a:pt x="649" y="647"/>
                  <a:pt x="649" y="647"/>
                  <a:pt x="649" y="647"/>
                </a:cubicBezTo>
                <a:cubicBezTo>
                  <a:pt x="648" y="648"/>
                  <a:pt x="647" y="649"/>
                  <a:pt x="645" y="650"/>
                </a:cubicBezTo>
                <a:cubicBezTo>
                  <a:pt x="644" y="650"/>
                  <a:pt x="643" y="650"/>
                  <a:pt x="642" y="650"/>
                </a:cubicBezTo>
                <a:cubicBezTo>
                  <a:pt x="642" y="650"/>
                  <a:pt x="642" y="650"/>
                  <a:pt x="640" y="641"/>
                </a:cubicBezTo>
                <a:cubicBezTo>
                  <a:pt x="640" y="640"/>
                  <a:pt x="639" y="639"/>
                  <a:pt x="638" y="639"/>
                </a:cubicBezTo>
                <a:cubicBezTo>
                  <a:pt x="638" y="639"/>
                  <a:pt x="638" y="639"/>
                  <a:pt x="632" y="639"/>
                </a:cubicBezTo>
                <a:cubicBezTo>
                  <a:pt x="631" y="639"/>
                  <a:pt x="630" y="640"/>
                  <a:pt x="629" y="641"/>
                </a:cubicBezTo>
                <a:close/>
                <a:moveTo>
                  <a:pt x="561" y="639"/>
                </a:moveTo>
                <a:cubicBezTo>
                  <a:pt x="567" y="639"/>
                  <a:pt x="567" y="639"/>
                  <a:pt x="567" y="639"/>
                </a:cubicBezTo>
                <a:cubicBezTo>
                  <a:pt x="568" y="639"/>
                  <a:pt x="569" y="640"/>
                  <a:pt x="569" y="641"/>
                </a:cubicBezTo>
                <a:cubicBezTo>
                  <a:pt x="571" y="650"/>
                  <a:pt x="571" y="650"/>
                  <a:pt x="571" y="650"/>
                </a:cubicBezTo>
                <a:cubicBezTo>
                  <a:pt x="572" y="650"/>
                  <a:pt x="573" y="650"/>
                  <a:pt x="574" y="650"/>
                </a:cubicBezTo>
                <a:cubicBezTo>
                  <a:pt x="581" y="645"/>
                  <a:pt x="581" y="645"/>
                  <a:pt x="581" y="645"/>
                </a:cubicBezTo>
                <a:cubicBezTo>
                  <a:pt x="582" y="644"/>
                  <a:pt x="583" y="644"/>
                  <a:pt x="584" y="645"/>
                </a:cubicBezTo>
                <a:cubicBezTo>
                  <a:pt x="589" y="649"/>
                  <a:pt x="589" y="649"/>
                  <a:pt x="589" y="649"/>
                </a:cubicBezTo>
                <a:cubicBezTo>
                  <a:pt x="589" y="650"/>
                  <a:pt x="590" y="651"/>
                  <a:pt x="589" y="652"/>
                </a:cubicBezTo>
                <a:cubicBezTo>
                  <a:pt x="585" y="660"/>
                  <a:pt x="585" y="660"/>
                  <a:pt x="585" y="660"/>
                </a:cubicBezTo>
                <a:cubicBezTo>
                  <a:pt x="585" y="661"/>
                  <a:pt x="586" y="661"/>
                  <a:pt x="586" y="662"/>
                </a:cubicBezTo>
                <a:cubicBezTo>
                  <a:pt x="595" y="662"/>
                  <a:pt x="595" y="662"/>
                  <a:pt x="595" y="662"/>
                </a:cubicBezTo>
                <a:cubicBezTo>
                  <a:pt x="596" y="662"/>
                  <a:pt x="597" y="663"/>
                  <a:pt x="597" y="664"/>
                </a:cubicBezTo>
                <a:cubicBezTo>
                  <a:pt x="599" y="670"/>
                  <a:pt x="599" y="670"/>
                  <a:pt x="599" y="670"/>
                </a:cubicBezTo>
                <a:cubicBezTo>
                  <a:pt x="599" y="671"/>
                  <a:pt x="598" y="673"/>
                  <a:pt x="597" y="673"/>
                </a:cubicBezTo>
                <a:cubicBezTo>
                  <a:pt x="589" y="676"/>
                  <a:pt x="589" y="676"/>
                  <a:pt x="589" y="676"/>
                </a:cubicBezTo>
                <a:cubicBezTo>
                  <a:pt x="589" y="677"/>
                  <a:pt x="589" y="678"/>
                  <a:pt x="588" y="679"/>
                </a:cubicBezTo>
                <a:cubicBezTo>
                  <a:pt x="592" y="682"/>
                  <a:pt x="594" y="684"/>
                  <a:pt x="595" y="684"/>
                </a:cubicBezTo>
                <a:cubicBezTo>
                  <a:pt x="581" y="692"/>
                  <a:pt x="581" y="692"/>
                  <a:pt x="581" y="692"/>
                </a:cubicBezTo>
                <a:cubicBezTo>
                  <a:pt x="581" y="692"/>
                  <a:pt x="581" y="692"/>
                  <a:pt x="581" y="692"/>
                </a:cubicBezTo>
                <a:cubicBezTo>
                  <a:pt x="581" y="692"/>
                  <a:pt x="581" y="692"/>
                  <a:pt x="581" y="692"/>
                </a:cubicBezTo>
                <a:cubicBezTo>
                  <a:pt x="568" y="700"/>
                  <a:pt x="568" y="700"/>
                  <a:pt x="568" y="700"/>
                </a:cubicBezTo>
                <a:cubicBezTo>
                  <a:pt x="567" y="699"/>
                  <a:pt x="567" y="698"/>
                  <a:pt x="567" y="698"/>
                </a:cubicBezTo>
                <a:cubicBezTo>
                  <a:pt x="566" y="699"/>
                  <a:pt x="565" y="699"/>
                  <a:pt x="564" y="699"/>
                </a:cubicBezTo>
                <a:cubicBezTo>
                  <a:pt x="564" y="699"/>
                  <a:pt x="564" y="699"/>
                  <a:pt x="564" y="699"/>
                </a:cubicBezTo>
                <a:cubicBezTo>
                  <a:pt x="563" y="701"/>
                  <a:pt x="562" y="702"/>
                  <a:pt x="561" y="704"/>
                </a:cubicBezTo>
                <a:cubicBezTo>
                  <a:pt x="555" y="707"/>
                  <a:pt x="555" y="707"/>
                  <a:pt x="555" y="707"/>
                </a:cubicBezTo>
                <a:cubicBezTo>
                  <a:pt x="551" y="706"/>
                  <a:pt x="551" y="706"/>
                  <a:pt x="551" y="706"/>
                </a:cubicBezTo>
                <a:cubicBezTo>
                  <a:pt x="550" y="706"/>
                  <a:pt x="549" y="705"/>
                  <a:pt x="549" y="703"/>
                </a:cubicBezTo>
                <a:cubicBezTo>
                  <a:pt x="550" y="694"/>
                  <a:pt x="550" y="694"/>
                  <a:pt x="550" y="694"/>
                </a:cubicBezTo>
                <a:cubicBezTo>
                  <a:pt x="549" y="694"/>
                  <a:pt x="548" y="693"/>
                  <a:pt x="547" y="693"/>
                </a:cubicBezTo>
                <a:cubicBezTo>
                  <a:pt x="539" y="696"/>
                  <a:pt x="539" y="696"/>
                  <a:pt x="539" y="696"/>
                </a:cubicBezTo>
                <a:cubicBezTo>
                  <a:pt x="538" y="696"/>
                  <a:pt x="537" y="696"/>
                  <a:pt x="536" y="695"/>
                </a:cubicBezTo>
                <a:cubicBezTo>
                  <a:pt x="533" y="690"/>
                  <a:pt x="533" y="690"/>
                  <a:pt x="533" y="690"/>
                </a:cubicBezTo>
                <a:cubicBezTo>
                  <a:pt x="532" y="689"/>
                  <a:pt x="532" y="687"/>
                  <a:pt x="533" y="686"/>
                </a:cubicBezTo>
                <a:cubicBezTo>
                  <a:pt x="540" y="680"/>
                  <a:pt x="540" y="680"/>
                  <a:pt x="540" y="680"/>
                </a:cubicBezTo>
                <a:cubicBezTo>
                  <a:pt x="540" y="679"/>
                  <a:pt x="539" y="678"/>
                  <a:pt x="539" y="676"/>
                </a:cubicBezTo>
                <a:cubicBezTo>
                  <a:pt x="531" y="673"/>
                  <a:pt x="531" y="673"/>
                  <a:pt x="531" y="673"/>
                </a:cubicBezTo>
                <a:cubicBezTo>
                  <a:pt x="530" y="673"/>
                  <a:pt x="529" y="671"/>
                  <a:pt x="529" y="670"/>
                </a:cubicBezTo>
                <a:cubicBezTo>
                  <a:pt x="530" y="664"/>
                  <a:pt x="530" y="664"/>
                  <a:pt x="530" y="664"/>
                </a:cubicBezTo>
                <a:cubicBezTo>
                  <a:pt x="531" y="663"/>
                  <a:pt x="532" y="662"/>
                  <a:pt x="533" y="662"/>
                </a:cubicBezTo>
                <a:cubicBezTo>
                  <a:pt x="542" y="662"/>
                  <a:pt x="542" y="662"/>
                  <a:pt x="542" y="662"/>
                </a:cubicBezTo>
                <a:cubicBezTo>
                  <a:pt x="542" y="661"/>
                  <a:pt x="543" y="661"/>
                  <a:pt x="543" y="660"/>
                </a:cubicBezTo>
                <a:cubicBezTo>
                  <a:pt x="539" y="652"/>
                  <a:pt x="539" y="652"/>
                  <a:pt x="539" y="652"/>
                </a:cubicBezTo>
                <a:cubicBezTo>
                  <a:pt x="538" y="651"/>
                  <a:pt x="538" y="650"/>
                  <a:pt x="539" y="649"/>
                </a:cubicBezTo>
                <a:cubicBezTo>
                  <a:pt x="544" y="645"/>
                  <a:pt x="544" y="645"/>
                  <a:pt x="544" y="645"/>
                </a:cubicBezTo>
                <a:cubicBezTo>
                  <a:pt x="545" y="644"/>
                  <a:pt x="546" y="644"/>
                  <a:pt x="547" y="645"/>
                </a:cubicBezTo>
                <a:cubicBezTo>
                  <a:pt x="554" y="650"/>
                  <a:pt x="554" y="650"/>
                  <a:pt x="554" y="650"/>
                </a:cubicBezTo>
                <a:cubicBezTo>
                  <a:pt x="555" y="650"/>
                  <a:pt x="556" y="650"/>
                  <a:pt x="557" y="650"/>
                </a:cubicBezTo>
                <a:cubicBezTo>
                  <a:pt x="559" y="641"/>
                  <a:pt x="559" y="641"/>
                  <a:pt x="559" y="641"/>
                </a:cubicBezTo>
                <a:cubicBezTo>
                  <a:pt x="559" y="640"/>
                  <a:pt x="560" y="639"/>
                  <a:pt x="561" y="639"/>
                </a:cubicBezTo>
                <a:close/>
                <a:moveTo>
                  <a:pt x="564" y="660"/>
                </a:moveTo>
                <a:cubicBezTo>
                  <a:pt x="557" y="660"/>
                  <a:pt x="551" y="666"/>
                  <a:pt x="551" y="674"/>
                </a:cubicBezTo>
                <a:cubicBezTo>
                  <a:pt x="551" y="681"/>
                  <a:pt x="557" y="687"/>
                  <a:pt x="564" y="687"/>
                </a:cubicBezTo>
                <a:cubicBezTo>
                  <a:pt x="571" y="687"/>
                  <a:pt x="577" y="681"/>
                  <a:pt x="577" y="674"/>
                </a:cubicBezTo>
                <a:cubicBezTo>
                  <a:pt x="577" y="666"/>
                  <a:pt x="571" y="660"/>
                  <a:pt x="564" y="660"/>
                </a:cubicBezTo>
                <a:close/>
                <a:moveTo>
                  <a:pt x="336" y="566"/>
                </a:moveTo>
                <a:cubicBezTo>
                  <a:pt x="337" y="557"/>
                  <a:pt x="337" y="557"/>
                  <a:pt x="337" y="557"/>
                </a:cubicBezTo>
                <a:cubicBezTo>
                  <a:pt x="336" y="556"/>
                  <a:pt x="336" y="555"/>
                  <a:pt x="335" y="555"/>
                </a:cubicBezTo>
                <a:cubicBezTo>
                  <a:pt x="326" y="558"/>
                  <a:pt x="326" y="558"/>
                  <a:pt x="326" y="558"/>
                </a:cubicBezTo>
                <a:cubicBezTo>
                  <a:pt x="325" y="558"/>
                  <a:pt x="324" y="558"/>
                  <a:pt x="323" y="557"/>
                </a:cubicBezTo>
                <a:cubicBezTo>
                  <a:pt x="320" y="552"/>
                  <a:pt x="320" y="552"/>
                  <a:pt x="320" y="552"/>
                </a:cubicBezTo>
                <a:cubicBezTo>
                  <a:pt x="320" y="551"/>
                  <a:pt x="320" y="550"/>
                  <a:pt x="321" y="549"/>
                </a:cubicBezTo>
                <a:cubicBezTo>
                  <a:pt x="327" y="542"/>
                  <a:pt x="327" y="543"/>
                  <a:pt x="327" y="543"/>
                </a:cubicBezTo>
                <a:cubicBezTo>
                  <a:pt x="327" y="541"/>
                  <a:pt x="327" y="540"/>
                  <a:pt x="327" y="539"/>
                </a:cubicBezTo>
                <a:cubicBezTo>
                  <a:pt x="318" y="535"/>
                  <a:pt x="318" y="535"/>
                  <a:pt x="318" y="535"/>
                </a:cubicBezTo>
                <a:cubicBezTo>
                  <a:pt x="317" y="535"/>
                  <a:pt x="316" y="534"/>
                  <a:pt x="317" y="533"/>
                </a:cubicBezTo>
                <a:cubicBezTo>
                  <a:pt x="318" y="527"/>
                  <a:pt x="318" y="527"/>
                  <a:pt x="318" y="527"/>
                </a:cubicBezTo>
                <a:cubicBezTo>
                  <a:pt x="318" y="525"/>
                  <a:pt x="319" y="524"/>
                  <a:pt x="320" y="524"/>
                </a:cubicBezTo>
                <a:cubicBezTo>
                  <a:pt x="329" y="524"/>
                  <a:pt x="329" y="524"/>
                  <a:pt x="329" y="524"/>
                </a:cubicBezTo>
                <a:cubicBezTo>
                  <a:pt x="329" y="523"/>
                  <a:pt x="330" y="523"/>
                  <a:pt x="330" y="522"/>
                </a:cubicBezTo>
                <a:cubicBezTo>
                  <a:pt x="326" y="514"/>
                  <a:pt x="326" y="514"/>
                  <a:pt x="326" y="514"/>
                </a:cubicBezTo>
                <a:cubicBezTo>
                  <a:pt x="325" y="513"/>
                  <a:pt x="326" y="512"/>
                  <a:pt x="327" y="511"/>
                </a:cubicBezTo>
                <a:cubicBezTo>
                  <a:pt x="331" y="507"/>
                  <a:pt x="331" y="507"/>
                  <a:pt x="331" y="507"/>
                </a:cubicBezTo>
                <a:cubicBezTo>
                  <a:pt x="332" y="507"/>
                  <a:pt x="333" y="507"/>
                  <a:pt x="334" y="507"/>
                </a:cubicBezTo>
                <a:cubicBezTo>
                  <a:pt x="341" y="513"/>
                  <a:pt x="341" y="513"/>
                  <a:pt x="341" y="513"/>
                </a:cubicBezTo>
                <a:cubicBezTo>
                  <a:pt x="342" y="512"/>
                  <a:pt x="343" y="512"/>
                  <a:pt x="344" y="512"/>
                </a:cubicBezTo>
                <a:cubicBezTo>
                  <a:pt x="346" y="503"/>
                  <a:pt x="346" y="503"/>
                  <a:pt x="346" y="503"/>
                </a:cubicBezTo>
                <a:cubicBezTo>
                  <a:pt x="346" y="502"/>
                  <a:pt x="347" y="501"/>
                  <a:pt x="348" y="501"/>
                </a:cubicBezTo>
                <a:cubicBezTo>
                  <a:pt x="354" y="501"/>
                  <a:pt x="354" y="501"/>
                  <a:pt x="354" y="501"/>
                </a:cubicBezTo>
                <a:cubicBezTo>
                  <a:pt x="355" y="501"/>
                  <a:pt x="357" y="502"/>
                  <a:pt x="357" y="503"/>
                </a:cubicBezTo>
                <a:cubicBezTo>
                  <a:pt x="358" y="512"/>
                  <a:pt x="358" y="512"/>
                  <a:pt x="358" y="512"/>
                </a:cubicBezTo>
                <a:cubicBezTo>
                  <a:pt x="359" y="512"/>
                  <a:pt x="360" y="512"/>
                  <a:pt x="361" y="513"/>
                </a:cubicBezTo>
                <a:cubicBezTo>
                  <a:pt x="368" y="507"/>
                  <a:pt x="368" y="507"/>
                  <a:pt x="368" y="507"/>
                </a:cubicBezTo>
                <a:cubicBezTo>
                  <a:pt x="369" y="507"/>
                  <a:pt x="370" y="507"/>
                  <a:pt x="371" y="507"/>
                </a:cubicBezTo>
                <a:cubicBezTo>
                  <a:pt x="376" y="511"/>
                  <a:pt x="376" y="511"/>
                  <a:pt x="376" y="511"/>
                </a:cubicBezTo>
                <a:cubicBezTo>
                  <a:pt x="377" y="512"/>
                  <a:pt x="377" y="513"/>
                  <a:pt x="376" y="514"/>
                </a:cubicBezTo>
                <a:cubicBezTo>
                  <a:pt x="372" y="522"/>
                  <a:pt x="372" y="522"/>
                  <a:pt x="372" y="522"/>
                </a:cubicBezTo>
                <a:cubicBezTo>
                  <a:pt x="373" y="523"/>
                  <a:pt x="373" y="523"/>
                  <a:pt x="373" y="524"/>
                </a:cubicBezTo>
                <a:cubicBezTo>
                  <a:pt x="383" y="524"/>
                  <a:pt x="383" y="524"/>
                  <a:pt x="383" y="524"/>
                </a:cubicBezTo>
                <a:cubicBezTo>
                  <a:pt x="384" y="524"/>
                  <a:pt x="384" y="525"/>
                  <a:pt x="385" y="527"/>
                </a:cubicBezTo>
                <a:cubicBezTo>
                  <a:pt x="386" y="532"/>
                  <a:pt x="386" y="532"/>
                  <a:pt x="386" y="532"/>
                </a:cubicBezTo>
                <a:cubicBezTo>
                  <a:pt x="386" y="534"/>
                  <a:pt x="385" y="535"/>
                  <a:pt x="384" y="535"/>
                </a:cubicBezTo>
                <a:cubicBezTo>
                  <a:pt x="376" y="539"/>
                  <a:pt x="376" y="539"/>
                  <a:pt x="376" y="539"/>
                </a:cubicBezTo>
                <a:cubicBezTo>
                  <a:pt x="376" y="539"/>
                  <a:pt x="376" y="540"/>
                  <a:pt x="376" y="541"/>
                </a:cubicBezTo>
                <a:cubicBezTo>
                  <a:pt x="383" y="547"/>
                  <a:pt x="383" y="547"/>
                  <a:pt x="383" y="547"/>
                </a:cubicBezTo>
                <a:cubicBezTo>
                  <a:pt x="383" y="548"/>
                  <a:pt x="384" y="549"/>
                  <a:pt x="383" y="550"/>
                </a:cubicBezTo>
                <a:cubicBezTo>
                  <a:pt x="380" y="555"/>
                  <a:pt x="380" y="555"/>
                  <a:pt x="380" y="555"/>
                </a:cubicBezTo>
                <a:cubicBezTo>
                  <a:pt x="380" y="556"/>
                  <a:pt x="378" y="557"/>
                  <a:pt x="377" y="557"/>
                </a:cubicBezTo>
                <a:cubicBezTo>
                  <a:pt x="369" y="554"/>
                  <a:pt x="369" y="554"/>
                  <a:pt x="369" y="554"/>
                </a:cubicBezTo>
                <a:cubicBezTo>
                  <a:pt x="368" y="554"/>
                  <a:pt x="368" y="555"/>
                  <a:pt x="367" y="555"/>
                </a:cubicBezTo>
                <a:cubicBezTo>
                  <a:pt x="369" y="564"/>
                  <a:pt x="369" y="564"/>
                  <a:pt x="369" y="564"/>
                </a:cubicBezTo>
                <a:cubicBezTo>
                  <a:pt x="369" y="565"/>
                  <a:pt x="369" y="566"/>
                  <a:pt x="368" y="566"/>
                </a:cubicBezTo>
                <a:cubicBezTo>
                  <a:pt x="362" y="569"/>
                  <a:pt x="362" y="569"/>
                  <a:pt x="362" y="569"/>
                </a:cubicBezTo>
                <a:cubicBezTo>
                  <a:pt x="361" y="570"/>
                  <a:pt x="360" y="569"/>
                  <a:pt x="359" y="568"/>
                </a:cubicBezTo>
                <a:cubicBezTo>
                  <a:pt x="354" y="561"/>
                  <a:pt x="354" y="561"/>
                  <a:pt x="354" y="561"/>
                </a:cubicBezTo>
                <a:cubicBezTo>
                  <a:pt x="353" y="561"/>
                  <a:pt x="352" y="561"/>
                  <a:pt x="351" y="561"/>
                </a:cubicBezTo>
                <a:cubicBezTo>
                  <a:pt x="351" y="561"/>
                  <a:pt x="351" y="561"/>
                  <a:pt x="351" y="561"/>
                </a:cubicBezTo>
                <a:cubicBezTo>
                  <a:pt x="347" y="569"/>
                  <a:pt x="347" y="569"/>
                  <a:pt x="347" y="569"/>
                </a:cubicBezTo>
                <a:cubicBezTo>
                  <a:pt x="346" y="570"/>
                  <a:pt x="345" y="570"/>
                  <a:pt x="344" y="570"/>
                </a:cubicBezTo>
                <a:cubicBezTo>
                  <a:pt x="338" y="568"/>
                  <a:pt x="338" y="568"/>
                  <a:pt x="338" y="568"/>
                </a:cubicBezTo>
                <a:cubicBezTo>
                  <a:pt x="337" y="568"/>
                  <a:pt x="336" y="567"/>
                  <a:pt x="336" y="566"/>
                </a:cubicBezTo>
                <a:close/>
                <a:moveTo>
                  <a:pt x="338" y="536"/>
                </a:moveTo>
                <a:cubicBezTo>
                  <a:pt x="338" y="543"/>
                  <a:pt x="344" y="549"/>
                  <a:pt x="351" y="549"/>
                </a:cubicBezTo>
                <a:cubicBezTo>
                  <a:pt x="358" y="549"/>
                  <a:pt x="365" y="543"/>
                  <a:pt x="365" y="536"/>
                </a:cubicBezTo>
                <a:cubicBezTo>
                  <a:pt x="365" y="528"/>
                  <a:pt x="358" y="523"/>
                  <a:pt x="351" y="523"/>
                </a:cubicBezTo>
                <a:cubicBezTo>
                  <a:pt x="344" y="523"/>
                  <a:pt x="338" y="528"/>
                  <a:pt x="338" y="536"/>
                </a:cubicBezTo>
                <a:close/>
                <a:moveTo>
                  <a:pt x="493" y="679"/>
                </a:moveTo>
                <a:cubicBezTo>
                  <a:pt x="496" y="679"/>
                  <a:pt x="499" y="677"/>
                  <a:pt x="499" y="674"/>
                </a:cubicBezTo>
                <a:cubicBezTo>
                  <a:pt x="499" y="670"/>
                  <a:pt x="496" y="668"/>
                  <a:pt x="493" y="668"/>
                </a:cubicBezTo>
                <a:cubicBezTo>
                  <a:pt x="490" y="668"/>
                  <a:pt x="487" y="670"/>
                  <a:pt x="487" y="674"/>
                </a:cubicBezTo>
                <a:cubicBezTo>
                  <a:pt x="487" y="677"/>
                  <a:pt x="490" y="679"/>
                  <a:pt x="493" y="679"/>
                </a:cubicBezTo>
                <a:close/>
                <a:moveTo>
                  <a:pt x="535" y="718"/>
                </a:moveTo>
                <a:cubicBezTo>
                  <a:pt x="535" y="718"/>
                  <a:pt x="535" y="718"/>
                  <a:pt x="533" y="710"/>
                </a:cubicBezTo>
                <a:cubicBezTo>
                  <a:pt x="533" y="709"/>
                  <a:pt x="532" y="708"/>
                  <a:pt x="531" y="708"/>
                </a:cubicBezTo>
                <a:cubicBezTo>
                  <a:pt x="531" y="708"/>
                  <a:pt x="531" y="708"/>
                  <a:pt x="525" y="708"/>
                </a:cubicBezTo>
                <a:cubicBezTo>
                  <a:pt x="524" y="708"/>
                  <a:pt x="523" y="709"/>
                  <a:pt x="523" y="710"/>
                </a:cubicBezTo>
                <a:cubicBezTo>
                  <a:pt x="523" y="710"/>
                  <a:pt x="523" y="710"/>
                  <a:pt x="521" y="718"/>
                </a:cubicBezTo>
                <a:cubicBezTo>
                  <a:pt x="520" y="719"/>
                  <a:pt x="519" y="719"/>
                  <a:pt x="518" y="719"/>
                </a:cubicBezTo>
                <a:cubicBezTo>
                  <a:pt x="518" y="719"/>
                  <a:pt x="518" y="719"/>
                  <a:pt x="511" y="714"/>
                </a:cubicBezTo>
                <a:cubicBezTo>
                  <a:pt x="510" y="713"/>
                  <a:pt x="509" y="713"/>
                  <a:pt x="508" y="714"/>
                </a:cubicBezTo>
                <a:cubicBezTo>
                  <a:pt x="508" y="714"/>
                  <a:pt x="508" y="714"/>
                  <a:pt x="503" y="718"/>
                </a:cubicBezTo>
                <a:cubicBezTo>
                  <a:pt x="502" y="719"/>
                  <a:pt x="502" y="720"/>
                  <a:pt x="503" y="721"/>
                </a:cubicBezTo>
                <a:cubicBezTo>
                  <a:pt x="503" y="721"/>
                  <a:pt x="503" y="721"/>
                  <a:pt x="507" y="729"/>
                </a:cubicBezTo>
                <a:cubicBezTo>
                  <a:pt x="507" y="730"/>
                  <a:pt x="506" y="730"/>
                  <a:pt x="506" y="731"/>
                </a:cubicBezTo>
                <a:cubicBezTo>
                  <a:pt x="506" y="731"/>
                  <a:pt x="506" y="731"/>
                  <a:pt x="497" y="731"/>
                </a:cubicBezTo>
                <a:cubicBezTo>
                  <a:pt x="496" y="731"/>
                  <a:pt x="495" y="732"/>
                  <a:pt x="494" y="733"/>
                </a:cubicBezTo>
                <a:cubicBezTo>
                  <a:pt x="494" y="733"/>
                  <a:pt x="494" y="733"/>
                  <a:pt x="493" y="739"/>
                </a:cubicBezTo>
                <a:cubicBezTo>
                  <a:pt x="493" y="740"/>
                  <a:pt x="494" y="742"/>
                  <a:pt x="495" y="742"/>
                </a:cubicBezTo>
                <a:cubicBezTo>
                  <a:pt x="495" y="742"/>
                  <a:pt x="495" y="742"/>
                  <a:pt x="495" y="742"/>
                </a:cubicBezTo>
                <a:cubicBezTo>
                  <a:pt x="535" y="718"/>
                  <a:pt x="535" y="718"/>
                  <a:pt x="535" y="718"/>
                </a:cubicBezTo>
                <a:cubicBezTo>
                  <a:pt x="535" y="718"/>
                  <a:pt x="535" y="718"/>
                  <a:pt x="535" y="718"/>
                </a:cubicBezTo>
                <a:close/>
                <a:moveTo>
                  <a:pt x="639" y="593"/>
                </a:moveTo>
                <a:cubicBezTo>
                  <a:pt x="637" y="593"/>
                  <a:pt x="636" y="594"/>
                  <a:pt x="636" y="595"/>
                </a:cubicBezTo>
                <a:cubicBezTo>
                  <a:pt x="636" y="595"/>
                  <a:pt x="636" y="595"/>
                  <a:pt x="635" y="602"/>
                </a:cubicBezTo>
                <a:cubicBezTo>
                  <a:pt x="635" y="602"/>
                  <a:pt x="636" y="604"/>
                  <a:pt x="636" y="604"/>
                </a:cubicBezTo>
                <a:cubicBezTo>
                  <a:pt x="636" y="604"/>
                  <a:pt x="636" y="604"/>
                  <a:pt x="645" y="607"/>
                </a:cubicBezTo>
                <a:cubicBezTo>
                  <a:pt x="645" y="609"/>
                  <a:pt x="645" y="610"/>
                  <a:pt x="646" y="611"/>
                </a:cubicBezTo>
                <a:cubicBezTo>
                  <a:pt x="646" y="611"/>
                  <a:pt x="646" y="611"/>
                  <a:pt x="639" y="618"/>
                </a:cubicBezTo>
                <a:cubicBezTo>
                  <a:pt x="638" y="618"/>
                  <a:pt x="638" y="620"/>
                  <a:pt x="639" y="621"/>
                </a:cubicBezTo>
                <a:cubicBezTo>
                  <a:pt x="639" y="621"/>
                  <a:pt x="639" y="621"/>
                  <a:pt x="642" y="626"/>
                </a:cubicBezTo>
                <a:cubicBezTo>
                  <a:pt x="643" y="627"/>
                  <a:pt x="644" y="627"/>
                  <a:pt x="645" y="627"/>
                </a:cubicBezTo>
                <a:cubicBezTo>
                  <a:pt x="645" y="627"/>
                  <a:pt x="645" y="627"/>
                  <a:pt x="649" y="625"/>
                </a:cubicBezTo>
                <a:cubicBezTo>
                  <a:pt x="649" y="577"/>
                  <a:pt x="649" y="577"/>
                  <a:pt x="649" y="577"/>
                </a:cubicBezTo>
                <a:cubicBezTo>
                  <a:pt x="649" y="577"/>
                  <a:pt x="647" y="578"/>
                  <a:pt x="645" y="580"/>
                </a:cubicBezTo>
                <a:cubicBezTo>
                  <a:pt x="644" y="581"/>
                  <a:pt x="644" y="582"/>
                  <a:pt x="644" y="583"/>
                </a:cubicBezTo>
                <a:cubicBezTo>
                  <a:pt x="644" y="583"/>
                  <a:pt x="644" y="583"/>
                  <a:pt x="649" y="591"/>
                </a:cubicBezTo>
                <a:cubicBezTo>
                  <a:pt x="648" y="592"/>
                  <a:pt x="648" y="592"/>
                  <a:pt x="647" y="593"/>
                </a:cubicBezTo>
                <a:cubicBezTo>
                  <a:pt x="647" y="593"/>
                  <a:pt x="647" y="593"/>
                  <a:pt x="639" y="593"/>
                </a:cubicBezTo>
                <a:close/>
                <a:moveTo>
                  <a:pt x="577" y="593"/>
                </a:moveTo>
                <a:cubicBezTo>
                  <a:pt x="577" y="592"/>
                  <a:pt x="577" y="592"/>
                  <a:pt x="578" y="591"/>
                </a:cubicBezTo>
                <a:cubicBezTo>
                  <a:pt x="573" y="583"/>
                  <a:pt x="573" y="583"/>
                  <a:pt x="573" y="583"/>
                </a:cubicBezTo>
                <a:cubicBezTo>
                  <a:pt x="573" y="582"/>
                  <a:pt x="573" y="581"/>
                  <a:pt x="574" y="580"/>
                </a:cubicBezTo>
                <a:cubicBezTo>
                  <a:pt x="579" y="576"/>
                  <a:pt x="579" y="576"/>
                  <a:pt x="579" y="576"/>
                </a:cubicBezTo>
                <a:cubicBezTo>
                  <a:pt x="580" y="575"/>
                  <a:pt x="581" y="575"/>
                  <a:pt x="582" y="576"/>
                </a:cubicBezTo>
                <a:cubicBezTo>
                  <a:pt x="589" y="582"/>
                  <a:pt x="589" y="582"/>
                  <a:pt x="589" y="582"/>
                </a:cubicBezTo>
                <a:cubicBezTo>
                  <a:pt x="590" y="581"/>
                  <a:pt x="591" y="581"/>
                  <a:pt x="592" y="581"/>
                </a:cubicBezTo>
                <a:cubicBezTo>
                  <a:pt x="593" y="572"/>
                  <a:pt x="593" y="572"/>
                  <a:pt x="593" y="572"/>
                </a:cubicBezTo>
                <a:cubicBezTo>
                  <a:pt x="594" y="571"/>
                  <a:pt x="595" y="570"/>
                  <a:pt x="596" y="570"/>
                </a:cubicBezTo>
                <a:cubicBezTo>
                  <a:pt x="602" y="570"/>
                  <a:pt x="602" y="570"/>
                  <a:pt x="602" y="570"/>
                </a:cubicBezTo>
                <a:cubicBezTo>
                  <a:pt x="603" y="570"/>
                  <a:pt x="604" y="571"/>
                  <a:pt x="604" y="572"/>
                </a:cubicBezTo>
                <a:cubicBezTo>
                  <a:pt x="606" y="581"/>
                  <a:pt x="606" y="581"/>
                  <a:pt x="606" y="581"/>
                </a:cubicBezTo>
                <a:cubicBezTo>
                  <a:pt x="607" y="581"/>
                  <a:pt x="608" y="581"/>
                  <a:pt x="609" y="582"/>
                </a:cubicBezTo>
                <a:cubicBezTo>
                  <a:pt x="616" y="576"/>
                  <a:pt x="616" y="576"/>
                  <a:pt x="616" y="576"/>
                </a:cubicBezTo>
                <a:cubicBezTo>
                  <a:pt x="616" y="575"/>
                  <a:pt x="618" y="575"/>
                  <a:pt x="619" y="576"/>
                </a:cubicBezTo>
                <a:cubicBezTo>
                  <a:pt x="623" y="580"/>
                  <a:pt x="623" y="580"/>
                  <a:pt x="623" y="580"/>
                </a:cubicBezTo>
                <a:cubicBezTo>
                  <a:pt x="624" y="581"/>
                  <a:pt x="625" y="582"/>
                  <a:pt x="624" y="583"/>
                </a:cubicBezTo>
                <a:cubicBezTo>
                  <a:pt x="620" y="591"/>
                  <a:pt x="620" y="591"/>
                  <a:pt x="620" y="591"/>
                </a:cubicBezTo>
                <a:cubicBezTo>
                  <a:pt x="620" y="592"/>
                  <a:pt x="621" y="592"/>
                  <a:pt x="621" y="593"/>
                </a:cubicBezTo>
                <a:cubicBezTo>
                  <a:pt x="630" y="593"/>
                  <a:pt x="630" y="593"/>
                  <a:pt x="630" y="593"/>
                </a:cubicBezTo>
                <a:cubicBezTo>
                  <a:pt x="631" y="593"/>
                  <a:pt x="632" y="594"/>
                  <a:pt x="632" y="595"/>
                </a:cubicBezTo>
                <a:cubicBezTo>
                  <a:pt x="634" y="601"/>
                  <a:pt x="634" y="601"/>
                  <a:pt x="634" y="601"/>
                </a:cubicBezTo>
                <a:cubicBezTo>
                  <a:pt x="634" y="602"/>
                  <a:pt x="633" y="604"/>
                  <a:pt x="632" y="604"/>
                </a:cubicBezTo>
                <a:cubicBezTo>
                  <a:pt x="624" y="607"/>
                  <a:pt x="624" y="607"/>
                  <a:pt x="624" y="607"/>
                </a:cubicBezTo>
                <a:cubicBezTo>
                  <a:pt x="623" y="608"/>
                  <a:pt x="623" y="609"/>
                  <a:pt x="623" y="610"/>
                </a:cubicBezTo>
                <a:cubicBezTo>
                  <a:pt x="630" y="616"/>
                  <a:pt x="630" y="616"/>
                  <a:pt x="630" y="616"/>
                </a:cubicBezTo>
                <a:cubicBezTo>
                  <a:pt x="631" y="617"/>
                  <a:pt x="631" y="618"/>
                  <a:pt x="631" y="619"/>
                </a:cubicBezTo>
                <a:cubicBezTo>
                  <a:pt x="628" y="624"/>
                  <a:pt x="628" y="624"/>
                  <a:pt x="628" y="624"/>
                </a:cubicBezTo>
                <a:cubicBezTo>
                  <a:pt x="627" y="625"/>
                  <a:pt x="626" y="626"/>
                  <a:pt x="625" y="626"/>
                </a:cubicBezTo>
                <a:cubicBezTo>
                  <a:pt x="616" y="623"/>
                  <a:pt x="616" y="623"/>
                  <a:pt x="616" y="623"/>
                </a:cubicBezTo>
                <a:cubicBezTo>
                  <a:pt x="616" y="623"/>
                  <a:pt x="615" y="623"/>
                  <a:pt x="615" y="624"/>
                </a:cubicBezTo>
                <a:cubicBezTo>
                  <a:pt x="617" y="633"/>
                  <a:pt x="617" y="633"/>
                  <a:pt x="617" y="633"/>
                </a:cubicBezTo>
                <a:cubicBezTo>
                  <a:pt x="617" y="634"/>
                  <a:pt x="616" y="635"/>
                  <a:pt x="615" y="635"/>
                </a:cubicBezTo>
                <a:cubicBezTo>
                  <a:pt x="610" y="638"/>
                  <a:pt x="610" y="638"/>
                  <a:pt x="610" y="638"/>
                </a:cubicBezTo>
                <a:cubicBezTo>
                  <a:pt x="609" y="638"/>
                  <a:pt x="608" y="638"/>
                  <a:pt x="607" y="637"/>
                </a:cubicBezTo>
                <a:cubicBezTo>
                  <a:pt x="602" y="630"/>
                  <a:pt x="602" y="630"/>
                  <a:pt x="602" y="630"/>
                </a:cubicBezTo>
                <a:cubicBezTo>
                  <a:pt x="601" y="630"/>
                  <a:pt x="600" y="630"/>
                  <a:pt x="599" y="630"/>
                </a:cubicBezTo>
                <a:cubicBezTo>
                  <a:pt x="599" y="630"/>
                  <a:pt x="599" y="630"/>
                  <a:pt x="599" y="630"/>
                </a:cubicBezTo>
                <a:cubicBezTo>
                  <a:pt x="594" y="638"/>
                  <a:pt x="594" y="638"/>
                  <a:pt x="594" y="638"/>
                </a:cubicBezTo>
                <a:cubicBezTo>
                  <a:pt x="594" y="639"/>
                  <a:pt x="593" y="639"/>
                  <a:pt x="592" y="639"/>
                </a:cubicBezTo>
                <a:cubicBezTo>
                  <a:pt x="585" y="637"/>
                  <a:pt x="585" y="637"/>
                  <a:pt x="585" y="637"/>
                </a:cubicBezTo>
                <a:cubicBezTo>
                  <a:pt x="585" y="637"/>
                  <a:pt x="584" y="636"/>
                  <a:pt x="584" y="634"/>
                </a:cubicBezTo>
                <a:cubicBezTo>
                  <a:pt x="585" y="626"/>
                  <a:pt x="585" y="626"/>
                  <a:pt x="585" y="626"/>
                </a:cubicBezTo>
                <a:cubicBezTo>
                  <a:pt x="584" y="625"/>
                  <a:pt x="583" y="624"/>
                  <a:pt x="582" y="624"/>
                </a:cubicBezTo>
                <a:cubicBezTo>
                  <a:pt x="574" y="627"/>
                  <a:pt x="574" y="627"/>
                  <a:pt x="574" y="627"/>
                </a:cubicBezTo>
                <a:cubicBezTo>
                  <a:pt x="573" y="627"/>
                  <a:pt x="572" y="627"/>
                  <a:pt x="571" y="626"/>
                </a:cubicBezTo>
                <a:cubicBezTo>
                  <a:pt x="568" y="621"/>
                  <a:pt x="568" y="621"/>
                  <a:pt x="568" y="621"/>
                </a:cubicBezTo>
                <a:cubicBezTo>
                  <a:pt x="567" y="620"/>
                  <a:pt x="567" y="618"/>
                  <a:pt x="568" y="618"/>
                </a:cubicBezTo>
                <a:cubicBezTo>
                  <a:pt x="575" y="611"/>
                  <a:pt x="575" y="611"/>
                  <a:pt x="575" y="611"/>
                </a:cubicBezTo>
                <a:cubicBezTo>
                  <a:pt x="574" y="610"/>
                  <a:pt x="574" y="609"/>
                  <a:pt x="574" y="607"/>
                </a:cubicBezTo>
                <a:cubicBezTo>
                  <a:pt x="566" y="604"/>
                  <a:pt x="566" y="604"/>
                  <a:pt x="566" y="604"/>
                </a:cubicBezTo>
                <a:cubicBezTo>
                  <a:pt x="565" y="604"/>
                  <a:pt x="564" y="602"/>
                  <a:pt x="564" y="602"/>
                </a:cubicBezTo>
                <a:cubicBezTo>
                  <a:pt x="565" y="595"/>
                  <a:pt x="565" y="595"/>
                  <a:pt x="565" y="595"/>
                </a:cubicBezTo>
                <a:cubicBezTo>
                  <a:pt x="566" y="594"/>
                  <a:pt x="566" y="593"/>
                  <a:pt x="568" y="593"/>
                </a:cubicBezTo>
                <a:cubicBezTo>
                  <a:pt x="577" y="593"/>
                  <a:pt x="577" y="593"/>
                  <a:pt x="577" y="593"/>
                </a:cubicBezTo>
                <a:close/>
                <a:moveTo>
                  <a:pt x="585" y="605"/>
                </a:moveTo>
                <a:cubicBezTo>
                  <a:pt x="585" y="612"/>
                  <a:pt x="592" y="618"/>
                  <a:pt x="599" y="618"/>
                </a:cubicBezTo>
                <a:cubicBezTo>
                  <a:pt x="606" y="618"/>
                  <a:pt x="612" y="612"/>
                  <a:pt x="612" y="605"/>
                </a:cubicBezTo>
                <a:cubicBezTo>
                  <a:pt x="612" y="597"/>
                  <a:pt x="606" y="591"/>
                  <a:pt x="599" y="591"/>
                </a:cubicBezTo>
                <a:cubicBezTo>
                  <a:pt x="592" y="591"/>
                  <a:pt x="585" y="597"/>
                  <a:pt x="585" y="605"/>
                </a:cubicBezTo>
                <a:close/>
                <a:moveTo>
                  <a:pt x="371" y="634"/>
                </a:moveTo>
                <a:cubicBezTo>
                  <a:pt x="372" y="626"/>
                  <a:pt x="372" y="626"/>
                  <a:pt x="372" y="626"/>
                </a:cubicBezTo>
                <a:cubicBezTo>
                  <a:pt x="371" y="625"/>
                  <a:pt x="371" y="624"/>
                  <a:pt x="370" y="624"/>
                </a:cubicBezTo>
                <a:cubicBezTo>
                  <a:pt x="361" y="627"/>
                  <a:pt x="361" y="627"/>
                  <a:pt x="361" y="627"/>
                </a:cubicBezTo>
                <a:cubicBezTo>
                  <a:pt x="360" y="627"/>
                  <a:pt x="359" y="627"/>
                  <a:pt x="358" y="626"/>
                </a:cubicBezTo>
                <a:cubicBezTo>
                  <a:pt x="355" y="621"/>
                  <a:pt x="355" y="621"/>
                  <a:pt x="355" y="621"/>
                </a:cubicBezTo>
                <a:cubicBezTo>
                  <a:pt x="355" y="620"/>
                  <a:pt x="355" y="618"/>
                  <a:pt x="356" y="618"/>
                </a:cubicBezTo>
                <a:cubicBezTo>
                  <a:pt x="362" y="611"/>
                  <a:pt x="362" y="611"/>
                  <a:pt x="362" y="611"/>
                </a:cubicBezTo>
                <a:cubicBezTo>
                  <a:pt x="362" y="610"/>
                  <a:pt x="361" y="609"/>
                  <a:pt x="361" y="607"/>
                </a:cubicBezTo>
                <a:cubicBezTo>
                  <a:pt x="353" y="604"/>
                  <a:pt x="353" y="604"/>
                  <a:pt x="353" y="604"/>
                </a:cubicBezTo>
                <a:cubicBezTo>
                  <a:pt x="352" y="604"/>
                  <a:pt x="351" y="602"/>
                  <a:pt x="352" y="602"/>
                </a:cubicBezTo>
                <a:cubicBezTo>
                  <a:pt x="353" y="595"/>
                  <a:pt x="353" y="595"/>
                  <a:pt x="353" y="595"/>
                </a:cubicBezTo>
                <a:cubicBezTo>
                  <a:pt x="353" y="594"/>
                  <a:pt x="354" y="593"/>
                  <a:pt x="355" y="593"/>
                </a:cubicBezTo>
                <a:cubicBezTo>
                  <a:pt x="364" y="593"/>
                  <a:pt x="364" y="593"/>
                  <a:pt x="364" y="593"/>
                </a:cubicBezTo>
                <a:cubicBezTo>
                  <a:pt x="364" y="592"/>
                  <a:pt x="365" y="592"/>
                  <a:pt x="365" y="591"/>
                </a:cubicBezTo>
                <a:cubicBezTo>
                  <a:pt x="361" y="583"/>
                  <a:pt x="361" y="583"/>
                  <a:pt x="361" y="583"/>
                </a:cubicBezTo>
                <a:cubicBezTo>
                  <a:pt x="360" y="582"/>
                  <a:pt x="361" y="581"/>
                  <a:pt x="361" y="580"/>
                </a:cubicBezTo>
                <a:cubicBezTo>
                  <a:pt x="366" y="576"/>
                  <a:pt x="366" y="576"/>
                  <a:pt x="366" y="576"/>
                </a:cubicBezTo>
                <a:cubicBezTo>
                  <a:pt x="367" y="575"/>
                  <a:pt x="368" y="575"/>
                  <a:pt x="369" y="576"/>
                </a:cubicBezTo>
                <a:cubicBezTo>
                  <a:pt x="376" y="582"/>
                  <a:pt x="376" y="582"/>
                  <a:pt x="376" y="582"/>
                </a:cubicBezTo>
                <a:cubicBezTo>
                  <a:pt x="377" y="581"/>
                  <a:pt x="378" y="581"/>
                  <a:pt x="379" y="581"/>
                </a:cubicBezTo>
                <a:cubicBezTo>
                  <a:pt x="381" y="572"/>
                  <a:pt x="381" y="572"/>
                  <a:pt x="381" y="572"/>
                </a:cubicBezTo>
                <a:cubicBezTo>
                  <a:pt x="381" y="571"/>
                  <a:pt x="382" y="570"/>
                  <a:pt x="383" y="570"/>
                </a:cubicBezTo>
                <a:cubicBezTo>
                  <a:pt x="389" y="570"/>
                  <a:pt x="389" y="570"/>
                  <a:pt x="389" y="570"/>
                </a:cubicBezTo>
                <a:cubicBezTo>
                  <a:pt x="390" y="570"/>
                  <a:pt x="391" y="571"/>
                  <a:pt x="391" y="572"/>
                </a:cubicBezTo>
                <a:cubicBezTo>
                  <a:pt x="393" y="581"/>
                  <a:pt x="393" y="581"/>
                  <a:pt x="393" y="581"/>
                </a:cubicBezTo>
                <a:cubicBezTo>
                  <a:pt x="394" y="581"/>
                  <a:pt x="395" y="581"/>
                  <a:pt x="396" y="582"/>
                </a:cubicBezTo>
                <a:cubicBezTo>
                  <a:pt x="403" y="576"/>
                  <a:pt x="403" y="576"/>
                  <a:pt x="403" y="576"/>
                </a:cubicBezTo>
                <a:cubicBezTo>
                  <a:pt x="404" y="575"/>
                  <a:pt x="405" y="575"/>
                  <a:pt x="406" y="576"/>
                </a:cubicBezTo>
                <a:cubicBezTo>
                  <a:pt x="411" y="580"/>
                  <a:pt x="411" y="580"/>
                  <a:pt x="411" y="580"/>
                </a:cubicBezTo>
                <a:cubicBezTo>
                  <a:pt x="412" y="581"/>
                  <a:pt x="412" y="582"/>
                  <a:pt x="411" y="583"/>
                </a:cubicBezTo>
                <a:cubicBezTo>
                  <a:pt x="407" y="591"/>
                  <a:pt x="407" y="591"/>
                  <a:pt x="407" y="591"/>
                </a:cubicBezTo>
                <a:cubicBezTo>
                  <a:pt x="407" y="592"/>
                  <a:pt x="408" y="592"/>
                  <a:pt x="408" y="593"/>
                </a:cubicBezTo>
                <a:cubicBezTo>
                  <a:pt x="418" y="593"/>
                  <a:pt x="418" y="593"/>
                  <a:pt x="418" y="593"/>
                </a:cubicBezTo>
                <a:cubicBezTo>
                  <a:pt x="418" y="593"/>
                  <a:pt x="419" y="594"/>
                  <a:pt x="420" y="595"/>
                </a:cubicBezTo>
                <a:cubicBezTo>
                  <a:pt x="421" y="601"/>
                  <a:pt x="421" y="601"/>
                  <a:pt x="421" y="601"/>
                </a:cubicBezTo>
                <a:cubicBezTo>
                  <a:pt x="421" y="602"/>
                  <a:pt x="420" y="604"/>
                  <a:pt x="419" y="604"/>
                </a:cubicBezTo>
                <a:cubicBezTo>
                  <a:pt x="411" y="607"/>
                  <a:pt x="411" y="607"/>
                  <a:pt x="411" y="607"/>
                </a:cubicBezTo>
                <a:cubicBezTo>
                  <a:pt x="411" y="608"/>
                  <a:pt x="411" y="609"/>
                  <a:pt x="410" y="610"/>
                </a:cubicBezTo>
                <a:cubicBezTo>
                  <a:pt x="418" y="616"/>
                  <a:pt x="418" y="616"/>
                  <a:pt x="418" y="616"/>
                </a:cubicBezTo>
                <a:cubicBezTo>
                  <a:pt x="418" y="617"/>
                  <a:pt x="418" y="618"/>
                  <a:pt x="418" y="619"/>
                </a:cubicBezTo>
                <a:cubicBezTo>
                  <a:pt x="415" y="624"/>
                  <a:pt x="415" y="624"/>
                  <a:pt x="415" y="624"/>
                </a:cubicBezTo>
                <a:cubicBezTo>
                  <a:pt x="414" y="625"/>
                  <a:pt x="413" y="626"/>
                  <a:pt x="412" y="626"/>
                </a:cubicBezTo>
                <a:cubicBezTo>
                  <a:pt x="403" y="623"/>
                  <a:pt x="403" y="623"/>
                  <a:pt x="403" y="623"/>
                </a:cubicBezTo>
                <a:cubicBezTo>
                  <a:pt x="403" y="623"/>
                  <a:pt x="403" y="623"/>
                  <a:pt x="402" y="624"/>
                </a:cubicBezTo>
                <a:cubicBezTo>
                  <a:pt x="404" y="633"/>
                  <a:pt x="404" y="633"/>
                  <a:pt x="404" y="633"/>
                </a:cubicBezTo>
                <a:cubicBezTo>
                  <a:pt x="404" y="634"/>
                  <a:pt x="404" y="635"/>
                  <a:pt x="403" y="635"/>
                </a:cubicBezTo>
                <a:cubicBezTo>
                  <a:pt x="397" y="638"/>
                  <a:pt x="397" y="638"/>
                  <a:pt x="397" y="638"/>
                </a:cubicBezTo>
                <a:cubicBezTo>
                  <a:pt x="396" y="638"/>
                  <a:pt x="395" y="638"/>
                  <a:pt x="394" y="637"/>
                </a:cubicBezTo>
                <a:cubicBezTo>
                  <a:pt x="389" y="630"/>
                  <a:pt x="389" y="630"/>
                  <a:pt x="389" y="630"/>
                </a:cubicBezTo>
                <a:cubicBezTo>
                  <a:pt x="388" y="630"/>
                  <a:pt x="387" y="630"/>
                  <a:pt x="386" y="630"/>
                </a:cubicBezTo>
                <a:cubicBezTo>
                  <a:pt x="386" y="630"/>
                  <a:pt x="386" y="630"/>
                  <a:pt x="386" y="630"/>
                </a:cubicBezTo>
                <a:cubicBezTo>
                  <a:pt x="382" y="638"/>
                  <a:pt x="382" y="638"/>
                  <a:pt x="382" y="638"/>
                </a:cubicBezTo>
                <a:cubicBezTo>
                  <a:pt x="381" y="639"/>
                  <a:pt x="380" y="639"/>
                  <a:pt x="379" y="639"/>
                </a:cubicBezTo>
                <a:cubicBezTo>
                  <a:pt x="373" y="637"/>
                  <a:pt x="373" y="637"/>
                  <a:pt x="373" y="637"/>
                </a:cubicBezTo>
                <a:cubicBezTo>
                  <a:pt x="372" y="637"/>
                  <a:pt x="371" y="636"/>
                  <a:pt x="371" y="634"/>
                </a:cubicBezTo>
                <a:close/>
                <a:moveTo>
                  <a:pt x="373" y="605"/>
                </a:moveTo>
                <a:cubicBezTo>
                  <a:pt x="373" y="612"/>
                  <a:pt x="379" y="618"/>
                  <a:pt x="386" y="618"/>
                </a:cubicBezTo>
                <a:cubicBezTo>
                  <a:pt x="393" y="618"/>
                  <a:pt x="399" y="612"/>
                  <a:pt x="399" y="605"/>
                </a:cubicBezTo>
                <a:cubicBezTo>
                  <a:pt x="399" y="597"/>
                  <a:pt x="393" y="591"/>
                  <a:pt x="386" y="591"/>
                </a:cubicBezTo>
                <a:cubicBezTo>
                  <a:pt x="379" y="591"/>
                  <a:pt x="373" y="597"/>
                  <a:pt x="373" y="605"/>
                </a:cubicBezTo>
                <a:close/>
                <a:moveTo>
                  <a:pt x="351" y="542"/>
                </a:moveTo>
                <a:cubicBezTo>
                  <a:pt x="354" y="542"/>
                  <a:pt x="357" y="539"/>
                  <a:pt x="357" y="536"/>
                </a:cubicBezTo>
                <a:cubicBezTo>
                  <a:pt x="357" y="533"/>
                  <a:pt x="354" y="530"/>
                  <a:pt x="351" y="530"/>
                </a:cubicBezTo>
                <a:cubicBezTo>
                  <a:pt x="348" y="530"/>
                  <a:pt x="346" y="533"/>
                  <a:pt x="346" y="536"/>
                </a:cubicBezTo>
                <a:cubicBezTo>
                  <a:pt x="346" y="539"/>
                  <a:pt x="348" y="542"/>
                  <a:pt x="351" y="542"/>
                </a:cubicBezTo>
                <a:close/>
                <a:moveTo>
                  <a:pt x="386" y="610"/>
                </a:moveTo>
                <a:cubicBezTo>
                  <a:pt x="389" y="610"/>
                  <a:pt x="392" y="608"/>
                  <a:pt x="392" y="605"/>
                </a:cubicBezTo>
                <a:cubicBezTo>
                  <a:pt x="392" y="602"/>
                  <a:pt x="389" y="599"/>
                  <a:pt x="386" y="599"/>
                </a:cubicBezTo>
                <a:cubicBezTo>
                  <a:pt x="383" y="599"/>
                  <a:pt x="380" y="602"/>
                  <a:pt x="380" y="605"/>
                </a:cubicBezTo>
                <a:cubicBezTo>
                  <a:pt x="380" y="608"/>
                  <a:pt x="383" y="610"/>
                  <a:pt x="386" y="610"/>
                </a:cubicBezTo>
                <a:close/>
                <a:moveTo>
                  <a:pt x="422" y="668"/>
                </a:moveTo>
                <a:cubicBezTo>
                  <a:pt x="419" y="668"/>
                  <a:pt x="416" y="670"/>
                  <a:pt x="416" y="674"/>
                </a:cubicBezTo>
                <a:cubicBezTo>
                  <a:pt x="416" y="677"/>
                  <a:pt x="419" y="679"/>
                  <a:pt x="422" y="679"/>
                </a:cubicBezTo>
                <a:cubicBezTo>
                  <a:pt x="425" y="679"/>
                  <a:pt x="428" y="677"/>
                  <a:pt x="428" y="674"/>
                </a:cubicBezTo>
                <a:cubicBezTo>
                  <a:pt x="428" y="670"/>
                  <a:pt x="425" y="668"/>
                  <a:pt x="422" y="668"/>
                </a:cubicBezTo>
                <a:close/>
                <a:moveTo>
                  <a:pt x="490" y="639"/>
                </a:moveTo>
                <a:cubicBezTo>
                  <a:pt x="496" y="639"/>
                  <a:pt x="496" y="639"/>
                  <a:pt x="496" y="639"/>
                </a:cubicBezTo>
                <a:cubicBezTo>
                  <a:pt x="497" y="639"/>
                  <a:pt x="498" y="640"/>
                  <a:pt x="498" y="641"/>
                </a:cubicBezTo>
                <a:cubicBezTo>
                  <a:pt x="500" y="650"/>
                  <a:pt x="500" y="650"/>
                  <a:pt x="500" y="650"/>
                </a:cubicBezTo>
                <a:cubicBezTo>
                  <a:pt x="501" y="650"/>
                  <a:pt x="502" y="650"/>
                  <a:pt x="503" y="650"/>
                </a:cubicBezTo>
                <a:cubicBezTo>
                  <a:pt x="510" y="645"/>
                  <a:pt x="510" y="645"/>
                  <a:pt x="510" y="645"/>
                </a:cubicBezTo>
                <a:cubicBezTo>
                  <a:pt x="511" y="644"/>
                  <a:pt x="512" y="644"/>
                  <a:pt x="513" y="645"/>
                </a:cubicBezTo>
                <a:cubicBezTo>
                  <a:pt x="518" y="649"/>
                  <a:pt x="518" y="649"/>
                  <a:pt x="518" y="649"/>
                </a:cubicBezTo>
                <a:cubicBezTo>
                  <a:pt x="519" y="650"/>
                  <a:pt x="519" y="651"/>
                  <a:pt x="518" y="652"/>
                </a:cubicBezTo>
                <a:cubicBezTo>
                  <a:pt x="514" y="660"/>
                  <a:pt x="514" y="660"/>
                  <a:pt x="514" y="660"/>
                </a:cubicBezTo>
                <a:cubicBezTo>
                  <a:pt x="514" y="661"/>
                  <a:pt x="515" y="661"/>
                  <a:pt x="515" y="662"/>
                </a:cubicBezTo>
                <a:cubicBezTo>
                  <a:pt x="524" y="662"/>
                  <a:pt x="524" y="662"/>
                  <a:pt x="524" y="662"/>
                </a:cubicBezTo>
                <a:cubicBezTo>
                  <a:pt x="525" y="662"/>
                  <a:pt x="526" y="663"/>
                  <a:pt x="527" y="664"/>
                </a:cubicBezTo>
                <a:cubicBezTo>
                  <a:pt x="528" y="670"/>
                  <a:pt x="528" y="670"/>
                  <a:pt x="528" y="670"/>
                </a:cubicBezTo>
                <a:cubicBezTo>
                  <a:pt x="528" y="671"/>
                  <a:pt x="527" y="673"/>
                  <a:pt x="526" y="673"/>
                </a:cubicBezTo>
                <a:cubicBezTo>
                  <a:pt x="518" y="676"/>
                  <a:pt x="518" y="676"/>
                  <a:pt x="518" y="676"/>
                </a:cubicBezTo>
                <a:cubicBezTo>
                  <a:pt x="518" y="677"/>
                  <a:pt x="518" y="678"/>
                  <a:pt x="517" y="679"/>
                </a:cubicBezTo>
                <a:cubicBezTo>
                  <a:pt x="524" y="685"/>
                  <a:pt x="524" y="685"/>
                  <a:pt x="524" y="685"/>
                </a:cubicBezTo>
                <a:cubicBezTo>
                  <a:pt x="525" y="686"/>
                  <a:pt x="525" y="687"/>
                  <a:pt x="525" y="688"/>
                </a:cubicBezTo>
                <a:cubicBezTo>
                  <a:pt x="522" y="693"/>
                  <a:pt x="522" y="693"/>
                  <a:pt x="522" y="693"/>
                </a:cubicBezTo>
                <a:cubicBezTo>
                  <a:pt x="521" y="694"/>
                  <a:pt x="520" y="695"/>
                  <a:pt x="519" y="694"/>
                </a:cubicBezTo>
                <a:cubicBezTo>
                  <a:pt x="510" y="692"/>
                  <a:pt x="510" y="692"/>
                  <a:pt x="510" y="692"/>
                </a:cubicBezTo>
                <a:cubicBezTo>
                  <a:pt x="510" y="692"/>
                  <a:pt x="510" y="692"/>
                  <a:pt x="509" y="693"/>
                </a:cubicBezTo>
                <a:cubicBezTo>
                  <a:pt x="511" y="702"/>
                  <a:pt x="511" y="702"/>
                  <a:pt x="511" y="702"/>
                </a:cubicBezTo>
                <a:cubicBezTo>
                  <a:pt x="511" y="703"/>
                  <a:pt x="511" y="704"/>
                  <a:pt x="510" y="704"/>
                </a:cubicBezTo>
                <a:cubicBezTo>
                  <a:pt x="504" y="707"/>
                  <a:pt x="504" y="707"/>
                  <a:pt x="504" y="707"/>
                </a:cubicBezTo>
                <a:cubicBezTo>
                  <a:pt x="503" y="707"/>
                  <a:pt x="502" y="707"/>
                  <a:pt x="501" y="706"/>
                </a:cubicBezTo>
                <a:cubicBezTo>
                  <a:pt x="496" y="698"/>
                  <a:pt x="496" y="698"/>
                  <a:pt x="496" y="698"/>
                </a:cubicBezTo>
                <a:cubicBezTo>
                  <a:pt x="495" y="699"/>
                  <a:pt x="494" y="699"/>
                  <a:pt x="493" y="699"/>
                </a:cubicBezTo>
                <a:cubicBezTo>
                  <a:pt x="493" y="699"/>
                  <a:pt x="493" y="699"/>
                  <a:pt x="493" y="699"/>
                </a:cubicBezTo>
                <a:cubicBezTo>
                  <a:pt x="489" y="707"/>
                  <a:pt x="489" y="707"/>
                  <a:pt x="489" y="707"/>
                </a:cubicBezTo>
                <a:cubicBezTo>
                  <a:pt x="488" y="708"/>
                  <a:pt x="487" y="708"/>
                  <a:pt x="486" y="708"/>
                </a:cubicBezTo>
                <a:cubicBezTo>
                  <a:pt x="480" y="706"/>
                  <a:pt x="480" y="706"/>
                  <a:pt x="480" y="706"/>
                </a:cubicBezTo>
                <a:cubicBezTo>
                  <a:pt x="479" y="706"/>
                  <a:pt x="478" y="705"/>
                  <a:pt x="478" y="703"/>
                </a:cubicBezTo>
                <a:cubicBezTo>
                  <a:pt x="479" y="694"/>
                  <a:pt x="479" y="694"/>
                  <a:pt x="479" y="694"/>
                </a:cubicBezTo>
                <a:cubicBezTo>
                  <a:pt x="478" y="694"/>
                  <a:pt x="478" y="693"/>
                  <a:pt x="477" y="693"/>
                </a:cubicBezTo>
                <a:cubicBezTo>
                  <a:pt x="468" y="696"/>
                  <a:pt x="468" y="696"/>
                  <a:pt x="468" y="696"/>
                </a:cubicBezTo>
                <a:cubicBezTo>
                  <a:pt x="467" y="696"/>
                  <a:pt x="466" y="696"/>
                  <a:pt x="465" y="695"/>
                </a:cubicBezTo>
                <a:cubicBezTo>
                  <a:pt x="462" y="690"/>
                  <a:pt x="462" y="690"/>
                  <a:pt x="462" y="690"/>
                </a:cubicBezTo>
                <a:cubicBezTo>
                  <a:pt x="462" y="689"/>
                  <a:pt x="462" y="687"/>
                  <a:pt x="462" y="686"/>
                </a:cubicBezTo>
                <a:cubicBezTo>
                  <a:pt x="469" y="680"/>
                  <a:pt x="469" y="680"/>
                  <a:pt x="469" y="680"/>
                </a:cubicBezTo>
                <a:cubicBezTo>
                  <a:pt x="469" y="679"/>
                  <a:pt x="468" y="678"/>
                  <a:pt x="468" y="676"/>
                </a:cubicBezTo>
                <a:cubicBezTo>
                  <a:pt x="460" y="673"/>
                  <a:pt x="460" y="673"/>
                  <a:pt x="460" y="673"/>
                </a:cubicBezTo>
                <a:cubicBezTo>
                  <a:pt x="459" y="673"/>
                  <a:pt x="458" y="671"/>
                  <a:pt x="459" y="670"/>
                </a:cubicBezTo>
                <a:cubicBezTo>
                  <a:pt x="459" y="664"/>
                  <a:pt x="459" y="664"/>
                  <a:pt x="459" y="664"/>
                </a:cubicBezTo>
                <a:cubicBezTo>
                  <a:pt x="460" y="663"/>
                  <a:pt x="461" y="662"/>
                  <a:pt x="462" y="662"/>
                </a:cubicBezTo>
                <a:cubicBezTo>
                  <a:pt x="471" y="662"/>
                  <a:pt x="471" y="662"/>
                  <a:pt x="471" y="662"/>
                </a:cubicBezTo>
                <a:cubicBezTo>
                  <a:pt x="471" y="661"/>
                  <a:pt x="472" y="661"/>
                  <a:pt x="472" y="660"/>
                </a:cubicBezTo>
                <a:cubicBezTo>
                  <a:pt x="468" y="652"/>
                  <a:pt x="468" y="652"/>
                  <a:pt x="468" y="652"/>
                </a:cubicBezTo>
                <a:cubicBezTo>
                  <a:pt x="467" y="651"/>
                  <a:pt x="467" y="650"/>
                  <a:pt x="468" y="649"/>
                </a:cubicBezTo>
                <a:cubicBezTo>
                  <a:pt x="473" y="645"/>
                  <a:pt x="473" y="645"/>
                  <a:pt x="473" y="645"/>
                </a:cubicBezTo>
                <a:cubicBezTo>
                  <a:pt x="474" y="644"/>
                  <a:pt x="475" y="644"/>
                  <a:pt x="476" y="645"/>
                </a:cubicBezTo>
                <a:cubicBezTo>
                  <a:pt x="483" y="650"/>
                  <a:pt x="483" y="650"/>
                  <a:pt x="483" y="650"/>
                </a:cubicBezTo>
                <a:cubicBezTo>
                  <a:pt x="484" y="650"/>
                  <a:pt x="485" y="650"/>
                  <a:pt x="486" y="650"/>
                </a:cubicBezTo>
                <a:cubicBezTo>
                  <a:pt x="488" y="641"/>
                  <a:pt x="488" y="641"/>
                  <a:pt x="488" y="641"/>
                </a:cubicBezTo>
                <a:cubicBezTo>
                  <a:pt x="488" y="640"/>
                  <a:pt x="489" y="639"/>
                  <a:pt x="490" y="639"/>
                </a:cubicBezTo>
                <a:close/>
                <a:moveTo>
                  <a:pt x="493" y="660"/>
                </a:moveTo>
                <a:cubicBezTo>
                  <a:pt x="486" y="660"/>
                  <a:pt x="480" y="666"/>
                  <a:pt x="480" y="674"/>
                </a:cubicBezTo>
                <a:cubicBezTo>
                  <a:pt x="480" y="681"/>
                  <a:pt x="486" y="687"/>
                  <a:pt x="493" y="687"/>
                </a:cubicBezTo>
                <a:cubicBezTo>
                  <a:pt x="500" y="687"/>
                  <a:pt x="506" y="681"/>
                  <a:pt x="506" y="674"/>
                </a:cubicBezTo>
                <a:cubicBezTo>
                  <a:pt x="506" y="666"/>
                  <a:pt x="500" y="660"/>
                  <a:pt x="493" y="660"/>
                </a:cubicBezTo>
                <a:close/>
                <a:moveTo>
                  <a:pt x="447" y="676"/>
                </a:moveTo>
                <a:cubicBezTo>
                  <a:pt x="447" y="677"/>
                  <a:pt x="447" y="678"/>
                  <a:pt x="446" y="679"/>
                </a:cubicBezTo>
                <a:cubicBezTo>
                  <a:pt x="454" y="685"/>
                  <a:pt x="454" y="685"/>
                  <a:pt x="454" y="685"/>
                </a:cubicBezTo>
                <a:cubicBezTo>
                  <a:pt x="454" y="686"/>
                  <a:pt x="454" y="687"/>
                  <a:pt x="454" y="688"/>
                </a:cubicBezTo>
                <a:cubicBezTo>
                  <a:pt x="451" y="693"/>
                  <a:pt x="451" y="693"/>
                  <a:pt x="451" y="693"/>
                </a:cubicBezTo>
                <a:cubicBezTo>
                  <a:pt x="450" y="694"/>
                  <a:pt x="449" y="695"/>
                  <a:pt x="448" y="694"/>
                </a:cubicBezTo>
                <a:cubicBezTo>
                  <a:pt x="439" y="692"/>
                  <a:pt x="439" y="692"/>
                  <a:pt x="439" y="692"/>
                </a:cubicBezTo>
                <a:cubicBezTo>
                  <a:pt x="439" y="692"/>
                  <a:pt x="439" y="692"/>
                  <a:pt x="438" y="693"/>
                </a:cubicBezTo>
                <a:cubicBezTo>
                  <a:pt x="440" y="702"/>
                  <a:pt x="440" y="702"/>
                  <a:pt x="440" y="702"/>
                </a:cubicBezTo>
                <a:cubicBezTo>
                  <a:pt x="440" y="703"/>
                  <a:pt x="440" y="704"/>
                  <a:pt x="439" y="704"/>
                </a:cubicBezTo>
                <a:cubicBezTo>
                  <a:pt x="433" y="707"/>
                  <a:pt x="433" y="707"/>
                  <a:pt x="433" y="707"/>
                </a:cubicBezTo>
                <a:cubicBezTo>
                  <a:pt x="432" y="707"/>
                  <a:pt x="431" y="707"/>
                  <a:pt x="430" y="706"/>
                </a:cubicBezTo>
                <a:cubicBezTo>
                  <a:pt x="425" y="698"/>
                  <a:pt x="425" y="698"/>
                  <a:pt x="425" y="698"/>
                </a:cubicBezTo>
                <a:cubicBezTo>
                  <a:pt x="424" y="699"/>
                  <a:pt x="423" y="699"/>
                  <a:pt x="422" y="699"/>
                </a:cubicBezTo>
                <a:cubicBezTo>
                  <a:pt x="422" y="699"/>
                  <a:pt x="422" y="699"/>
                  <a:pt x="422" y="699"/>
                </a:cubicBezTo>
                <a:cubicBezTo>
                  <a:pt x="418" y="707"/>
                  <a:pt x="418" y="707"/>
                  <a:pt x="418" y="707"/>
                </a:cubicBezTo>
                <a:cubicBezTo>
                  <a:pt x="417" y="708"/>
                  <a:pt x="416" y="708"/>
                  <a:pt x="415" y="708"/>
                </a:cubicBezTo>
                <a:cubicBezTo>
                  <a:pt x="409" y="706"/>
                  <a:pt x="409" y="706"/>
                  <a:pt x="409" y="706"/>
                </a:cubicBezTo>
                <a:cubicBezTo>
                  <a:pt x="408" y="706"/>
                  <a:pt x="407" y="705"/>
                  <a:pt x="407" y="703"/>
                </a:cubicBezTo>
                <a:cubicBezTo>
                  <a:pt x="408" y="694"/>
                  <a:pt x="408" y="694"/>
                  <a:pt x="408" y="694"/>
                </a:cubicBezTo>
                <a:cubicBezTo>
                  <a:pt x="407" y="694"/>
                  <a:pt x="407" y="693"/>
                  <a:pt x="406" y="693"/>
                </a:cubicBezTo>
                <a:cubicBezTo>
                  <a:pt x="397" y="696"/>
                  <a:pt x="397" y="696"/>
                  <a:pt x="397" y="696"/>
                </a:cubicBezTo>
                <a:cubicBezTo>
                  <a:pt x="396" y="696"/>
                  <a:pt x="395" y="696"/>
                  <a:pt x="394" y="695"/>
                </a:cubicBezTo>
                <a:cubicBezTo>
                  <a:pt x="391" y="690"/>
                  <a:pt x="391" y="690"/>
                  <a:pt x="391" y="690"/>
                </a:cubicBezTo>
                <a:cubicBezTo>
                  <a:pt x="391" y="689"/>
                  <a:pt x="391" y="687"/>
                  <a:pt x="392" y="686"/>
                </a:cubicBezTo>
                <a:cubicBezTo>
                  <a:pt x="398" y="680"/>
                  <a:pt x="398" y="680"/>
                  <a:pt x="398" y="680"/>
                </a:cubicBezTo>
                <a:cubicBezTo>
                  <a:pt x="398" y="679"/>
                  <a:pt x="397" y="678"/>
                  <a:pt x="397" y="676"/>
                </a:cubicBezTo>
                <a:cubicBezTo>
                  <a:pt x="389" y="673"/>
                  <a:pt x="389" y="673"/>
                  <a:pt x="389" y="673"/>
                </a:cubicBezTo>
                <a:cubicBezTo>
                  <a:pt x="388" y="673"/>
                  <a:pt x="387" y="671"/>
                  <a:pt x="388" y="670"/>
                </a:cubicBezTo>
                <a:cubicBezTo>
                  <a:pt x="389" y="664"/>
                  <a:pt x="389" y="664"/>
                  <a:pt x="389" y="664"/>
                </a:cubicBezTo>
                <a:cubicBezTo>
                  <a:pt x="389" y="663"/>
                  <a:pt x="390" y="662"/>
                  <a:pt x="391" y="662"/>
                </a:cubicBezTo>
                <a:cubicBezTo>
                  <a:pt x="400" y="662"/>
                  <a:pt x="400" y="662"/>
                  <a:pt x="400" y="662"/>
                </a:cubicBezTo>
                <a:cubicBezTo>
                  <a:pt x="400" y="661"/>
                  <a:pt x="401" y="661"/>
                  <a:pt x="401" y="660"/>
                </a:cubicBezTo>
                <a:cubicBezTo>
                  <a:pt x="397" y="652"/>
                  <a:pt x="397" y="652"/>
                  <a:pt x="397" y="652"/>
                </a:cubicBezTo>
                <a:cubicBezTo>
                  <a:pt x="396" y="651"/>
                  <a:pt x="397" y="650"/>
                  <a:pt x="397" y="649"/>
                </a:cubicBezTo>
                <a:cubicBezTo>
                  <a:pt x="402" y="645"/>
                  <a:pt x="402" y="645"/>
                  <a:pt x="402" y="645"/>
                </a:cubicBezTo>
                <a:cubicBezTo>
                  <a:pt x="403" y="644"/>
                  <a:pt x="404" y="644"/>
                  <a:pt x="405" y="645"/>
                </a:cubicBezTo>
                <a:cubicBezTo>
                  <a:pt x="412" y="650"/>
                  <a:pt x="412" y="650"/>
                  <a:pt x="412" y="650"/>
                </a:cubicBezTo>
                <a:cubicBezTo>
                  <a:pt x="413" y="650"/>
                  <a:pt x="414" y="650"/>
                  <a:pt x="415" y="650"/>
                </a:cubicBezTo>
                <a:cubicBezTo>
                  <a:pt x="417" y="641"/>
                  <a:pt x="417" y="641"/>
                  <a:pt x="417" y="641"/>
                </a:cubicBezTo>
                <a:cubicBezTo>
                  <a:pt x="417" y="640"/>
                  <a:pt x="418" y="639"/>
                  <a:pt x="419" y="639"/>
                </a:cubicBezTo>
                <a:cubicBezTo>
                  <a:pt x="425" y="639"/>
                  <a:pt x="425" y="639"/>
                  <a:pt x="425" y="639"/>
                </a:cubicBezTo>
                <a:cubicBezTo>
                  <a:pt x="426" y="639"/>
                  <a:pt x="427" y="640"/>
                  <a:pt x="427" y="641"/>
                </a:cubicBezTo>
                <a:cubicBezTo>
                  <a:pt x="429" y="650"/>
                  <a:pt x="429" y="650"/>
                  <a:pt x="429" y="650"/>
                </a:cubicBezTo>
                <a:cubicBezTo>
                  <a:pt x="430" y="650"/>
                  <a:pt x="431" y="650"/>
                  <a:pt x="432" y="650"/>
                </a:cubicBezTo>
                <a:cubicBezTo>
                  <a:pt x="439" y="645"/>
                  <a:pt x="439" y="645"/>
                  <a:pt x="439" y="645"/>
                </a:cubicBezTo>
                <a:cubicBezTo>
                  <a:pt x="440" y="644"/>
                  <a:pt x="441" y="644"/>
                  <a:pt x="442" y="645"/>
                </a:cubicBezTo>
                <a:cubicBezTo>
                  <a:pt x="447" y="649"/>
                  <a:pt x="447" y="649"/>
                  <a:pt x="447" y="649"/>
                </a:cubicBezTo>
                <a:cubicBezTo>
                  <a:pt x="448" y="650"/>
                  <a:pt x="448" y="651"/>
                  <a:pt x="447" y="652"/>
                </a:cubicBezTo>
                <a:cubicBezTo>
                  <a:pt x="443" y="660"/>
                  <a:pt x="443" y="660"/>
                  <a:pt x="443" y="660"/>
                </a:cubicBezTo>
                <a:cubicBezTo>
                  <a:pt x="443" y="661"/>
                  <a:pt x="444" y="661"/>
                  <a:pt x="444" y="662"/>
                </a:cubicBezTo>
                <a:cubicBezTo>
                  <a:pt x="454" y="662"/>
                  <a:pt x="454" y="662"/>
                  <a:pt x="454" y="662"/>
                </a:cubicBezTo>
                <a:cubicBezTo>
                  <a:pt x="454" y="662"/>
                  <a:pt x="455" y="663"/>
                  <a:pt x="456" y="664"/>
                </a:cubicBezTo>
                <a:cubicBezTo>
                  <a:pt x="457" y="670"/>
                  <a:pt x="457" y="670"/>
                  <a:pt x="457" y="670"/>
                </a:cubicBezTo>
                <a:cubicBezTo>
                  <a:pt x="457" y="671"/>
                  <a:pt x="456" y="673"/>
                  <a:pt x="455" y="673"/>
                </a:cubicBezTo>
                <a:cubicBezTo>
                  <a:pt x="447" y="676"/>
                  <a:pt x="447" y="676"/>
                  <a:pt x="447" y="676"/>
                </a:cubicBezTo>
                <a:close/>
                <a:moveTo>
                  <a:pt x="435" y="674"/>
                </a:moveTo>
                <a:cubicBezTo>
                  <a:pt x="435" y="666"/>
                  <a:pt x="429" y="660"/>
                  <a:pt x="422" y="660"/>
                </a:cubicBezTo>
                <a:cubicBezTo>
                  <a:pt x="415" y="660"/>
                  <a:pt x="409" y="666"/>
                  <a:pt x="409" y="674"/>
                </a:cubicBezTo>
                <a:cubicBezTo>
                  <a:pt x="409" y="681"/>
                  <a:pt x="415" y="687"/>
                  <a:pt x="422" y="687"/>
                </a:cubicBezTo>
                <a:cubicBezTo>
                  <a:pt x="429" y="687"/>
                  <a:pt x="435" y="681"/>
                  <a:pt x="435" y="674"/>
                </a:cubicBezTo>
                <a:close/>
              </a:path>
            </a:pathLst>
          </a:custGeom>
          <a:solidFill>
            <a:srgbClr val="FFFFFF">
              <a:alpha val="15000"/>
            </a:srgbClr>
          </a:solidFill>
          <a:ln>
            <a:noFill/>
          </a:ln>
        </p:spPr>
        <p:txBody>
          <a:bodyPr vert="horz" wrap="square" lIns="68586" tIns="34293" rIns="68586" bIns="34293" numCol="1" anchor="t" anchorCtr="0" compatLnSpc="1"/>
          <a:lstStyle/>
          <a:p>
            <a:pPr defTabSz="685334">
              <a:defRPr/>
            </a:pPr>
            <a:endParaRPr lang="en-US" sz="1352" kern="0">
              <a:solidFill>
                <a:srgbClr val="000000"/>
              </a:solidFill>
            </a:endParaRPr>
          </a:p>
        </p:txBody>
      </p:sp>
      <p:sp>
        <p:nvSpPr>
          <p:cNvPr id="13" name="Freeform 9"/>
          <p:cNvSpPr>
            <a:spLocks noEditPoints="1"/>
          </p:cNvSpPr>
          <p:nvPr/>
        </p:nvSpPr>
        <p:spPr bwMode="auto">
          <a:xfrm>
            <a:off x="1728560" y="2099836"/>
            <a:ext cx="1437207" cy="2171885"/>
          </a:xfrm>
          <a:custGeom>
            <a:avLst/>
            <a:gdLst>
              <a:gd name="T0" fmla="*/ 519 w 648"/>
              <a:gd name="T1" fmla="*/ 368 h 979"/>
              <a:gd name="T2" fmla="*/ 505 w 648"/>
              <a:gd name="T3" fmla="*/ 377 h 979"/>
              <a:gd name="T4" fmla="*/ 269 w 648"/>
              <a:gd name="T5" fmla="*/ 391 h 979"/>
              <a:gd name="T6" fmla="*/ 334 w 648"/>
              <a:gd name="T7" fmla="*/ 332 h 979"/>
              <a:gd name="T8" fmla="*/ 555 w 648"/>
              <a:gd name="T9" fmla="*/ 501 h 979"/>
              <a:gd name="T10" fmla="*/ 623 w 648"/>
              <a:gd name="T11" fmla="*/ 501 h 979"/>
              <a:gd name="T12" fmla="*/ 122 w 648"/>
              <a:gd name="T13" fmla="*/ 501 h 979"/>
              <a:gd name="T14" fmla="*/ 241 w 648"/>
              <a:gd name="T15" fmla="*/ 464 h 979"/>
              <a:gd name="T16" fmla="*/ 157 w 648"/>
              <a:gd name="T17" fmla="*/ 639 h 979"/>
              <a:gd name="T18" fmla="*/ 520 w 648"/>
              <a:gd name="T19" fmla="*/ 464 h 979"/>
              <a:gd name="T20" fmla="*/ 83 w 648"/>
              <a:gd name="T21" fmla="*/ 664 h 979"/>
              <a:gd name="T22" fmla="*/ 167 w 648"/>
              <a:gd name="T23" fmla="*/ 540 h 979"/>
              <a:gd name="T24" fmla="*/ 193 w 648"/>
              <a:gd name="T25" fmla="*/ 625 h 979"/>
              <a:gd name="T26" fmla="*/ 19 w 648"/>
              <a:gd name="T27" fmla="*/ 656 h 979"/>
              <a:gd name="T28" fmla="*/ 297 w 648"/>
              <a:gd name="T29" fmla="*/ 160 h 979"/>
              <a:gd name="T30" fmla="*/ 241 w 648"/>
              <a:gd name="T31" fmla="*/ 120 h 979"/>
              <a:gd name="T32" fmla="*/ 45 w 648"/>
              <a:gd name="T33" fmla="*/ 492 h 979"/>
              <a:gd name="T34" fmla="*/ 353 w 648"/>
              <a:gd name="T35" fmla="*/ 216 h 979"/>
              <a:gd name="T36" fmla="*/ 194 w 648"/>
              <a:gd name="T37" fmla="*/ 208 h 979"/>
              <a:gd name="T38" fmla="*/ 47 w 648"/>
              <a:gd name="T39" fmla="*/ 36 h 979"/>
              <a:gd name="T40" fmla="*/ 583 w 648"/>
              <a:gd name="T41" fmla="*/ 873 h 979"/>
              <a:gd name="T42" fmla="*/ 101 w 648"/>
              <a:gd name="T43" fmla="*/ 216 h 979"/>
              <a:gd name="T44" fmla="*/ 455 w 648"/>
              <a:gd name="T45" fmla="*/ 828 h 979"/>
              <a:gd name="T46" fmla="*/ 464 w 648"/>
              <a:gd name="T47" fmla="*/ 464 h 979"/>
              <a:gd name="T48" fmla="*/ 484 w 648"/>
              <a:gd name="T49" fmla="*/ 377 h 979"/>
              <a:gd name="T50" fmla="*/ 478 w 648"/>
              <a:gd name="T51" fmla="*/ 281 h 979"/>
              <a:gd name="T52" fmla="*/ 422 w 648"/>
              <a:gd name="T53" fmla="*/ 529 h 979"/>
              <a:gd name="T54" fmla="*/ 367 w 648"/>
              <a:gd name="T55" fmla="*/ 501 h 979"/>
              <a:gd name="T56" fmla="*/ 501 w 648"/>
              <a:gd name="T57" fmla="*/ 580 h 979"/>
              <a:gd name="T58" fmla="*/ 437 w 648"/>
              <a:gd name="T59" fmla="*/ 532 h 979"/>
              <a:gd name="T60" fmla="*/ 399 w 648"/>
              <a:gd name="T61" fmla="*/ 292 h 979"/>
              <a:gd name="T62" fmla="*/ 296 w 648"/>
              <a:gd name="T63" fmla="*/ 532 h 979"/>
              <a:gd name="T64" fmla="*/ 33 w 648"/>
              <a:gd name="T65" fmla="*/ 5 h 979"/>
              <a:gd name="T66" fmla="*/ 204 w 648"/>
              <a:gd name="T67" fmla="*/ 208 h 979"/>
              <a:gd name="T68" fmla="*/ 352 w 648"/>
              <a:gd name="T69" fmla="*/ 836 h 979"/>
              <a:gd name="T70" fmla="*/ 325 w 648"/>
              <a:gd name="T71" fmla="*/ 836 h 979"/>
              <a:gd name="T72" fmla="*/ 74 w 648"/>
              <a:gd name="T73" fmla="*/ 267 h 979"/>
              <a:gd name="T74" fmla="*/ 491 w 648"/>
              <a:gd name="T75" fmla="*/ 712 h 979"/>
              <a:gd name="T76" fmla="*/ 478 w 648"/>
              <a:gd name="T77" fmla="*/ 777 h 979"/>
              <a:gd name="T78" fmla="*/ 406 w 648"/>
              <a:gd name="T79" fmla="*/ 148 h 979"/>
              <a:gd name="T80" fmla="*/ 555 w 648"/>
              <a:gd name="T81" fmla="*/ 749 h 979"/>
              <a:gd name="T82" fmla="*/ 18 w 648"/>
              <a:gd name="T83" fmla="*/ 143 h 979"/>
              <a:gd name="T84" fmla="*/ 0 w 648"/>
              <a:gd name="T85" fmla="*/ 5 h 979"/>
              <a:gd name="T86" fmla="*/ 491 w 648"/>
              <a:gd name="T87" fmla="*/ 887 h 979"/>
              <a:gd name="T88" fmla="*/ 74 w 648"/>
              <a:gd name="T89" fmla="*/ 120 h 979"/>
              <a:gd name="T90" fmla="*/ 158 w 648"/>
              <a:gd name="T91" fmla="*/ 36 h 979"/>
              <a:gd name="T92" fmla="*/ 626 w 648"/>
              <a:gd name="T93" fmla="*/ 835 h 979"/>
              <a:gd name="T94" fmla="*/ 449 w 648"/>
              <a:gd name="T95" fmla="*/ 653 h 979"/>
              <a:gd name="T96" fmla="*/ 505 w 648"/>
              <a:gd name="T97" fmla="*/ 653 h 979"/>
              <a:gd name="T98" fmla="*/ 426 w 648"/>
              <a:gd name="T99" fmla="*/ 168 h 979"/>
              <a:gd name="T100" fmla="*/ 194 w 648"/>
              <a:gd name="T101" fmla="*/ 664 h 979"/>
              <a:gd name="T102" fmla="*/ 139 w 648"/>
              <a:gd name="T103" fmla="*/ 704 h 979"/>
              <a:gd name="T104" fmla="*/ 241 w 648"/>
              <a:gd name="T105" fmla="*/ 532 h 979"/>
              <a:gd name="T106" fmla="*/ 204 w 648"/>
              <a:gd name="T107" fmla="*/ 704 h 979"/>
              <a:gd name="T108" fmla="*/ 0 w 648"/>
              <a:gd name="T109" fmla="*/ 404 h 979"/>
              <a:gd name="T110" fmla="*/ 18 w 648"/>
              <a:gd name="T111" fmla="*/ 368 h 979"/>
              <a:gd name="T112" fmla="*/ 297 w 648"/>
              <a:gd name="T113" fmla="*/ 740 h 979"/>
              <a:gd name="T114" fmla="*/ 408 w 648"/>
              <a:gd name="T115" fmla="*/ 656 h 979"/>
              <a:gd name="T116" fmla="*/ 227 w 648"/>
              <a:gd name="T117" fmla="*/ 377 h 979"/>
              <a:gd name="T118" fmla="*/ 74 w 648"/>
              <a:gd name="T119" fmla="*/ 368 h 979"/>
              <a:gd name="T120" fmla="*/ 214 w 648"/>
              <a:gd name="T121" fmla="*/ 284 h 979"/>
              <a:gd name="T122" fmla="*/ 158 w 648"/>
              <a:gd name="T123" fmla="*/ 340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8" h="979">
                <a:moveTo>
                  <a:pt x="394" y="377"/>
                </a:moveTo>
                <a:cubicBezTo>
                  <a:pt x="401" y="377"/>
                  <a:pt x="407" y="384"/>
                  <a:pt x="407" y="391"/>
                </a:cubicBezTo>
                <a:cubicBezTo>
                  <a:pt x="407" y="399"/>
                  <a:pt x="401" y="405"/>
                  <a:pt x="394" y="405"/>
                </a:cubicBezTo>
                <a:cubicBezTo>
                  <a:pt x="386" y="405"/>
                  <a:pt x="380" y="399"/>
                  <a:pt x="380" y="391"/>
                </a:cubicBezTo>
                <a:cubicBezTo>
                  <a:pt x="380" y="384"/>
                  <a:pt x="386" y="377"/>
                  <a:pt x="394" y="377"/>
                </a:cubicBezTo>
                <a:close/>
                <a:moveTo>
                  <a:pt x="381" y="284"/>
                </a:moveTo>
                <a:cubicBezTo>
                  <a:pt x="352" y="284"/>
                  <a:pt x="352" y="284"/>
                  <a:pt x="352" y="284"/>
                </a:cubicBezTo>
                <a:cubicBezTo>
                  <a:pt x="347" y="284"/>
                  <a:pt x="343" y="288"/>
                  <a:pt x="343" y="292"/>
                </a:cubicBezTo>
                <a:cubicBezTo>
                  <a:pt x="343" y="331"/>
                  <a:pt x="343" y="332"/>
                  <a:pt x="343" y="332"/>
                </a:cubicBezTo>
                <a:cubicBezTo>
                  <a:pt x="343" y="336"/>
                  <a:pt x="347" y="340"/>
                  <a:pt x="352" y="340"/>
                </a:cubicBezTo>
                <a:cubicBezTo>
                  <a:pt x="352" y="368"/>
                  <a:pt x="352" y="368"/>
                  <a:pt x="352" y="368"/>
                </a:cubicBezTo>
                <a:cubicBezTo>
                  <a:pt x="352" y="373"/>
                  <a:pt x="356" y="377"/>
                  <a:pt x="360" y="377"/>
                </a:cubicBezTo>
                <a:cubicBezTo>
                  <a:pt x="373" y="377"/>
                  <a:pt x="373" y="377"/>
                  <a:pt x="373" y="377"/>
                </a:cubicBezTo>
                <a:cubicBezTo>
                  <a:pt x="377" y="377"/>
                  <a:pt x="381" y="373"/>
                  <a:pt x="381" y="368"/>
                </a:cubicBezTo>
                <a:cubicBezTo>
                  <a:pt x="381" y="340"/>
                  <a:pt x="381" y="340"/>
                  <a:pt x="381" y="340"/>
                </a:cubicBezTo>
                <a:cubicBezTo>
                  <a:pt x="386" y="340"/>
                  <a:pt x="390" y="336"/>
                  <a:pt x="390" y="332"/>
                </a:cubicBezTo>
                <a:cubicBezTo>
                  <a:pt x="390" y="292"/>
                  <a:pt x="390" y="292"/>
                  <a:pt x="390" y="292"/>
                </a:cubicBezTo>
                <a:cubicBezTo>
                  <a:pt x="390" y="288"/>
                  <a:pt x="386" y="284"/>
                  <a:pt x="381" y="284"/>
                </a:cubicBezTo>
                <a:close/>
                <a:moveTo>
                  <a:pt x="519" y="340"/>
                </a:moveTo>
                <a:cubicBezTo>
                  <a:pt x="519" y="368"/>
                  <a:pt x="519" y="368"/>
                  <a:pt x="519" y="368"/>
                </a:cubicBezTo>
                <a:cubicBezTo>
                  <a:pt x="519" y="373"/>
                  <a:pt x="523" y="377"/>
                  <a:pt x="527" y="377"/>
                </a:cubicBezTo>
                <a:cubicBezTo>
                  <a:pt x="540" y="377"/>
                  <a:pt x="540" y="377"/>
                  <a:pt x="540" y="377"/>
                </a:cubicBezTo>
                <a:cubicBezTo>
                  <a:pt x="544" y="377"/>
                  <a:pt x="548" y="373"/>
                  <a:pt x="548" y="368"/>
                </a:cubicBezTo>
                <a:cubicBezTo>
                  <a:pt x="548" y="340"/>
                  <a:pt x="548" y="340"/>
                  <a:pt x="548" y="340"/>
                </a:cubicBezTo>
                <a:cubicBezTo>
                  <a:pt x="553" y="340"/>
                  <a:pt x="557" y="336"/>
                  <a:pt x="557" y="332"/>
                </a:cubicBezTo>
                <a:cubicBezTo>
                  <a:pt x="557" y="328"/>
                  <a:pt x="557" y="325"/>
                  <a:pt x="557" y="323"/>
                </a:cubicBezTo>
                <a:cubicBezTo>
                  <a:pt x="549" y="309"/>
                  <a:pt x="540" y="296"/>
                  <a:pt x="532" y="284"/>
                </a:cubicBezTo>
                <a:cubicBezTo>
                  <a:pt x="519" y="284"/>
                  <a:pt x="519" y="284"/>
                  <a:pt x="519" y="284"/>
                </a:cubicBezTo>
                <a:cubicBezTo>
                  <a:pt x="514" y="284"/>
                  <a:pt x="510" y="288"/>
                  <a:pt x="510" y="292"/>
                </a:cubicBezTo>
                <a:cubicBezTo>
                  <a:pt x="510" y="331"/>
                  <a:pt x="510" y="332"/>
                  <a:pt x="510" y="332"/>
                </a:cubicBezTo>
                <a:cubicBezTo>
                  <a:pt x="510" y="336"/>
                  <a:pt x="514" y="340"/>
                  <a:pt x="519" y="340"/>
                </a:cubicBezTo>
                <a:close/>
                <a:moveTo>
                  <a:pt x="436" y="391"/>
                </a:moveTo>
                <a:cubicBezTo>
                  <a:pt x="436" y="399"/>
                  <a:pt x="442" y="405"/>
                  <a:pt x="449" y="405"/>
                </a:cubicBezTo>
                <a:cubicBezTo>
                  <a:pt x="457" y="405"/>
                  <a:pt x="463" y="399"/>
                  <a:pt x="463" y="391"/>
                </a:cubicBezTo>
                <a:cubicBezTo>
                  <a:pt x="463" y="384"/>
                  <a:pt x="457" y="377"/>
                  <a:pt x="449" y="377"/>
                </a:cubicBezTo>
                <a:cubicBezTo>
                  <a:pt x="442" y="377"/>
                  <a:pt x="436" y="384"/>
                  <a:pt x="436" y="391"/>
                </a:cubicBezTo>
                <a:close/>
                <a:moveTo>
                  <a:pt x="491" y="391"/>
                </a:moveTo>
                <a:cubicBezTo>
                  <a:pt x="491" y="399"/>
                  <a:pt x="497" y="405"/>
                  <a:pt x="505" y="405"/>
                </a:cubicBezTo>
                <a:cubicBezTo>
                  <a:pt x="513" y="405"/>
                  <a:pt x="519" y="399"/>
                  <a:pt x="519" y="391"/>
                </a:cubicBezTo>
                <a:cubicBezTo>
                  <a:pt x="519" y="384"/>
                  <a:pt x="513" y="377"/>
                  <a:pt x="505" y="377"/>
                </a:cubicBezTo>
                <a:cubicBezTo>
                  <a:pt x="497" y="377"/>
                  <a:pt x="491" y="384"/>
                  <a:pt x="491" y="391"/>
                </a:cubicBezTo>
                <a:close/>
                <a:moveTo>
                  <a:pt x="324" y="391"/>
                </a:moveTo>
                <a:cubicBezTo>
                  <a:pt x="324" y="399"/>
                  <a:pt x="330" y="405"/>
                  <a:pt x="338" y="405"/>
                </a:cubicBezTo>
                <a:cubicBezTo>
                  <a:pt x="346" y="405"/>
                  <a:pt x="352" y="399"/>
                  <a:pt x="352" y="391"/>
                </a:cubicBezTo>
                <a:cubicBezTo>
                  <a:pt x="352" y="384"/>
                  <a:pt x="346" y="377"/>
                  <a:pt x="338" y="377"/>
                </a:cubicBezTo>
                <a:cubicBezTo>
                  <a:pt x="330" y="377"/>
                  <a:pt x="324" y="384"/>
                  <a:pt x="324" y="391"/>
                </a:cubicBezTo>
                <a:close/>
                <a:moveTo>
                  <a:pt x="259" y="416"/>
                </a:moveTo>
                <a:cubicBezTo>
                  <a:pt x="259" y="455"/>
                  <a:pt x="259" y="456"/>
                  <a:pt x="259" y="456"/>
                </a:cubicBezTo>
                <a:cubicBezTo>
                  <a:pt x="259" y="460"/>
                  <a:pt x="263" y="464"/>
                  <a:pt x="268" y="464"/>
                </a:cubicBezTo>
                <a:cubicBezTo>
                  <a:pt x="268" y="492"/>
                  <a:pt x="268" y="492"/>
                  <a:pt x="268" y="492"/>
                </a:cubicBezTo>
                <a:cubicBezTo>
                  <a:pt x="268" y="497"/>
                  <a:pt x="272" y="501"/>
                  <a:pt x="276" y="501"/>
                </a:cubicBezTo>
                <a:cubicBezTo>
                  <a:pt x="288" y="501"/>
                  <a:pt x="289" y="501"/>
                  <a:pt x="289" y="501"/>
                </a:cubicBezTo>
                <a:cubicBezTo>
                  <a:pt x="293" y="501"/>
                  <a:pt x="297" y="497"/>
                  <a:pt x="297" y="492"/>
                </a:cubicBezTo>
                <a:cubicBezTo>
                  <a:pt x="297" y="464"/>
                  <a:pt x="297" y="464"/>
                  <a:pt x="297" y="464"/>
                </a:cubicBezTo>
                <a:cubicBezTo>
                  <a:pt x="302" y="464"/>
                  <a:pt x="306" y="460"/>
                  <a:pt x="306" y="456"/>
                </a:cubicBezTo>
                <a:cubicBezTo>
                  <a:pt x="306" y="416"/>
                  <a:pt x="306" y="416"/>
                  <a:pt x="306" y="416"/>
                </a:cubicBezTo>
                <a:cubicBezTo>
                  <a:pt x="306" y="412"/>
                  <a:pt x="302" y="408"/>
                  <a:pt x="297" y="408"/>
                </a:cubicBezTo>
                <a:cubicBezTo>
                  <a:pt x="268" y="408"/>
                  <a:pt x="268" y="408"/>
                  <a:pt x="268" y="408"/>
                </a:cubicBezTo>
                <a:cubicBezTo>
                  <a:pt x="263" y="408"/>
                  <a:pt x="259" y="412"/>
                  <a:pt x="259" y="416"/>
                </a:cubicBezTo>
                <a:close/>
                <a:moveTo>
                  <a:pt x="269" y="391"/>
                </a:moveTo>
                <a:cubicBezTo>
                  <a:pt x="269" y="399"/>
                  <a:pt x="275" y="405"/>
                  <a:pt x="282" y="405"/>
                </a:cubicBezTo>
                <a:cubicBezTo>
                  <a:pt x="290" y="405"/>
                  <a:pt x="296" y="399"/>
                  <a:pt x="296" y="391"/>
                </a:cubicBezTo>
                <a:cubicBezTo>
                  <a:pt x="296" y="384"/>
                  <a:pt x="290" y="377"/>
                  <a:pt x="282" y="377"/>
                </a:cubicBezTo>
                <a:cubicBezTo>
                  <a:pt x="275" y="377"/>
                  <a:pt x="269" y="384"/>
                  <a:pt x="269" y="391"/>
                </a:cubicBezTo>
                <a:close/>
                <a:moveTo>
                  <a:pt x="241" y="515"/>
                </a:moveTo>
                <a:cubicBezTo>
                  <a:pt x="241" y="523"/>
                  <a:pt x="248" y="529"/>
                  <a:pt x="255" y="529"/>
                </a:cubicBezTo>
                <a:cubicBezTo>
                  <a:pt x="263" y="529"/>
                  <a:pt x="269" y="523"/>
                  <a:pt x="269" y="515"/>
                </a:cubicBezTo>
                <a:cubicBezTo>
                  <a:pt x="269" y="508"/>
                  <a:pt x="263" y="501"/>
                  <a:pt x="255" y="501"/>
                </a:cubicBezTo>
                <a:cubicBezTo>
                  <a:pt x="248" y="501"/>
                  <a:pt x="241" y="508"/>
                  <a:pt x="241" y="515"/>
                </a:cubicBezTo>
                <a:close/>
                <a:moveTo>
                  <a:pt x="325" y="284"/>
                </a:moveTo>
                <a:cubicBezTo>
                  <a:pt x="297" y="284"/>
                  <a:pt x="296" y="284"/>
                  <a:pt x="296" y="284"/>
                </a:cubicBezTo>
                <a:cubicBezTo>
                  <a:pt x="292" y="284"/>
                  <a:pt x="288" y="288"/>
                  <a:pt x="288" y="292"/>
                </a:cubicBezTo>
                <a:cubicBezTo>
                  <a:pt x="288" y="331"/>
                  <a:pt x="288" y="332"/>
                  <a:pt x="288" y="332"/>
                </a:cubicBezTo>
                <a:cubicBezTo>
                  <a:pt x="288" y="336"/>
                  <a:pt x="292" y="340"/>
                  <a:pt x="296" y="340"/>
                </a:cubicBezTo>
                <a:cubicBezTo>
                  <a:pt x="296" y="368"/>
                  <a:pt x="296" y="368"/>
                  <a:pt x="296" y="368"/>
                </a:cubicBezTo>
                <a:cubicBezTo>
                  <a:pt x="296" y="373"/>
                  <a:pt x="300" y="377"/>
                  <a:pt x="305" y="377"/>
                </a:cubicBezTo>
                <a:cubicBezTo>
                  <a:pt x="317" y="377"/>
                  <a:pt x="317" y="377"/>
                  <a:pt x="317" y="377"/>
                </a:cubicBezTo>
                <a:cubicBezTo>
                  <a:pt x="322" y="377"/>
                  <a:pt x="325" y="373"/>
                  <a:pt x="325" y="368"/>
                </a:cubicBezTo>
                <a:cubicBezTo>
                  <a:pt x="325" y="340"/>
                  <a:pt x="325" y="340"/>
                  <a:pt x="325" y="340"/>
                </a:cubicBezTo>
                <a:cubicBezTo>
                  <a:pt x="330" y="340"/>
                  <a:pt x="334" y="336"/>
                  <a:pt x="334" y="332"/>
                </a:cubicBezTo>
                <a:cubicBezTo>
                  <a:pt x="334" y="292"/>
                  <a:pt x="334" y="292"/>
                  <a:pt x="334" y="292"/>
                </a:cubicBezTo>
                <a:cubicBezTo>
                  <a:pt x="334" y="288"/>
                  <a:pt x="330" y="284"/>
                  <a:pt x="325" y="284"/>
                </a:cubicBezTo>
                <a:close/>
                <a:moveTo>
                  <a:pt x="583" y="377"/>
                </a:moveTo>
                <a:cubicBezTo>
                  <a:pt x="584" y="377"/>
                  <a:pt x="585" y="377"/>
                  <a:pt x="586" y="377"/>
                </a:cubicBezTo>
                <a:cubicBezTo>
                  <a:pt x="582" y="369"/>
                  <a:pt x="578" y="362"/>
                  <a:pt x="575" y="355"/>
                </a:cubicBezTo>
                <a:cubicBezTo>
                  <a:pt x="575" y="368"/>
                  <a:pt x="575" y="368"/>
                  <a:pt x="575" y="368"/>
                </a:cubicBezTo>
                <a:cubicBezTo>
                  <a:pt x="575" y="373"/>
                  <a:pt x="578" y="377"/>
                  <a:pt x="583" y="377"/>
                </a:cubicBezTo>
                <a:close/>
                <a:moveTo>
                  <a:pt x="555" y="501"/>
                </a:moveTo>
                <a:cubicBezTo>
                  <a:pt x="567" y="501"/>
                  <a:pt x="567" y="501"/>
                  <a:pt x="567" y="501"/>
                </a:cubicBezTo>
                <a:cubicBezTo>
                  <a:pt x="572" y="501"/>
                  <a:pt x="575" y="497"/>
                  <a:pt x="575" y="492"/>
                </a:cubicBezTo>
                <a:cubicBezTo>
                  <a:pt x="575" y="464"/>
                  <a:pt x="575" y="464"/>
                  <a:pt x="575" y="464"/>
                </a:cubicBezTo>
                <a:cubicBezTo>
                  <a:pt x="580" y="464"/>
                  <a:pt x="584" y="460"/>
                  <a:pt x="584" y="456"/>
                </a:cubicBezTo>
                <a:cubicBezTo>
                  <a:pt x="584" y="416"/>
                  <a:pt x="584" y="416"/>
                  <a:pt x="584" y="416"/>
                </a:cubicBezTo>
                <a:cubicBezTo>
                  <a:pt x="584" y="412"/>
                  <a:pt x="580" y="408"/>
                  <a:pt x="575" y="408"/>
                </a:cubicBezTo>
                <a:cubicBezTo>
                  <a:pt x="547" y="408"/>
                  <a:pt x="546" y="408"/>
                  <a:pt x="546" y="408"/>
                </a:cubicBezTo>
                <a:cubicBezTo>
                  <a:pt x="542" y="408"/>
                  <a:pt x="538" y="412"/>
                  <a:pt x="538" y="416"/>
                </a:cubicBezTo>
                <a:cubicBezTo>
                  <a:pt x="538" y="455"/>
                  <a:pt x="538" y="456"/>
                  <a:pt x="538" y="456"/>
                </a:cubicBezTo>
                <a:cubicBezTo>
                  <a:pt x="538" y="460"/>
                  <a:pt x="542" y="464"/>
                  <a:pt x="546" y="464"/>
                </a:cubicBezTo>
                <a:cubicBezTo>
                  <a:pt x="546" y="492"/>
                  <a:pt x="546" y="492"/>
                  <a:pt x="546" y="492"/>
                </a:cubicBezTo>
                <a:cubicBezTo>
                  <a:pt x="546" y="497"/>
                  <a:pt x="550" y="501"/>
                  <a:pt x="555" y="501"/>
                </a:cubicBezTo>
                <a:close/>
                <a:moveTo>
                  <a:pt x="529" y="280"/>
                </a:moveTo>
                <a:cubicBezTo>
                  <a:pt x="526" y="276"/>
                  <a:pt x="523" y="271"/>
                  <a:pt x="520" y="267"/>
                </a:cubicBezTo>
                <a:cubicBezTo>
                  <a:pt x="520" y="267"/>
                  <a:pt x="520" y="267"/>
                  <a:pt x="520" y="267"/>
                </a:cubicBezTo>
                <a:cubicBezTo>
                  <a:pt x="520" y="273"/>
                  <a:pt x="524" y="279"/>
                  <a:pt x="529" y="280"/>
                </a:cubicBezTo>
                <a:close/>
                <a:moveTo>
                  <a:pt x="547" y="391"/>
                </a:moveTo>
                <a:cubicBezTo>
                  <a:pt x="547" y="399"/>
                  <a:pt x="553" y="405"/>
                  <a:pt x="561" y="405"/>
                </a:cubicBezTo>
                <a:cubicBezTo>
                  <a:pt x="568" y="405"/>
                  <a:pt x="574" y="399"/>
                  <a:pt x="574" y="391"/>
                </a:cubicBezTo>
                <a:cubicBezTo>
                  <a:pt x="574" y="384"/>
                  <a:pt x="568" y="377"/>
                  <a:pt x="561" y="377"/>
                </a:cubicBezTo>
                <a:cubicBezTo>
                  <a:pt x="553" y="377"/>
                  <a:pt x="547" y="384"/>
                  <a:pt x="547" y="391"/>
                </a:cubicBezTo>
                <a:close/>
                <a:moveTo>
                  <a:pt x="534" y="529"/>
                </a:moveTo>
                <a:cubicBezTo>
                  <a:pt x="541" y="529"/>
                  <a:pt x="547" y="523"/>
                  <a:pt x="547" y="515"/>
                </a:cubicBezTo>
                <a:cubicBezTo>
                  <a:pt x="547" y="508"/>
                  <a:pt x="541" y="501"/>
                  <a:pt x="534" y="501"/>
                </a:cubicBezTo>
                <a:cubicBezTo>
                  <a:pt x="526" y="501"/>
                  <a:pt x="520" y="508"/>
                  <a:pt x="520" y="515"/>
                </a:cubicBezTo>
                <a:cubicBezTo>
                  <a:pt x="520" y="523"/>
                  <a:pt x="526" y="529"/>
                  <a:pt x="534" y="529"/>
                </a:cubicBezTo>
                <a:close/>
                <a:moveTo>
                  <a:pt x="635" y="525"/>
                </a:moveTo>
                <a:cubicBezTo>
                  <a:pt x="634" y="520"/>
                  <a:pt x="633" y="515"/>
                  <a:pt x="632" y="510"/>
                </a:cubicBezTo>
                <a:cubicBezTo>
                  <a:pt x="631" y="512"/>
                  <a:pt x="631" y="513"/>
                  <a:pt x="631" y="515"/>
                </a:cubicBezTo>
                <a:cubicBezTo>
                  <a:pt x="631" y="519"/>
                  <a:pt x="633" y="523"/>
                  <a:pt x="635" y="525"/>
                </a:cubicBezTo>
                <a:close/>
                <a:moveTo>
                  <a:pt x="610" y="501"/>
                </a:moveTo>
                <a:cubicBezTo>
                  <a:pt x="622" y="501"/>
                  <a:pt x="623" y="501"/>
                  <a:pt x="623" y="501"/>
                </a:cubicBezTo>
                <a:cubicBezTo>
                  <a:pt x="625" y="501"/>
                  <a:pt x="627" y="499"/>
                  <a:pt x="629" y="497"/>
                </a:cubicBezTo>
                <a:cubicBezTo>
                  <a:pt x="621" y="467"/>
                  <a:pt x="611" y="437"/>
                  <a:pt x="599" y="408"/>
                </a:cubicBezTo>
                <a:cubicBezTo>
                  <a:pt x="596" y="409"/>
                  <a:pt x="593" y="412"/>
                  <a:pt x="593" y="416"/>
                </a:cubicBezTo>
                <a:cubicBezTo>
                  <a:pt x="593" y="455"/>
                  <a:pt x="593" y="456"/>
                  <a:pt x="593" y="456"/>
                </a:cubicBezTo>
                <a:cubicBezTo>
                  <a:pt x="593" y="460"/>
                  <a:pt x="597" y="464"/>
                  <a:pt x="602" y="464"/>
                </a:cubicBezTo>
                <a:cubicBezTo>
                  <a:pt x="602" y="492"/>
                  <a:pt x="602" y="492"/>
                  <a:pt x="602" y="492"/>
                </a:cubicBezTo>
                <a:cubicBezTo>
                  <a:pt x="602" y="497"/>
                  <a:pt x="606" y="501"/>
                  <a:pt x="610" y="501"/>
                </a:cubicBezTo>
                <a:close/>
                <a:moveTo>
                  <a:pt x="589" y="529"/>
                </a:moveTo>
                <a:cubicBezTo>
                  <a:pt x="597" y="529"/>
                  <a:pt x="603" y="523"/>
                  <a:pt x="603" y="515"/>
                </a:cubicBezTo>
                <a:cubicBezTo>
                  <a:pt x="603" y="508"/>
                  <a:pt x="597" y="501"/>
                  <a:pt x="589" y="501"/>
                </a:cubicBezTo>
                <a:cubicBezTo>
                  <a:pt x="582" y="501"/>
                  <a:pt x="575" y="508"/>
                  <a:pt x="575" y="515"/>
                </a:cubicBezTo>
                <a:cubicBezTo>
                  <a:pt x="575" y="523"/>
                  <a:pt x="582" y="529"/>
                  <a:pt x="589" y="529"/>
                </a:cubicBezTo>
                <a:close/>
                <a:moveTo>
                  <a:pt x="130" y="408"/>
                </a:moveTo>
                <a:cubicBezTo>
                  <a:pt x="101" y="408"/>
                  <a:pt x="101" y="408"/>
                  <a:pt x="101" y="408"/>
                </a:cubicBezTo>
                <a:cubicBezTo>
                  <a:pt x="96" y="408"/>
                  <a:pt x="92" y="412"/>
                  <a:pt x="92" y="416"/>
                </a:cubicBezTo>
                <a:cubicBezTo>
                  <a:pt x="92" y="455"/>
                  <a:pt x="92" y="456"/>
                  <a:pt x="92" y="456"/>
                </a:cubicBezTo>
                <a:cubicBezTo>
                  <a:pt x="92" y="460"/>
                  <a:pt x="96" y="464"/>
                  <a:pt x="101" y="464"/>
                </a:cubicBezTo>
                <a:cubicBezTo>
                  <a:pt x="101" y="492"/>
                  <a:pt x="101" y="492"/>
                  <a:pt x="101" y="492"/>
                </a:cubicBezTo>
                <a:cubicBezTo>
                  <a:pt x="101" y="497"/>
                  <a:pt x="105" y="501"/>
                  <a:pt x="109" y="501"/>
                </a:cubicBezTo>
                <a:cubicBezTo>
                  <a:pt x="121" y="501"/>
                  <a:pt x="122" y="501"/>
                  <a:pt x="122" y="501"/>
                </a:cubicBezTo>
                <a:cubicBezTo>
                  <a:pt x="126" y="501"/>
                  <a:pt x="130" y="497"/>
                  <a:pt x="130" y="492"/>
                </a:cubicBezTo>
                <a:cubicBezTo>
                  <a:pt x="130" y="464"/>
                  <a:pt x="130" y="464"/>
                  <a:pt x="130" y="464"/>
                </a:cubicBezTo>
                <a:cubicBezTo>
                  <a:pt x="135" y="464"/>
                  <a:pt x="139" y="460"/>
                  <a:pt x="139" y="456"/>
                </a:cubicBezTo>
                <a:cubicBezTo>
                  <a:pt x="139" y="416"/>
                  <a:pt x="139" y="416"/>
                  <a:pt x="139" y="416"/>
                </a:cubicBezTo>
                <a:cubicBezTo>
                  <a:pt x="139" y="412"/>
                  <a:pt x="135" y="408"/>
                  <a:pt x="130" y="408"/>
                </a:cubicBezTo>
                <a:close/>
                <a:moveTo>
                  <a:pt x="115" y="653"/>
                </a:moveTo>
                <a:cubicBezTo>
                  <a:pt x="123" y="653"/>
                  <a:pt x="129" y="647"/>
                  <a:pt x="129" y="639"/>
                </a:cubicBezTo>
                <a:cubicBezTo>
                  <a:pt x="129" y="632"/>
                  <a:pt x="123" y="625"/>
                  <a:pt x="115" y="625"/>
                </a:cubicBezTo>
                <a:cubicBezTo>
                  <a:pt x="108" y="625"/>
                  <a:pt x="102" y="632"/>
                  <a:pt x="102" y="639"/>
                </a:cubicBezTo>
                <a:cubicBezTo>
                  <a:pt x="102" y="647"/>
                  <a:pt x="108" y="653"/>
                  <a:pt x="115" y="653"/>
                </a:cubicBezTo>
                <a:close/>
                <a:moveTo>
                  <a:pt x="241" y="408"/>
                </a:moveTo>
                <a:cubicBezTo>
                  <a:pt x="213" y="408"/>
                  <a:pt x="212" y="408"/>
                  <a:pt x="212" y="408"/>
                </a:cubicBezTo>
                <a:cubicBezTo>
                  <a:pt x="208" y="408"/>
                  <a:pt x="204" y="412"/>
                  <a:pt x="204" y="416"/>
                </a:cubicBezTo>
                <a:cubicBezTo>
                  <a:pt x="204" y="455"/>
                  <a:pt x="204" y="456"/>
                  <a:pt x="204" y="456"/>
                </a:cubicBezTo>
                <a:cubicBezTo>
                  <a:pt x="204" y="460"/>
                  <a:pt x="208" y="464"/>
                  <a:pt x="212" y="464"/>
                </a:cubicBezTo>
                <a:cubicBezTo>
                  <a:pt x="212" y="492"/>
                  <a:pt x="212" y="492"/>
                  <a:pt x="212" y="492"/>
                </a:cubicBezTo>
                <a:cubicBezTo>
                  <a:pt x="212" y="497"/>
                  <a:pt x="216" y="501"/>
                  <a:pt x="221" y="501"/>
                </a:cubicBezTo>
                <a:cubicBezTo>
                  <a:pt x="233" y="501"/>
                  <a:pt x="233" y="501"/>
                  <a:pt x="233" y="501"/>
                </a:cubicBezTo>
                <a:cubicBezTo>
                  <a:pt x="238" y="501"/>
                  <a:pt x="241" y="497"/>
                  <a:pt x="241" y="492"/>
                </a:cubicBezTo>
                <a:cubicBezTo>
                  <a:pt x="241" y="464"/>
                  <a:pt x="241" y="464"/>
                  <a:pt x="241" y="464"/>
                </a:cubicBezTo>
                <a:cubicBezTo>
                  <a:pt x="246" y="464"/>
                  <a:pt x="250" y="460"/>
                  <a:pt x="250" y="456"/>
                </a:cubicBezTo>
                <a:cubicBezTo>
                  <a:pt x="250" y="416"/>
                  <a:pt x="250" y="416"/>
                  <a:pt x="250" y="416"/>
                </a:cubicBezTo>
                <a:cubicBezTo>
                  <a:pt x="250" y="412"/>
                  <a:pt x="246" y="408"/>
                  <a:pt x="241" y="408"/>
                </a:cubicBezTo>
                <a:close/>
                <a:moveTo>
                  <a:pt x="186" y="408"/>
                </a:moveTo>
                <a:cubicBezTo>
                  <a:pt x="157" y="408"/>
                  <a:pt x="157" y="408"/>
                  <a:pt x="157" y="408"/>
                </a:cubicBezTo>
                <a:cubicBezTo>
                  <a:pt x="152" y="408"/>
                  <a:pt x="148" y="412"/>
                  <a:pt x="148" y="416"/>
                </a:cubicBezTo>
                <a:cubicBezTo>
                  <a:pt x="148" y="455"/>
                  <a:pt x="148" y="456"/>
                  <a:pt x="148" y="456"/>
                </a:cubicBezTo>
                <a:cubicBezTo>
                  <a:pt x="148" y="460"/>
                  <a:pt x="152" y="464"/>
                  <a:pt x="157" y="464"/>
                </a:cubicBezTo>
                <a:cubicBezTo>
                  <a:pt x="157" y="492"/>
                  <a:pt x="157" y="492"/>
                  <a:pt x="157" y="492"/>
                </a:cubicBezTo>
                <a:cubicBezTo>
                  <a:pt x="157" y="497"/>
                  <a:pt x="160" y="501"/>
                  <a:pt x="165" y="501"/>
                </a:cubicBezTo>
                <a:cubicBezTo>
                  <a:pt x="177" y="501"/>
                  <a:pt x="177" y="501"/>
                  <a:pt x="177" y="501"/>
                </a:cubicBezTo>
                <a:cubicBezTo>
                  <a:pt x="182" y="501"/>
                  <a:pt x="186" y="497"/>
                  <a:pt x="186" y="492"/>
                </a:cubicBezTo>
                <a:cubicBezTo>
                  <a:pt x="186" y="464"/>
                  <a:pt x="186" y="464"/>
                  <a:pt x="186" y="464"/>
                </a:cubicBezTo>
                <a:cubicBezTo>
                  <a:pt x="190" y="464"/>
                  <a:pt x="194" y="460"/>
                  <a:pt x="194" y="456"/>
                </a:cubicBezTo>
                <a:cubicBezTo>
                  <a:pt x="194" y="416"/>
                  <a:pt x="194" y="416"/>
                  <a:pt x="194" y="416"/>
                </a:cubicBezTo>
                <a:cubicBezTo>
                  <a:pt x="194" y="412"/>
                  <a:pt x="190" y="408"/>
                  <a:pt x="186" y="408"/>
                </a:cubicBezTo>
                <a:close/>
                <a:moveTo>
                  <a:pt x="171" y="653"/>
                </a:moveTo>
                <a:cubicBezTo>
                  <a:pt x="179" y="653"/>
                  <a:pt x="185" y="647"/>
                  <a:pt x="185" y="639"/>
                </a:cubicBezTo>
                <a:cubicBezTo>
                  <a:pt x="185" y="632"/>
                  <a:pt x="179" y="625"/>
                  <a:pt x="171" y="625"/>
                </a:cubicBezTo>
                <a:cubicBezTo>
                  <a:pt x="163" y="625"/>
                  <a:pt x="157" y="632"/>
                  <a:pt x="157" y="639"/>
                </a:cubicBezTo>
                <a:cubicBezTo>
                  <a:pt x="157" y="647"/>
                  <a:pt x="163" y="653"/>
                  <a:pt x="171" y="653"/>
                </a:cubicBezTo>
                <a:close/>
                <a:moveTo>
                  <a:pt x="227" y="653"/>
                </a:moveTo>
                <a:cubicBezTo>
                  <a:pt x="234" y="653"/>
                  <a:pt x="240" y="647"/>
                  <a:pt x="240" y="639"/>
                </a:cubicBezTo>
                <a:cubicBezTo>
                  <a:pt x="240" y="632"/>
                  <a:pt x="234" y="625"/>
                  <a:pt x="227" y="625"/>
                </a:cubicBezTo>
                <a:cubicBezTo>
                  <a:pt x="219" y="625"/>
                  <a:pt x="213" y="632"/>
                  <a:pt x="213" y="639"/>
                </a:cubicBezTo>
                <a:cubicBezTo>
                  <a:pt x="213" y="647"/>
                  <a:pt x="219" y="653"/>
                  <a:pt x="227" y="653"/>
                </a:cubicBezTo>
                <a:close/>
                <a:moveTo>
                  <a:pt x="74" y="515"/>
                </a:moveTo>
                <a:cubicBezTo>
                  <a:pt x="74" y="523"/>
                  <a:pt x="81" y="529"/>
                  <a:pt x="88" y="529"/>
                </a:cubicBezTo>
                <a:cubicBezTo>
                  <a:pt x="96" y="529"/>
                  <a:pt x="102" y="523"/>
                  <a:pt x="102" y="515"/>
                </a:cubicBezTo>
                <a:cubicBezTo>
                  <a:pt x="102" y="508"/>
                  <a:pt x="96" y="501"/>
                  <a:pt x="88" y="501"/>
                </a:cubicBezTo>
                <a:cubicBezTo>
                  <a:pt x="81" y="501"/>
                  <a:pt x="74" y="508"/>
                  <a:pt x="74" y="515"/>
                </a:cubicBezTo>
                <a:close/>
                <a:moveTo>
                  <a:pt x="130" y="515"/>
                </a:moveTo>
                <a:cubicBezTo>
                  <a:pt x="130" y="523"/>
                  <a:pt x="136" y="529"/>
                  <a:pt x="144" y="529"/>
                </a:cubicBezTo>
                <a:cubicBezTo>
                  <a:pt x="151" y="529"/>
                  <a:pt x="158" y="523"/>
                  <a:pt x="158" y="515"/>
                </a:cubicBezTo>
                <a:cubicBezTo>
                  <a:pt x="158" y="508"/>
                  <a:pt x="151" y="501"/>
                  <a:pt x="144" y="501"/>
                </a:cubicBezTo>
                <a:cubicBezTo>
                  <a:pt x="136" y="501"/>
                  <a:pt x="130" y="508"/>
                  <a:pt x="130" y="515"/>
                </a:cubicBezTo>
                <a:close/>
                <a:moveTo>
                  <a:pt x="499" y="501"/>
                </a:moveTo>
                <a:cubicBezTo>
                  <a:pt x="511" y="501"/>
                  <a:pt x="511" y="501"/>
                  <a:pt x="511" y="501"/>
                </a:cubicBezTo>
                <a:cubicBezTo>
                  <a:pt x="516" y="501"/>
                  <a:pt x="520" y="497"/>
                  <a:pt x="520" y="492"/>
                </a:cubicBezTo>
                <a:cubicBezTo>
                  <a:pt x="520" y="464"/>
                  <a:pt x="520" y="464"/>
                  <a:pt x="520" y="464"/>
                </a:cubicBezTo>
                <a:cubicBezTo>
                  <a:pt x="524" y="464"/>
                  <a:pt x="528" y="460"/>
                  <a:pt x="528" y="456"/>
                </a:cubicBezTo>
                <a:cubicBezTo>
                  <a:pt x="528" y="416"/>
                  <a:pt x="528" y="416"/>
                  <a:pt x="528" y="416"/>
                </a:cubicBezTo>
                <a:cubicBezTo>
                  <a:pt x="528" y="412"/>
                  <a:pt x="524" y="408"/>
                  <a:pt x="520" y="408"/>
                </a:cubicBezTo>
                <a:cubicBezTo>
                  <a:pt x="491" y="408"/>
                  <a:pt x="491" y="408"/>
                  <a:pt x="491" y="408"/>
                </a:cubicBezTo>
                <a:cubicBezTo>
                  <a:pt x="486" y="408"/>
                  <a:pt x="482" y="412"/>
                  <a:pt x="482" y="416"/>
                </a:cubicBezTo>
                <a:cubicBezTo>
                  <a:pt x="482" y="455"/>
                  <a:pt x="482" y="456"/>
                  <a:pt x="482" y="456"/>
                </a:cubicBezTo>
                <a:cubicBezTo>
                  <a:pt x="482" y="460"/>
                  <a:pt x="486" y="464"/>
                  <a:pt x="491" y="464"/>
                </a:cubicBezTo>
                <a:cubicBezTo>
                  <a:pt x="491" y="492"/>
                  <a:pt x="491" y="492"/>
                  <a:pt x="491" y="492"/>
                </a:cubicBezTo>
                <a:cubicBezTo>
                  <a:pt x="491" y="497"/>
                  <a:pt x="494" y="501"/>
                  <a:pt x="499" y="501"/>
                </a:cubicBezTo>
                <a:close/>
                <a:moveTo>
                  <a:pt x="186" y="515"/>
                </a:moveTo>
                <a:cubicBezTo>
                  <a:pt x="186" y="523"/>
                  <a:pt x="192" y="529"/>
                  <a:pt x="200" y="529"/>
                </a:cubicBezTo>
                <a:cubicBezTo>
                  <a:pt x="207" y="529"/>
                  <a:pt x="213" y="523"/>
                  <a:pt x="213" y="515"/>
                </a:cubicBezTo>
                <a:cubicBezTo>
                  <a:pt x="213" y="508"/>
                  <a:pt x="207" y="501"/>
                  <a:pt x="200" y="501"/>
                </a:cubicBezTo>
                <a:cubicBezTo>
                  <a:pt x="192" y="501"/>
                  <a:pt x="186" y="508"/>
                  <a:pt x="186" y="515"/>
                </a:cubicBezTo>
                <a:close/>
                <a:moveTo>
                  <a:pt x="74" y="656"/>
                </a:moveTo>
                <a:cubicBezTo>
                  <a:pt x="46" y="656"/>
                  <a:pt x="45" y="656"/>
                  <a:pt x="45" y="656"/>
                </a:cubicBezTo>
                <a:cubicBezTo>
                  <a:pt x="41" y="656"/>
                  <a:pt x="37" y="660"/>
                  <a:pt x="37" y="664"/>
                </a:cubicBezTo>
                <a:cubicBezTo>
                  <a:pt x="37" y="668"/>
                  <a:pt x="37" y="671"/>
                  <a:pt x="37" y="674"/>
                </a:cubicBezTo>
                <a:cubicBezTo>
                  <a:pt x="83" y="701"/>
                  <a:pt x="83" y="701"/>
                  <a:pt x="83" y="701"/>
                </a:cubicBezTo>
                <a:cubicBezTo>
                  <a:pt x="83" y="664"/>
                  <a:pt x="83" y="664"/>
                  <a:pt x="83" y="664"/>
                </a:cubicBezTo>
                <a:cubicBezTo>
                  <a:pt x="83" y="660"/>
                  <a:pt x="79" y="656"/>
                  <a:pt x="74" y="656"/>
                </a:cubicBezTo>
                <a:close/>
                <a:moveTo>
                  <a:pt x="47" y="532"/>
                </a:moveTo>
                <a:cubicBezTo>
                  <a:pt x="18" y="532"/>
                  <a:pt x="18" y="532"/>
                  <a:pt x="18" y="532"/>
                </a:cubicBezTo>
                <a:cubicBezTo>
                  <a:pt x="13" y="532"/>
                  <a:pt x="9" y="536"/>
                  <a:pt x="9" y="540"/>
                </a:cubicBezTo>
                <a:cubicBezTo>
                  <a:pt x="9" y="579"/>
                  <a:pt x="9" y="580"/>
                  <a:pt x="9" y="580"/>
                </a:cubicBezTo>
                <a:cubicBezTo>
                  <a:pt x="9" y="584"/>
                  <a:pt x="13" y="588"/>
                  <a:pt x="18" y="588"/>
                </a:cubicBezTo>
                <a:cubicBezTo>
                  <a:pt x="18" y="616"/>
                  <a:pt x="18" y="616"/>
                  <a:pt x="18" y="616"/>
                </a:cubicBezTo>
                <a:cubicBezTo>
                  <a:pt x="18" y="621"/>
                  <a:pt x="22" y="625"/>
                  <a:pt x="26" y="625"/>
                </a:cubicBezTo>
                <a:cubicBezTo>
                  <a:pt x="39" y="625"/>
                  <a:pt x="39" y="625"/>
                  <a:pt x="39" y="625"/>
                </a:cubicBezTo>
                <a:cubicBezTo>
                  <a:pt x="43" y="625"/>
                  <a:pt x="47" y="621"/>
                  <a:pt x="47" y="616"/>
                </a:cubicBezTo>
                <a:cubicBezTo>
                  <a:pt x="47" y="588"/>
                  <a:pt x="47" y="588"/>
                  <a:pt x="47" y="588"/>
                </a:cubicBezTo>
                <a:cubicBezTo>
                  <a:pt x="52" y="588"/>
                  <a:pt x="56" y="584"/>
                  <a:pt x="56" y="580"/>
                </a:cubicBezTo>
                <a:cubicBezTo>
                  <a:pt x="56" y="540"/>
                  <a:pt x="56" y="540"/>
                  <a:pt x="56" y="540"/>
                </a:cubicBezTo>
                <a:cubicBezTo>
                  <a:pt x="56" y="536"/>
                  <a:pt x="52" y="532"/>
                  <a:pt x="47" y="532"/>
                </a:cubicBezTo>
                <a:close/>
                <a:moveTo>
                  <a:pt x="138" y="625"/>
                </a:moveTo>
                <a:cubicBezTo>
                  <a:pt x="150" y="625"/>
                  <a:pt x="150" y="625"/>
                  <a:pt x="150" y="625"/>
                </a:cubicBezTo>
                <a:cubicBezTo>
                  <a:pt x="155" y="625"/>
                  <a:pt x="158" y="621"/>
                  <a:pt x="158" y="616"/>
                </a:cubicBezTo>
                <a:cubicBezTo>
                  <a:pt x="158" y="588"/>
                  <a:pt x="158" y="588"/>
                  <a:pt x="158" y="588"/>
                </a:cubicBezTo>
                <a:cubicBezTo>
                  <a:pt x="163" y="588"/>
                  <a:pt x="167" y="584"/>
                  <a:pt x="167" y="580"/>
                </a:cubicBezTo>
                <a:cubicBezTo>
                  <a:pt x="167" y="540"/>
                  <a:pt x="167" y="540"/>
                  <a:pt x="167" y="540"/>
                </a:cubicBezTo>
                <a:cubicBezTo>
                  <a:pt x="167" y="536"/>
                  <a:pt x="163" y="532"/>
                  <a:pt x="158" y="532"/>
                </a:cubicBezTo>
                <a:cubicBezTo>
                  <a:pt x="130" y="532"/>
                  <a:pt x="129" y="532"/>
                  <a:pt x="129" y="532"/>
                </a:cubicBezTo>
                <a:cubicBezTo>
                  <a:pt x="125" y="532"/>
                  <a:pt x="121" y="536"/>
                  <a:pt x="121" y="540"/>
                </a:cubicBezTo>
                <a:cubicBezTo>
                  <a:pt x="121" y="579"/>
                  <a:pt x="121" y="580"/>
                  <a:pt x="121" y="580"/>
                </a:cubicBezTo>
                <a:cubicBezTo>
                  <a:pt x="121" y="584"/>
                  <a:pt x="125" y="588"/>
                  <a:pt x="129" y="588"/>
                </a:cubicBezTo>
                <a:cubicBezTo>
                  <a:pt x="129" y="616"/>
                  <a:pt x="129" y="616"/>
                  <a:pt x="129" y="616"/>
                </a:cubicBezTo>
                <a:cubicBezTo>
                  <a:pt x="129" y="621"/>
                  <a:pt x="133" y="625"/>
                  <a:pt x="138" y="625"/>
                </a:cubicBezTo>
                <a:close/>
                <a:moveTo>
                  <a:pt x="193" y="625"/>
                </a:moveTo>
                <a:cubicBezTo>
                  <a:pt x="206" y="625"/>
                  <a:pt x="206" y="625"/>
                  <a:pt x="206" y="625"/>
                </a:cubicBezTo>
                <a:cubicBezTo>
                  <a:pt x="210" y="625"/>
                  <a:pt x="214" y="621"/>
                  <a:pt x="214" y="616"/>
                </a:cubicBezTo>
                <a:cubicBezTo>
                  <a:pt x="214" y="588"/>
                  <a:pt x="214" y="588"/>
                  <a:pt x="214" y="588"/>
                </a:cubicBezTo>
                <a:cubicBezTo>
                  <a:pt x="219" y="588"/>
                  <a:pt x="223" y="584"/>
                  <a:pt x="223" y="580"/>
                </a:cubicBezTo>
                <a:cubicBezTo>
                  <a:pt x="223" y="540"/>
                  <a:pt x="223" y="540"/>
                  <a:pt x="223" y="540"/>
                </a:cubicBezTo>
                <a:cubicBezTo>
                  <a:pt x="223" y="536"/>
                  <a:pt x="219" y="532"/>
                  <a:pt x="214" y="532"/>
                </a:cubicBezTo>
                <a:cubicBezTo>
                  <a:pt x="185" y="532"/>
                  <a:pt x="185" y="532"/>
                  <a:pt x="185" y="532"/>
                </a:cubicBezTo>
                <a:cubicBezTo>
                  <a:pt x="180" y="532"/>
                  <a:pt x="176" y="536"/>
                  <a:pt x="176" y="540"/>
                </a:cubicBezTo>
                <a:cubicBezTo>
                  <a:pt x="176" y="579"/>
                  <a:pt x="176" y="580"/>
                  <a:pt x="176" y="580"/>
                </a:cubicBezTo>
                <a:cubicBezTo>
                  <a:pt x="176" y="584"/>
                  <a:pt x="180" y="588"/>
                  <a:pt x="185" y="588"/>
                </a:cubicBezTo>
                <a:cubicBezTo>
                  <a:pt x="185" y="616"/>
                  <a:pt x="185" y="616"/>
                  <a:pt x="185" y="616"/>
                </a:cubicBezTo>
                <a:cubicBezTo>
                  <a:pt x="185" y="621"/>
                  <a:pt x="189" y="625"/>
                  <a:pt x="193" y="625"/>
                </a:cubicBezTo>
                <a:close/>
                <a:moveTo>
                  <a:pt x="103" y="616"/>
                </a:moveTo>
                <a:cubicBezTo>
                  <a:pt x="103" y="588"/>
                  <a:pt x="103" y="588"/>
                  <a:pt x="103" y="588"/>
                </a:cubicBezTo>
                <a:cubicBezTo>
                  <a:pt x="107" y="588"/>
                  <a:pt x="111" y="584"/>
                  <a:pt x="111" y="580"/>
                </a:cubicBezTo>
                <a:cubicBezTo>
                  <a:pt x="111" y="540"/>
                  <a:pt x="111" y="540"/>
                  <a:pt x="111" y="540"/>
                </a:cubicBezTo>
                <a:cubicBezTo>
                  <a:pt x="111" y="536"/>
                  <a:pt x="107" y="532"/>
                  <a:pt x="103" y="532"/>
                </a:cubicBezTo>
                <a:cubicBezTo>
                  <a:pt x="74" y="532"/>
                  <a:pt x="74" y="532"/>
                  <a:pt x="74" y="532"/>
                </a:cubicBezTo>
                <a:cubicBezTo>
                  <a:pt x="69" y="532"/>
                  <a:pt x="65" y="536"/>
                  <a:pt x="65" y="540"/>
                </a:cubicBezTo>
                <a:cubicBezTo>
                  <a:pt x="65" y="579"/>
                  <a:pt x="65" y="580"/>
                  <a:pt x="65" y="580"/>
                </a:cubicBezTo>
                <a:cubicBezTo>
                  <a:pt x="65" y="584"/>
                  <a:pt x="69" y="588"/>
                  <a:pt x="74" y="588"/>
                </a:cubicBezTo>
                <a:cubicBezTo>
                  <a:pt x="74" y="616"/>
                  <a:pt x="74" y="616"/>
                  <a:pt x="74" y="616"/>
                </a:cubicBezTo>
                <a:cubicBezTo>
                  <a:pt x="74" y="621"/>
                  <a:pt x="77" y="625"/>
                  <a:pt x="82" y="625"/>
                </a:cubicBezTo>
                <a:cubicBezTo>
                  <a:pt x="94" y="625"/>
                  <a:pt x="94" y="625"/>
                  <a:pt x="94" y="625"/>
                </a:cubicBezTo>
                <a:cubicBezTo>
                  <a:pt x="99" y="625"/>
                  <a:pt x="103" y="621"/>
                  <a:pt x="103" y="616"/>
                </a:cubicBezTo>
                <a:close/>
                <a:moveTo>
                  <a:pt x="46" y="639"/>
                </a:moveTo>
                <a:cubicBezTo>
                  <a:pt x="46" y="647"/>
                  <a:pt x="52" y="653"/>
                  <a:pt x="60" y="653"/>
                </a:cubicBezTo>
                <a:cubicBezTo>
                  <a:pt x="67" y="653"/>
                  <a:pt x="73" y="647"/>
                  <a:pt x="73" y="639"/>
                </a:cubicBezTo>
                <a:cubicBezTo>
                  <a:pt x="73" y="632"/>
                  <a:pt x="67" y="625"/>
                  <a:pt x="60" y="625"/>
                </a:cubicBezTo>
                <a:cubicBezTo>
                  <a:pt x="52" y="625"/>
                  <a:pt x="46" y="632"/>
                  <a:pt x="46" y="639"/>
                </a:cubicBezTo>
                <a:close/>
                <a:moveTo>
                  <a:pt x="27" y="664"/>
                </a:moveTo>
                <a:cubicBezTo>
                  <a:pt x="27" y="660"/>
                  <a:pt x="23" y="656"/>
                  <a:pt x="19" y="656"/>
                </a:cubicBezTo>
                <a:cubicBezTo>
                  <a:pt x="13" y="656"/>
                  <a:pt x="9" y="656"/>
                  <a:pt x="5" y="656"/>
                </a:cubicBezTo>
                <a:cubicBezTo>
                  <a:pt x="27" y="668"/>
                  <a:pt x="27" y="668"/>
                  <a:pt x="27" y="668"/>
                </a:cubicBezTo>
                <a:cubicBezTo>
                  <a:pt x="27" y="664"/>
                  <a:pt x="27" y="664"/>
                  <a:pt x="27" y="664"/>
                </a:cubicBezTo>
                <a:close/>
                <a:moveTo>
                  <a:pt x="0" y="626"/>
                </a:moveTo>
                <a:cubicBezTo>
                  <a:pt x="0" y="652"/>
                  <a:pt x="0" y="652"/>
                  <a:pt x="0" y="652"/>
                </a:cubicBezTo>
                <a:cubicBezTo>
                  <a:pt x="1" y="653"/>
                  <a:pt x="3" y="653"/>
                  <a:pt x="4" y="653"/>
                </a:cubicBezTo>
                <a:cubicBezTo>
                  <a:pt x="12" y="653"/>
                  <a:pt x="18" y="647"/>
                  <a:pt x="18" y="639"/>
                </a:cubicBezTo>
                <a:cubicBezTo>
                  <a:pt x="18" y="632"/>
                  <a:pt x="12" y="625"/>
                  <a:pt x="4" y="625"/>
                </a:cubicBezTo>
                <a:cubicBezTo>
                  <a:pt x="3" y="625"/>
                  <a:pt x="1" y="626"/>
                  <a:pt x="0" y="626"/>
                </a:cubicBezTo>
                <a:close/>
                <a:moveTo>
                  <a:pt x="259" y="168"/>
                </a:moveTo>
                <a:cubicBezTo>
                  <a:pt x="259" y="207"/>
                  <a:pt x="259" y="208"/>
                  <a:pt x="259" y="208"/>
                </a:cubicBezTo>
                <a:cubicBezTo>
                  <a:pt x="259" y="212"/>
                  <a:pt x="263" y="216"/>
                  <a:pt x="268" y="216"/>
                </a:cubicBezTo>
                <a:cubicBezTo>
                  <a:pt x="268" y="244"/>
                  <a:pt x="268" y="244"/>
                  <a:pt x="268" y="244"/>
                </a:cubicBezTo>
                <a:cubicBezTo>
                  <a:pt x="268" y="249"/>
                  <a:pt x="272" y="253"/>
                  <a:pt x="276" y="253"/>
                </a:cubicBezTo>
                <a:cubicBezTo>
                  <a:pt x="288" y="253"/>
                  <a:pt x="289" y="253"/>
                  <a:pt x="289" y="253"/>
                </a:cubicBezTo>
                <a:cubicBezTo>
                  <a:pt x="293" y="253"/>
                  <a:pt x="297" y="249"/>
                  <a:pt x="297" y="244"/>
                </a:cubicBezTo>
                <a:cubicBezTo>
                  <a:pt x="297" y="216"/>
                  <a:pt x="297" y="216"/>
                  <a:pt x="297" y="216"/>
                </a:cubicBezTo>
                <a:cubicBezTo>
                  <a:pt x="302" y="216"/>
                  <a:pt x="306" y="212"/>
                  <a:pt x="306" y="208"/>
                </a:cubicBezTo>
                <a:cubicBezTo>
                  <a:pt x="306" y="168"/>
                  <a:pt x="306" y="168"/>
                  <a:pt x="306" y="168"/>
                </a:cubicBezTo>
                <a:cubicBezTo>
                  <a:pt x="306" y="164"/>
                  <a:pt x="302" y="160"/>
                  <a:pt x="297" y="160"/>
                </a:cubicBezTo>
                <a:cubicBezTo>
                  <a:pt x="268" y="160"/>
                  <a:pt x="268" y="160"/>
                  <a:pt x="268" y="160"/>
                </a:cubicBezTo>
                <a:cubicBezTo>
                  <a:pt x="263" y="160"/>
                  <a:pt x="259" y="164"/>
                  <a:pt x="259" y="168"/>
                </a:cubicBezTo>
                <a:close/>
                <a:moveTo>
                  <a:pt x="296" y="92"/>
                </a:moveTo>
                <a:cubicBezTo>
                  <a:pt x="296" y="120"/>
                  <a:pt x="296" y="120"/>
                  <a:pt x="296" y="120"/>
                </a:cubicBezTo>
                <a:cubicBezTo>
                  <a:pt x="296" y="125"/>
                  <a:pt x="300" y="129"/>
                  <a:pt x="305" y="129"/>
                </a:cubicBezTo>
                <a:cubicBezTo>
                  <a:pt x="317" y="129"/>
                  <a:pt x="317" y="129"/>
                  <a:pt x="317" y="129"/>
                </a:cubicBezTo>
                <a:cubicBezTo>
                  <a:pt x="322" y="129"/>
                  <a:pt x="325" y="125"/>
                  <a:pt x="325" y="120"/>
                </a:cubicBezTo>
                <a:cubicBezTo>
                  <a:pt x="325" y="92"/>
                  <a:pt x="325" y="92"/>
                  <a:pt x="325" y="92"/>
                </a:cubicBezTo>
                <a:cubicBezTo>
                  <a:pt x="326" y="92"/>
                  <a:pt x="326" y="92"/>
                  <a:pt x="326" y="92"/>
                </a:cubicBezTo>
                <a:cubicBezTo>
                  <a:pt x="314" y="85"/>
                  <a:pt x="301" y="78"/>
                  <a:pt x="288" y="71"/>
                </a:cubicBezTo>
                <a:cubicBezTo>
                  <a:pt x="288" y="83"/>
                  <a:pt x="288" y="84"/>
                  <a:pt x="288" y="84"/>
                </a:cubicBezTo>
                <a:cubicBezTo>
                  <a:pt x="288" y="88"/>
                  <a:pt x="292" y="92"/>
                  <a:pt x="296" y="92"/>
                </a:cubicBezTo>
                <a:close/>
                <a:moveTo>
                  <a:pt x="360" y="129"/>
                </a:moveTo>
                <a:cubicBezTo>
                  <a:pt x="373" y="129"/>
                  <a:pt x="373" y="129"/>
                  <a:pt x="373" y="129"/>
                </a:cubicBezTo>
                <a:cubicBezTo>
                  <a:pt x="375" y="129"/>
                  <a:pt x="377" y="128"/>
                  <a:pt x="378" y="126"/>
                </a:cubicBezTo>
                <a:cubicBezTo>
                  <a:pt x="370" y="120"/>
                  <a:pt x="361" y="114"/>
                  <a:pt x="352" y="108"/>
                </a:cubicBezTo>
                <a:cubicBezTo>
                  <a:pt x="352" y="120"/>
                  <a:pt x="352" y="120"/>
                  <a:pt x="352" y="120"/>
                </a:cubicBezTo>
                <a:cubicBezTo>
                  <a:pt x="352" y="125"/>
                  <a:pt x="356" y="129"/>
                  <a:pt x="360" y="129"/>
                </a:cubicBezTo>
                <a:close/>
                <a:moveTo>
                  <a:pt x="241" y="92"/>
                </a:moveTo>
                <a:cubicBezTo>
                  <a:pt x="241" y="120"/>
                  <a:pt x="241" y="120"/>
                  <a:pt x="241" y="120"/>
                </a:cubicBezTo>
                <a:cubicBezTo>
                  <a:pt x="241" y="125"/>
                  <a:pt x="244" y="129"/>
                  <a:pt x="249" y="129"/>
                </a:cubicBezTo>
                <a:cubicBezTo>
                  <a:pt x="261" y="129"/>
                  <a:pt x="261" y="129"/>
                  <a:pt x="261" y="129"/>
                </a:cubicBezTo>
                <a:cubicBezTo>
                  <a:pt x="266" y="129"/>
                  <a:pt x="270" y="125"/>
                  <a:pt x="270" y="120"/>
                </a:cubicBezTo>
                <a:cubicBezTo>
                  <a:pt x="270" y="92"/>
                  <a:pt x="270" y="92"/>
                  <a:pt x="270" y="92"/>
                </a:cubicBezTo>
                <a:cubicBezTo>
                  <a:pt x="274" y="92"/>
                  <a:pt x="278" y="88"/>
                  <a:pt x="278" y="84"/>
                </a:cubicBezTo>
                <a:cubicBezTo>
                  <a:pt x="278" y="77"/>
                  <a:pt x="278" y="71"/>
                  <a:pt x="278" y="66"/>
                </a:cubicBezTo>
                <a:cubicBezTo>
                  <a:pt x="263" y="59"/>
                  <a:pt x="248" y="52"/>
                  <a:pt x="232" y="46"/>
                </a:cubicBezTo>
                <a:cubicBezTo>
                  <a:pt x="232" y="83"/>
                  <a:pt x="232" y="84"/>
                  <a:pt x="232" y="84"/>
                </a:cubicBezTo>
                <a:cubicBezTo>
                  <a:pt x="232" y="88"/>
                  <a:pt x="236" y="92"/>
                  <a:pt x="241" y="92"/>
                </a:cubicBezTo>
                <a:close/>
                <a:moveTo>
                  <a:pt x="185" y="143"/>
                </a:moveTo>
                <a:cubicBezTo>
                  <a:pt x="185" y="136"/>
                  <a:pt x="179" y="129"/>
                  <a:pt x="171" y="129"/>
                </a:cubicBezTo>
                <a:cubicBezTo>
                  <a:pt x="163" y="129"/>
                  <a:pt x="157" y="136"/>
                  <a:pt x="157" y="143"/>
                </a:cubicBezTo>
                <a:cubicBezTo>
                  <a:pt x="157" y="151"/>
                  <a:pt x="163" y="157"/>
                  <a:pt x="171" y="157"/>
                </a:cubicBezTo>
                <a:cubicBezTo>
                  <a:pt x="179" y="157"/>
                  <a:pt x="185" y="151"/>
                  <a:pt x="185" y="143"/>
                </a:cubicBezTo>
                <a:close/>
                <a:moveTo>
                  <a:pt x="74" y="408"/>
                </a:moveTo>
                <a:cubicBezTo>
                  <a:pt x="46" y="408"/>
                  <a:pt x="45" y="408"/>
                  <a:pt x="45" y="408"/>
                </a:cubicBezTo>
                <a:cubicBezTo>
                  <a:pt x="41" y="408"/>
                  <a:pt x="37" y="412"/>
                  <a:pt x="37" y="416"/>
                </a:cubicBezTo>
                <a:cubicBezTo>
                  <a:pt x="37" y="455"/>
                  <a:pt x="37" y="456"/>
                  <a:pt x="37" y="456"/>
                </a:cubicBezTo>
                <a:cubicBezTo>
                  <a:pt x="37" y="460"/>
                  <a:pt x="41" y="464"/>
                  <a:pt x="45" y="464"/>
                </a:cubicBezTo>
                <a:cubicBezTo>
                  <a:pt x="45" y="492"/>
                  <a:pt x="45" y="492"/>
                  <a:pt x="45" y="492"/>
                </a:cubicBezTo>
                <a:cubicBezTo>
                  <a:pt x="45" y="497"/>
                  <a:pt x="49" y="501"/>
                  <a:pt x="54" y="501"/>
                </a:cubicBezTo>
                <a:cubicBezTo>
                  <a:pt x="66" y="501"/>
                  <a:pt x="66" y="501"/>
                  <a:pt x="66" y="501"/>
                </a:cubicBezTo>
                <a:cubicBezTo>
                  <a:pt x="71" y="501"/>
                  <a:pt x="74" y="497"/>
                  <a:pt x="74" y="492"/>
                </a:cubicBezTo>
                <a:cubicBezTo>
                  <a:pt x="74" y="464"/>
                  <a:pt x="74" y="464"/>
                  <a:pt x="74" y="464"/>
                </a:cubicBezTo>
                <a:cubicBezTo>
                  <a:pt x="79" y="464"/>
                  <a:pt x="83" y="460"/>
                  <a:pt x="83" y="456"/>
                </a:cubicBezTo>
                <a:cubicBezTo>
                  <a:pt x="83" y="416"/>
                  <a:pt x="83" y="416"/>
                  <a:pt x="83" y="416"/>
                </a:cubicBezTo>
                <a:cubicBezTo>
                  <a:pt x="83" y="412"/>
                  <a:pt x="79" y="408"/>
                  <a:pt x="74" y="408"/>
                </a:cubicBezTo>
                <a:close/>
                <a:moveTo>
                  <a:pt x="352" y="143"/>
                </a:moveTo>
                <a:cubicBezTo>
                  <a:pt x="352" y="136"/>
                  <a:pt x="346" y="129"/>
                  <a:pt x="338" y="129"/>
                </a:cubicBezTo>
                <a:cubicBezTo>
                  <a:pt x="330" y="129"/>
                  <a:pt x="324" y="136"/>
                  <a:pt x="324" y="143"/>
                </a:cubicBezTo>
                <a:cubicBezTo>
                  <a:pt x="324" y="151"/>
                  <a:pt x="330" y="157"/>
                  <a:pt x="338" y="157"/>
                </a:cubicBezTo>
                <a:cubicBezTo>
                  <a:pt x="346" y="157"/>
                  <a:pt x="352" y="151"/>
                  <a:pt x="352" y="143"/>
                </a:cubicBezTo>
                <a:close/>
                <a:moveTo>
                  <a:pt x="315" y="168"/>
                </a:moveTo>
                <a:cubicBezTo>
                  <a:pt x="315" y="207"/>
                  <a:pt x="315" y="208"/>
                  <a:pt x="315" y="208"/>
                </a:cubicBezTo>
                <a:cubicBezTo>
                  <a:pt x="315" y="212"/>
                  <a:pt x="319" y="216"/>
                  <a:pt x="324" y="216"/>
                </a:cubicBezTo>
                <a:cubicBezTo>
                  <a:pt x="324" y="244"/>
                  <a:pt x="324" y="244"/>
                  <a:pt x="324" y="244"/>
                </a:cubicBezTo>
                <a:cubicBezTo>
                  <a:pt x="324" y="249"/>
                  <a:pt x="327" y="253"/>
                  <a:pt x="332" y="253"/>
                </a:cubicBezTo>
                <a:cubicBezTo>
                  <a:pt x="344" y="253"/>
                  <a:pt x="344" y="253"/>
                  <a:pt x="344" y="253"/>
                </a:cubicBezTo>
                <a:cubicBezTo>
                  <a:pt x="349" y="253"/>
                  <a:pt x="353" y="249"/>
                  <a:pt x="353" y="244"/>
                </a:cubicBezTo>
                <a:cubicBezTo>
                  <a:pt x="353" y="216"/>
                  <a:pt x="353" y="216"/>
                  <a:pt x="353" y="216"/>
                </a:cubicBezTo>
                <a:cubicBezTo>
                  <a:pt x="357" y="216"/>
                  <a:pt x="361" y="212"/>
                  <a:pt x="361" y="208"/>
                </a:cubicBezTo>
                <a:cubicBezTo>
                  <a:pt x="361" y="168"/>
                  <a:pt x="361" y="168"/>
                  <a:pt x="361" y="168"/>
                </a:cubicBezTo>
                <a:cubicBezTo>
                  <a:pt x="361" y="164"/>
                  <a:pt x="357" y="160"/>
                  <a:pt x="353" y="160"/>
                </a:cubicBezTo>
                <a:cubicBezTo>
                  <a:pt x="324" y="160"/>
                  <a:pt x="324" y="160"/>
                  <a:pt x="324" y="160"/>
                </a:cubicBezTo>
                <a:cubicBezTo>
                  <a:pt x="319" y="160"/>
                  <a:pt x="315" y="164"/>
                  <a:pt x="315" y="168"/>
                </a:cubicBezTo>
                <a:close/>
                <a:moveTo>
                  <a:pt x="270" y="780"/>
                </a:moveTo>
                <a:cubicBezTo>
                  <a:pt x="241" y="780"/>
                  <a:pt x="241" y="780"/>
                  <a:pt x="241" y="780"/>
                </a:cubicBezTo>
                <a:cubicBezTo>
                  <a:pt x="237" y="780"/>
                  <a:pt x="233" y="783"/>
                  <a:pt x="232" y="787"/>
                </a:cubicBezTo>
                <a:cubicBezTo>
                  <a:pt x="278" y="813"/>
                  <a:pt x="278" y="813"/>
                  <a:pt x="278" y="813"/>
                </a:cubicBezTo>
                <a:cubicBezTo>
                  <a:pt x="278" y="788"/>
                  <a:pt x="278" y="788"/>
                  <a:pt x="278" y="788"/>
                </a:cubicBezTo>
                <a:cubicBezTo>
                  <a:pt x="278" y="784"/>
                  <a:pt x="274" y="780"/>
                  <a:pt x="270" y="780"/>
                </a:cubicBezTo>
                <a:close/>
                <a:moveTo>
                  <a:pt x="148" y="168"/>
                </a:moveTo>
                <a:cubicBezTo>
                  <a:pt x="148" y="207"/>
                  <a:pt x="148" y="208"/>
                  <a:pt x="148" y="208"/>
                </a:cubicBezTo>
                <a:cubicBezTo>
                  <a:pt x="148" y="212"/>
                  <a:pt x="152" y="216"/>
                  <a:pt x="157" y="216"/>
                </a:cubicBezTo>
                <a:cubicBezTo>
                  <a:pt x="157" y="244"/>
                  <a:pt x="157" y="244"/>
                  <a:pt x="157" y="244"/>
                </a:cubicBezTo>
                <a:cubicBezTo>
                  <a:pt x="157" y="249"/>
                  <a:pt x="160" y="253"/>
                  <a:pt x="165" y="253"/>
                </a:cubicBezTo>
                <a:cubicBezTo>
                  <a:pt x="177" y="253"/>
                  <a:pt x="177" y="253"/>
                  <a:pt x="177" y="253"/>
                </a:cubicBezTo>
                <a:cubicBezTo>
                  <a:pt x="182" y="253"/>
                  <a:pt x="186" y="249"/>
                  <a:pt x="186" y="244"/>
                </a:cubicBezTo>
                <a:cubicBezTo>
                  <a:pt x="186" y="216"/>
                  <a:pt x="186" y="216"/>
                  <a:pt x="186" y="216"/>
                </a:cubicBezTo>
                <a:cubicBezTo>
                  <a:pt x="190" y="216"/>
                  <a:pt x="194" y="212"/>
                  <a:pt x="194" y="208"/>
                </a:cubicBezTo>
                <a:cubicBezTo>
                  <a:pt x="194" y="168"/>
                  <a:pt x="194" y="168"/>
                  <a:pt x="194" y="168"/>
                </a:cubicBezTo>
                <a:cubicBezTo>
                  <a:pt x="194" y="164"/>
                  <a:pt x="190" y="160"/>
                  <a:pt x="186" y="160"/>
                </a:cubicBezTo>
                <a:cubicBezTo>
                  <a:pt x="157" y="160"/>
                  <a:pt x="157" y="160"/>
                  <a:pt x="157" y="160"/>
                </a:cubicBezTo>
                <a:cubicBezTo>
                  <a:pt x="152" y="160"/>
                  <a:pt x="148" y="164"/>
                  <a:pt x="148" y="168"/>
                </a:cubicBezTo>
                <a:close/>
                <a:moveTo>
                  <a:pt x="296" y="143"/>
                </a:moveTo>
                <a:cubicBezTo>
                  <a:pt x="296" y="136"/>
                  <a:pt x="290" y="129"/>
                  <a:pt x="282" y="129"/>
                </a:cubicBezTo>
                <a:cubicBezTo>
                  <a:pt x="275" y="129"/>
                  <a:pt x="269" y="136"/>
                  <a:pt x="269" y="143"/>
                </a:cubicBezTo>
                <a:cubicBezTo>
                  <a:pt x="269" y="151"/>
                  <a:pt x="275" y="157"/>
                  <a:pt x="282" y="157"/>
                </a:cubicBezTo>
                <a:cubicBezTo>
                  <a:pt x="290" y="157"/>
                  <a:pt x="296" y="151"/>
                  <a:pt x="296" y="143"/>
                </a:cubicBezTo>
                <a:close/>
                <a:moveTo>
                  <a:pt x="9" y="44"/>
                </a:moveTo>
                <a:cubicBezTo>
                  <a:pt x="9" y="83"/>
                  <a:pt x="9" y="84"/>
                  <a:pt x="9" y="84"/>
                </a:cubicBezTo>
                <a:cubicBezTo>
                  <a:pt x="9" y="88"/>
                  <a:pt x="13" y="92"/>
                  <a:pt x="18" y="92"/>
                </a:cubicBezTo>
                <a:cubicBezTo>
                  <a:pt x="18" y="120"/>
                  <a:pt x="18" y="120"/>
                  <a:pt x="18" y="120"/>
                </a:cubicBezTo>
                <a:cubicBezTo>
                  <a:pt x="18" y="125"/>
                  <a:pt x="22" y="129"/>
                  <a:pt x="26" y="129"/>
                </a:cubicBezTo>
                <a:cubicBezTo>
                  <a:pt x="39" y="129"/>
                  <a:pt x="39" y="129"/>
                  <a:pt x="39" y="129"/>
                </a:cubicBezTo>
                <a:cubicBezTo>
                  <a:pt x="43" y="129"/>
                  <a:pt x="47" y="125"/>
                  <a:pt x="47" y="120"/>
                </a:cubicBezTo>
                <a:cubicBezTo>
                  <a:pt x="47" y="92"/>
                  <a:pt x="47" y="92"/>
                  <a:pt x="47" y="92"/>
                </a:cubicBezTo>
                <a:cubicBezTo>
                  <a:pt x="52" y="92"/>
                  <a:pt x="56" y="88"/>
                  <a:pt x="56" y="84"/>
                </a:cubicBezTo>
                <a:cubicBezTo>
                  <a:pt x="56" y="44"/>
                  <a:pt x="56" y="44"/>
                  <a:pt x="56" y="44"/>
                </a:cubicBezTo>
                <a:cubicBezTo>
                  <a:pt x="56" y="40"/>
                  <a:pt x="52" y="36"/>
                  <a:pt x="47" y="36"/>
                </a:cubicBezTo>
                <a:cubicBezTo>
                  <a:pt x="18" y="36"/>
                  <a:pt x="18" y="36"/>
                  <a:pt x="18" y="36"/>
                </a:cubicBezTo>
                <a:cubicBezTo>
                  <a:pt x="13" y="36"/>
                  <a:pt x="9" y="40"/>
                  <a:pt x="9" y="44"/>
                </a:cubicBezTo>
                <a:close/>
                <a:moveTo>
                  <a:pt x="603" y="887"/>
                </a:moveTo>
                <a:cubicBezTo>
                  <a:pt x="603" y="890"/>
                  <a:pt x="604" y="893"/>
                  <a:pt x="605" y="896"/>
                </a:cubicBezTo>
                <a:cubicBezTo>
                  <a:pt x="608" y="888"/>
                  <a:pt x="611" y="881"/>
                  <a:pt x="614" y="874"/>
                </a:cubicBezTo>
                <a:cubicBezTo>
                  <a:pt x="607" y="875"/>
                  <a:pt x="603" y="881"/>
                  <a:pt x="603" y="887"/>
                </a:cubicBezTo>
                <a:close/>
                <a:moveTo>
                  <a:pt x="584" y="912"/>
                </a:moveTo>
                <a:cubicBezTo>
                  <a:pt x="584" y="908"/>
                  <a:pt x="580" y="904"/>
                  <a:pt x="575" y="904"/>
                </a:cubicBezTo>
                <a:cubicBezTo>
                  <a:pt x="547" y="904"/>
                  <a:pt x="546" y="904"/>
                  <a:pt x="546" y="904"/>
                </a:cubicBezTo>
                <a:cubicBezTo>
                  <a:pt x="542" y="904"/>
                  <a:pt x="538" y="908"/>
                  <a:pt x="538" y="912"/>
                </a:cubicBezTo>
                <a:cubicBezTo>
                  <a:pt x="538" y="951"/>
                  <a:pt x="538" y="951"/>
                  <a:pt x="538" y="951"/>
                </a:cubicBezTo>
                <a:cubicBezTo>
                  <a:pt x="538" y="956"/>
                  <a:pt x="542" y="960"/>
                  <a:pt x="546" y="960"/>
                </a:cubicBezTo>
                <a:cubicBezTo>
                  <a:pt x="546" y="963"/>
                  <a:pt x="546" y="966"/>
                  <a:pt x="546" y="968"/>
                </a:cubicBezTo>
                <a:cubicBezTo>
                  <a:pt x="566" y="979"/>
                  <a:pt x="566" y="979"/>
                  <a:pt x="566" y="979"/>
                </a:cubicBezTo>
                <a:cubicBezTo>
                  <a:pt x="569" y="973"/>
                  <a:pt x="572" y="967"/>
                  <a:pt x="575" y="962"/>
                </a:cubicBezTo>
                <a:cubicBezTo>
                  <a:pt x="575" y="960"/>
                  <a:pt x="575" y="960"/>
                  <a:pt x="575" y="960"/>
                </a:cubicBezTo>
                <a:cubicBezTo>
                  <a:pt x="576" y="960"/>
                  <a:pt x="576" y="960"/>
                  <a:pt x="576" y="960"/>
                </a:cubicBezTo>
                <a:cubicBezTo>
                  <a:pt x="579" y="955"/>
                  <a:pt x="581" y="950"/>
                  <a:pt x="584" y="944"/>
                </a:cubicBezTo>
                <a:cubicBezTo>
                  <a:pt x="584" y="912"/>
                  <a:pt x="584" y="912"/>
                  <a:pt x="584" y="912"/>
                </a:cubicBezTo>
                <a:close/>
                <a:moveTo>
                  <a:pt x="583" y="873"/>
                </a:moveTo>
                <a:cubicBezTo>
                  <a:pt x="595" y="873"/>
                  <a:pt x="595" y="873"/>
                  <a:pt x="595" y="873"/>
                </a:cubicBezTo>
                <a:cubicBezTo>
                  <a:pt x="600" y="873"/>
                  <a:pt x="604" y="869"/>
                  <a:pt x="604" y="864"/>
                </a:cubicBezTo>
                <a:cubicBezTo>
                  <a:pt x="604" y="836"/>
                  <a:pt x="604" y="836"/>
                  <a:pt x="604" y="836"/>
                </a:cubicBezTo>
                <a:cubicBezTo>
                  <a:pt x="608" y="836"/>
                  <a:pt x="612" y="832"/>
                  <a:pt x="612" y="828"/>
                </a:cubicBezTo>
                <a:cubicBezTo>
                  <a:pt x="612" y="788"/>
                  <a:pt x="612" y="788"/>
                  <a:pt x="612" y="788"/>
                </a:cubicBezTo>
                <a:cubicBezTo>
                  <a:pt x="612" y="784"/>
                  <a:pt x="608" y="780"/>
                  <a:pt x="604" y="780"/>
                </a:cubicBezTo>
                <a:cubicBezTo>
                  <a:pt x="575" y="780"/>
                  <a:pt x="575" y="780"/>
                  <a:pt x="575" y="780"/>
                </a:cubicBezTo>
                <a:cubicBezTo>
                  <a:pt x="570" y="780"/>
                  <a:pt x="566" y="784"/>
                  <a:pt x="566" y="788"/>
                </a:cubicBezTo>
                <a:cubicBezTo>
                  <a:pt x="566" y="827"/>
                  <a:pt x="566" y="828"/>
                  <a:pt x="566" y="828"/>
                </a:cubicBezTo>
                <a:cubicBezTo>
                  <a:pt x="566" y="832"/>
                  <a:pt x="570" y="836"/>
                  <a:pt x="575" y="836"/>
                </a:cubicBezTo>
                <a:cubicBezTo>
                  <a:pt x="575" y="864"/>
                  <a:pt x="575" y="864"/>
                  <a:pt x="575" y="864"/>
                </a:cubicBezTo>
                <a:cubicBezTo>
                  <a:pt x="575" y="869"/>
                  <a:pt x="578" y="873"/>
                  <a:pt x="583" y="873"/>
                </a:cubicBezTo>
                <a:close/>
                <a:moveTo>
                  <a:pt x="129" y="143"/>
                </a:moveTo>
                <a:cubicBezTo>
                  <a:pt x="129" y="136"/>
                  <a:pt x="123" y="129"/>
                  <a:pt x="115" y="129"/>
                </a:cubicBezTo>
                <a:cubicBezTo>
                  <a:pt x="108" y="129"/>
                  <a:pt x="102" y="136"/>
                  <a:pt x="102" y="143"/>
                </a:cubicBezTo>
                <a:cubicBezTo>
                  <a:pt x="102" y="151"/>
                  <a:pt x="108" y="157"/>
                  <a:pt x="115" y="157"/>
                </a:cubicBezTo>
                <a:cubicBezTo>
                  <a:pt x="123" y="157"/>
                  <a:pt x="129" y="151"/>
                  <a:pt x="129" y="143"/>
                </a:cubicBezTo>
                <a:close/>
                <a:moveTo>
                  <a:pt x="92" y="168"/>
                </a:moveTo>
                <a:cubicBezTo>
                  <a:pt x="92" y="207"/>
                  <a:pt x="92" y="208"/>
                  <a:pt x="92" y="208"/>
                </a:cubicBezTo>
                <a:cubicBezTo>
                  <a:pt x="92" y="212"/>
                  <a:pt x="96" y="216"/>
                  <a:pt x="101" y="216"/>
                </a:cubicBezTo>
                <a:cubicBezTo>
                  <a:pt x="101" y="244"/>
                  <a:pt x="101" y="244"/>
                  <a:pt x="101" y="244"/>
                </a:cubicBezTo>
                <a:cubicBezTo>
                  <a:pt x="101" y="249"/>
                  <a:pt x="105" y="253"/>
                  <a:pt x="109" y="253"/>
                </a:cubicBezTo>
                <a:cubicBezTo>
                  <a:pt x="121" y="253"/>
                  <a:pt x="122" y="253"/>
                  <a:pt x="122" y="253"/>
                </a:cubicBezTo>
                <a:cubicBezTo>
                  <a:pt x="126" y="253"/>
                  <a:pt x="130" y="249"/>
                  <a:pt x="130" y="244"/>
                </a:cubicBezTo>
                <a:cubicBezTo>
                  <a:pt x="130" y="216"/>
                  <a:pt x="130" y="216"/>
                  <a:pt x="130" y="216"/>
                </a:cubicBezTo>
                <a:cubicBezTo>
                  <a:pt x="135" y="216"/>
                  <a:pt x="139" y="212"/>
                  <a:pt x="139" y="208"/>
                </a:cubicBezTo>
                <a:cubicBezTo>
                  <a:pt x="139" y="168"/>
                  <a:pt x="139" y="168"/>
                  <a:pt x="139" y="168"/>
                </a:cubicBezTo>
                <a:cubicBezTo>
                  <a:pt x="139" y="164"/>
                  <a:pt x="135" y="160"/>
                  <a:pt x="130" y="160"/>
                </a:cubicBezTo>
                <a:cubicBezTo>
                  <a:pt x="101" y="160"/>
                  <a:pt x="101" y="160"/>
                  <a:pt x="101" y="160"/>
                </a:cubicBezTo>
                <a:cubicBezTo>
                  <a:pt x="96" y="160"/>
                  <a:pt x="92" y="164"/>
                  <a:pt x="92" y="168"/>
                </a:cubicBezTo>
                <a:close/>
                <a:moveTo>
                  <a:pt x="472" y="873"/>
                </a:moveTo>
                <a:cubicBezTo>
                  <a:pt x="484" y="873"/>
                  <a:pt x="484" y="873"/>
                  <a:pt x="484" y="873"/>
                </a:cubicBezTo>
                <a:cubicBezTo>
                  <a:pt x="489" y="873"/>
                  <a:pt x="492" y="869"/>
                  <a:pt x="492" y="864"/>
                </a:cubicBezTo>
                <a:cubicBezTo>
                  <a:pt x="492" y="836"/>
                  <a:pt x="492" y="836"/>
                  <a:pt x="492" y="836"/>
                </a:cubicBezTo>
                <a:cubicBezTo>
                  <a:pt x="497" y="836"/>
                  <a:pt x="501" y="832"/>
                  <a:pt x="501" y="828"/>
                </a:cubicBezTo>
                <a:cubicBezTo>
                  <a:pt x="501" y="788"/>
                  <a:pt x="501" y="788"/>
                  <a:pt x="501" y="788"/>
                </a:cubicBezTo>
                <a:cubicBezTo>
                  <a:pt x="501" y="784"/>
                  <a:pt x="497" y="780"/>
                  <a:pt x="492" y="780"/>
                </a:cubicBezTo>
                <a:cubicBezTo>
                  <a:pt x="464" y="780"/>
                  <a:pt x="463" y="780"/>
                  <a:pt x="463" y="780"/>
                </a:cubicBezTo>
                <a:cubicBezTo>
                  <a:pt x="459" y="780"/>
                  <a:pt x="455" y="784"/>
                  <a:pt x="455" y="788"/>
                </a:cubicBezTo>
                <a:cubicBezTo>
                  <a:pt x="455" y="827"/>
                  <a:pt x="455" y="828"/>
                  <a:pt x="455" y="828"/>
                </a:cubicBezTo>
                <a:cubicBezTo>
                  <a:pt x="455" y="832"/>
                  <a:pt x="459" y="836"/>
                  <a:pt x="463" y="836"/>
                </a:cubicBezTo>
                <a:cubicBezTo>
                  <a:pt x="463" y="864"/>
                  <a:pt x="463" y="864"/>
                  <a:pt x="463" y="864"/>
                </a:cubicBezTo>
                <a:cubicBezTo>
                  <a:pt x="463" y="869"/>
                  <a:pt x="467" y="873"/>
                  <a:pt x="472" y="873"/>
                </a:cubicBezTo>
                <a:close/>
                <a:moveTo>
                  <a:pt x="527" y="873"/>
                </a:moveTo>
                <a:cubicBezTo>
                  <a:pt x="540" y="873"/>
                  <a:pt x="540" y="873"/>
                  <a:pt x="540" y="873"/>
                </a:cubicBezTo>
                <a:cubicBezTo>
                  <a:pt x="544" y="873"/>
                  <a:pt x="548" y="869"/>
                  <a:pt x="548" y="864"/>
                </a:cubicBezTo>
                <a:cubicBezTo>
                  <a:pt x="548" y="836"/>
                  <a:pt x="548" y="836"/>
                  <a:pt x="548" y="836"/>
                </a:cubicBezTo>
                <a:cubicBezTo>
                  <a:pt x="553" y="836"/>
                  <a:pt x="557" y="832"/>
                  <a:pt x="557" y="828"/>
                </a:cubicBezTo>
                <a:cubicBezTo>
                  <a:pt x="557" y="788"/>
                  <a:pt x="557" y="788"/>
                  <a:pt x="557" y="788"/>
                </a:cubicBezTo>
                <a:cubicBezTo>
                  <a:pt x="557" y="784"/>
                  <a:pt x="553" y="780"/>
                  <a:pt x="548" y="780"/>
                </a:cubicBezTo>
                <a:cubicBezTo>
                  <a:pt x="519" y="780"/>
                  <a:pt x="519" y="780"/>
                  <a:pt x="519" y="780"/>
                </a:cubicBezTo>
                <a:cubicBezTo>
                  <a:pt x="514" y="780"/>
                  <a:pt x="510" y="784"/>
                  <a:pt x="510" y="788"/>
                </a:cubicBezTo>
                <a:cubicBezTo>
                  <a:pt x="510" y="827"/>
                  <a:pt x="510" y="828"/>
                  <a:pt x="510" y="828"/>
                </a:cubicBezTo>
                <a:cubicBezTo>
                  <a:pt x="510" y="832"/>
                  <a:pt x="514" y="836"/>
                  <a:pt x="519" y="836"/>
                </a:cubicBezTo>
                <a:cubicBezTo>
                  <a:pt x="519" y="864"/>
                  <a:pt x="519" y="864"/>
                  <a:pt x="519" y="864"/>
                </a:cubicBezTo>
                <a:cubicBezTo>
                  <a:pt x="519" y="869"/>
                  <a:pt x="523" y="873"/>
                  <a:pt x="527" y="873"/>
                </a:cubicBezTo>
                <a:close/>
                <a:moveTo>
                  <a:pt x="443" y="501"/>
                </a:moveTo>
                <a:cubicBezTo>
                  <a:pt x="455" y="501"/>
                  <a:pt x="456" y="501"/>
                  <a:pt x="456" y="501"/>
                </a:cubicBezTo>
                <a:cubicBezTo>
                  <a:pt x="460" y="501"/>
                  <a:pt x="464" y="497"/>
                  <a:pt x="464" y="492"/>
                </a:cubicBezTo>
                <a:cubicBezTo>
                  <a:pt x="464" y="464"/>
                  <a:pt x="464" y="464"/>
                  <a:pt x="464" y="464"/>
                </a:cubicBezTo>
                <a:cubicBezTo>
                  <a:pt x="469" y="464"/>
                  <a:pt x="473" y="460"/>
                  <a:pt x="473" y="456"/>
                </a:cubicBezTo>
                <a:cubicBezTo>
                  <a:pt x="473" y="416"/>
                  <a:pt x="473" y="416"/>
                  <a:pt x="473" y="416"/>
                </a:cubicBezTo>
                <a:cubicBezTo>
                  <a:pt x="473" y="412"/>
                  <a:pt x="469" y="408"/>
                  <a:pt x="464" y="408"/>
                </a:cubicBezTo>
                <a:cubicBezTo>
                  <a:pt x="435" y="408"/>
                  <a:pt x="435" y="408"/>
                  <a:pt x="435" y="408"/>
                </a:cubicBezTo>
                <a:cubicBezTo>
                  <a:pt x="430" y="408"/>
                  <a:pt x="426" y="412"/>
                  <a:pt x="426" y="416"/>
                </a:cubicBezTo>
                <a:cubicBezTo>
                  <a:pt x="426" y="455"/>
                  <a:pt x="426" y="456"/>
                  <a:pt x="426" y="456"/>
                </a:cubicBezTo>
                <a:cubicBezTo>
                  <a:pt x="426" y="460"/>
                  <a:pt x="430" y="464"/>
                  <a:pt x="435" y="464"/>
                </a:cubicBezTo>
                <a:cubicBezTo>
                  <a:pt x="435" y="492"/>
                  <a:pt x="435" y="492"/>
                  <a:pt x="435" y="492"/>
                </a:cubicBezTo>
                <a:cubicBezTo>
                  <a:pt x="435" y="497"/>
                  <a:pt x="439" y="501"/>
                  <a:pt x="443" y="501"/>
                </a:cubicBezTo>
                <a:close/>
                <a:moveTo>
                  <a:pt x="311" y="501"/>
                </a:moveTo>
                <a:cubicBezTo>
                  <a:pt x="303" y="501"/>
                  <a:pt x="297" y="508"/>
                  <a:pt x="297" y="515"/>
                </a:cubicBezTo>
                <a:cubicBezTo>
                  <a:pt x="297" y="523"/>
                  <a:pt x="303" y="529"/>
                  <a:pt x="311" y="529"/>
                </a:cubicBezTo>
                <a:cubicBezTo>
                  <a:pt x="318" y="529"/>
                  <a:pt x="325" y="523"/>
                  <a:pt x="325" y="515"/>
                </a:cubicBezTo>
                <a:cubicBezTo>
                  <a:pt x="325" y="508"/>
                  <a:pt x="318" y="501"/>
                  <a:pt x="311" y="501"/>
                </a:cubicBezTo>
                <a:close/>
                <a:moveTo>
                  <a:pt x="455" y="292"/>
                </a:moveTo>
                <a:cubicBezTo>
                  <a:pt x="455" y="331"/>
                  <a:pt x="455" y="332"/>
                  <a:pt x="455" y="332"/>
                </a:cubicBezTo>
                <a:cubicBezTo>
                  <a:pt x="455" y="336"/>
                  <a:pt x="459" y="340"/>
                  <a:pt x="463" y="340"/>
                </a:cubicBezTo>
                <a:cubicBezTo>
                  <a:pt x="463" y="368"/>
                  <a:pt x="463" y="368"/>
                  <a:pt x="463" y="368"/>
                </a:cubicBezTo>
                <a:cubicBezTo>
                  <a:pt x="463" y="373"/>
                  <a:pt x="467" y="377"/>
                  <a:pt x="472" y="377"/>
                </a:cubicBezTo>
                <a:cubicBezTo>
                  <a:pt x="484" y="377"/>
                  <a:pt x="484" y="377"/>
                  <a:pt x="484" y="377"/>
                </a:cubicBezTo>
                <a:cubicBezTo>
                  <a:pt x="489" y="377"/>
                  <a:pt x="492" y="373"/>
                  <a:pt x="492" y="368"/>
                </a:cubicBezTo>
                <a:cubicBezTo>
                  <a:pt x="492" y="340"/>
                  <a:pt x="492" y="340"/>
                  <a:pt x="492" y="340"/>
                </a:cubicBezTo>
                <a:cubicBezTo>
                  <a:pt x="497" y="340"/>
                  <a:pt x="501" y="336"/>
                  <a:pt x="501" y="332"/>
                </a:cubicBezTo>
                <a:cubicBezTo>
                  <a:pt x="501" y="292"/>
                  <a:pt x="501" y="292"/>
                  <a:pt x="501" y="292"/>
                </a:cubicBezTo>
                <a:cubicBezTo>
                  <a:pt x="501" y="288"/>
                  <a:pt x="497" y="284"/>
                  <a:pt x="492" y="284"/>
                </a:cubicBezTo>
                <a:cubicBezTo>
                  <a:pt x="464" y="284"/>
                  <a:pt x="463" y="284"/>
                  <a:pt x="463" y="284"/>
                </a:cubicBezTo>
                <a:cubicBezTo>
                  <a:pt x="459" y="284"/>
                  <a:pt x="455" y="288"/>
                  <a:pt x="455" y="292"/>
                </a:cubicBezTo>
                <a:close/>
                <a:moveTo>
                  <a:pt x="639" y="625"/>
                </a:moveTo>
                <a:cubicBezTo>
                  <a:pt x="643" y="625"/>
                  <a:pt x="646" y="625"/>
                  <a:pt x="648" y="625"/>
                </a:cubicBezTo>
                <a:cubicBezTo>
                  <a:pt x="646" y="593"/>
                  <a:pt x="643" y="562"/>
                  <a:pt x="637" y="532"/>
                </a:cubicBezTo>
                <a:cubicBezTo>
                  <a:pt x="631" y="532"/>
                  <a:pt x="630" y="532"/>
                  <a:pt x="630" y="532"/>
                </a:cubicBezTo>
                <a:cubicBezTo>
                  <a:pt x="626" y="532"/>
                  <a:pt x="622" y="536"/>
                  <a:pt x="622" y="540"/>
                </a:cubicBezTo>
                <a:cubicBezTo>
                  <a:pt x="622" y="579"/>
                  <a:pt x="622" y="580"/>
                  <a:pt x="622" y="580"/>
                </a:cubicBezTo>
                <a:cubicBezTo>
                  <a:pt x="622" y="584"/>
                  <a:pt x="626" y="588"/>
                  <a:pt x="630" y="588"/>
                </a:cubicBezTo>
                <a:cubicBezTo>
                  <a:pt x="630" y="616"/>
                  <a:pt x="630" y="616"/>
                  <a:pt x="630" y="616"/>
                </a:cubicBezTo>
                <a:cubicBezTo>
                  <a:pt x="630" y="621"/>
                  <a:pt x="634" y="625"/>
                  <a:pt x="639" y="625"/>
                </a:cubicBezTo>
                <a:close/>
                <a:moveTo>
                  <a:pt x="492" y="267"/>
                </a:moveTo>
                <a:cubicBezTo>
                  <a:pt x="492" y="260"/>
                  <a:pt x="485" y="253"/>
                  <a:pt x="478" y="253"/>
                </a:cubicBezTo>
                <a:cubicBezTo>
                  <a:pt x="470" y="253"/>
                  <a:pt x="464" y="260"/>
                  <a:pt x="464" y="267"/>
                </a:cubicBezTo>
                <a:cubicBezTo>
                  <a:pt x="464" y="275"/>
                  <a:pt x="470" y="281"/>
                  <a:pt x="478" y="281"/>
                </a:cubicBezTo>
                <a:cubicBezTo>
                  <a:pt x="485" y="281"/>
                  <a:pt x="492" y="275"/>
                  <a:pt x="492" y="267"/>
                </a:cubicBezTo>
                <a:close/>
                <a:moveTo>
                  <a:pt x="332" y="501"/>
                </a:moveTo>
                <a:cubicBezTo>
                  <a:pt x="344" y="501"/>
                  <a:pt x="344" y="501"/>
                  <a:pt x="344" y="501"/>
                </a:cubicBezTo>
                <a:cubicBezTo>
                  <a:pt x="349" y="501"/>
                  <a:pt x="353" y="497"/>
                  <a:pt x="353" y="492"/>
                </a:cubicBezTo>
                <a:cubicBezTo>
                  <a:pt x="353" y="464"/>
                  <a:pt x="353" y="464"/>
                  <a:pt x="353" y="464"/>
                </a:cubicBezTo>
                <a:cubicBezTo>
                  <a:pt x="357" y="464"/>
                  <a:pt x="361" y="460"/>
                  <a:pt x="361" y="456"/>
                </a:cubicBezTo>
                <a:cubicBezTo>
                  <a:pt x="361" y="416"/>
                  <a:pt x="361" y="416"/>
                  <a:pt x="361" y="416"/>
                </a:cubicBezTo>
                <a:cubicBezTo>
                  <a:pt x="361" y="412"/>
                  <a:pt x="357" y="408"/>
                  <a:pt x="353" y="408"/>
                </a:cubicBezTo>
                <a:cubicBezTo>
                  <a:pt x="324" y="408"/>
                  <a:pt x="324" y="408"/>
                  <a:pt x="324" y="408"/>
                </a:cubicBezTo>
                <a:cubicBezTo>
                  <a:pt x="319" y="408"/>
                  <a:pt x="315" y="412"/>
                  <a:pt x="315" y="416"/>
                </a:cubicBezTo>
                <a:cubicBezTo>
                  <a:pt x="315" y="455"/>
                  <a:pt x="315" y="456"/>
                  <a:pt x="315" y="456"/>
                </a:cubicBezTo>
                <a:cubicBezTo>
                  <a:pt x="315" y="460"/>
                  <a:pt x="319" y="464"/>
                  <a:pt x="324" y="464"/>
                </a:cubicBezTo>
                <a:cubicBezTo>
                  <a:pt x="324" y="492"/>
                  <a:pt x="324" y="492"/>
                  <a:pt x="324" y="492"/>
                </a:cubicBezTo>
                <a:cubicBezTo>
                  <a:pt x="324" y="497"/>
                  <a:pt x="327" y="501"/>
                  <a:pt x="332" y="501"/>
                </a:cubicBezTo>
                <a:close/>
                <a:moveTo>
                  <a:pt x="478" y="529"/>
                </a:moveTo>
                <a:cubicBezTo>
                  <a:pt x="485" y="529"/>
                  <a:pt x="492" y="523"/>
                  <a:pt x="492" y="515"/>
                </a:cubicBezTo>
                <a:cubicBezTo>
                  <a:pt x="492" y="508"/>
                  <a:pt x="485" y="501"/>
                  <a:pt x="478" y="501"/>
                </a:cubicBezTo>
                <a:cubicBezTo>
                  <a:pt x="470" y="501"/>
                  <a:pt x="464" y="508"/>
                  <a:pt x="464" y="515"/>
                </a:cubicBezTo>
                <a:cubicBezTo>
                  <a:pt x="464" y="523"/>
                  <a:pt x="470" y="529"/>
                  <a:pt x="478" y="529"/>
                </a:cubicBezTo>
                <a:close/>
                <a:moveTo>
                  <a:pt x="422" y="529"/>
                </a:moveTo>
                <a:cubicBezTo>
                  <a:pt x="430" y="529"/>
                  <a:pt x="436" y="523"/>
                  <a:pt x="436" y="515"/>
                </a:cubicBezTo>
                <a:cubicBezTo>
                  <a:pt x="436" y="508"/>
                  <a:pt x="430" y="501"/>
                  <a:pt x="422" y="501"/>
                </a:cubicBezTo>
                <a:cubicBezTo>
                  <a:pt x="415" y="501"/>
                  <a:pt x="408" y="508"/>
                  <a:pt x="408" y="515"/>
                </a:cubicBezTo>
                <a:cubicBezTo>
                  <a:pt x="408" y="523"/>
                  <a:pt x="415" y="529"/>
                  <a:pt x="422" y="529"/>
                </a:cubicBezTo>
                <a:close/>
                <a:moveTo>
                  <a:pt x="388" y="501"/>
                </a:moveTo>
                <a:cubicBezTo>
                  <a:pt x="400" y="501"/>
                  <a:pt x="400" y="501"/>
                  <a:pt x="400" y="501"/>
                </a:cubicBezTo>
                <a:cubicBezTo>
                  <a:pt x="405" y="501"/>
                  <a:pt x="408" y="497"/>
                  <a:pt x="408" y="492"/>
                </a:cubicBezTo>
                <a:cubicBezTo>
                  <a:pt x="408" y="464"/>
                  <a:pt x="408" y="464"/>
                  <a:pt x="408" y="464"/>
                </a:cubicBezTo>
                <a:cubicBezTo>
                  <a:pt x="413" y="464"/>
                  <a:pt x="417" y="460"/>
                  <a:pt x="417" y="456"/>
                </a:cubicBezTo>
                <a:cubicBezTo>
                  <a:pt x="417" y="416"/>
                  <a:pt x="417" y="416"/>
                  <a:pt x="417" y="416"/>
                </a:cubicBezTo>
                <a:cubicBezTo>
                  <a:pt x="417" y="412"/>
                  <a:pt x="413" y="408"/>
                  <a:pt x="408" y="408"/>
                </a:cubicBezTo>
                <a:cubicBezTo>
                  <a:pt x="380" y="408"/>
                  <a:pt x="379" y="408"/>
                  <a:pt x="379" y="408"/>
                </a:cubicBezTo>
                <a:cubicBezTo>
                  <a:pt x="375" y="408"/>
                  <a:pt x="371" y="412"/>
                  <a:pt x="371" y="416"/>
                </a:cubicBezTo>
                <a:cubicBezTo>
                  <a:pt x="371" y="455"/>
                  <a:pt x="371" y="456"/>
                  <a:pt x="371" y="456"/>
                </a:cubicBezTo>
                <a:cubicBezTo>
                  <a:pt x="371" y="460"/>
                  <a:pt x="375" y="464"/>
                  <a:pt x="379" y="464"/>
                </a:cubicBezTo>
                <a:cubicBezTo>
                  <a:pt x="379" y="492"/>
                  <a:pt x="379" y="492"/>
                  <a:pt x="379" y="492"/>
                </a:cubicBezTo>
                <a:cubicBezTo>
                  <a:pt x="379" y="497"/>
                  <a:pt x="383" y="501"/>
                  <a:pt x="388" y="501"/>
                </a:cubicBezTo>
                <a:close/>
                <a:moveTo>
                  <a:pt x="367" y="529"/>
                </a:moveTo>
                <a:cubicBezTo>
                  <a:pt x="374" y="529"/>
                  <a:pt x="380" y="523"/>
                  <a:pt x="380" y="515"/>
                </a:cubicBezTo>
                <a:cubicBezTo>
                  <a:pt x="380" y="508"/>
                  <a:pt x="374" y="501"/>
                  <a:pt x="367" y="501"/>
                </a:cubicBezTo>
                <a:cubicBezTo>
                  <a:pt x="359" y="501"/>
                  <a:pt x="353" y="508"/>
                  <a:pt x="353" y="515"/>
                </a:cubicBezTo>
                <a:cubicBezTo>
                  <a:pt x="353" y="523"/>
                  <a:pt x="359" y="529"/>
                  <a:pt x="367" y="529"/>
                </a:cubicBezTo>
                <a:close/>
                <a:moveTo>
                  <a:pt x="527" y="625"/>
                </a:moveTo>
                <a:cubicBezTo>
                  <a:pt x="540" y="625"/>
                  <a:pt x="540" y="625"/>
                  <a:pt x="540" y="625"/>
                </a:cubicBezTo>
                <a:cubicBezTo>
                  <a:pt x="544" y="625"/>
                  <a:pt x="548" y="621"/>
                  <a:pt x="548" y="616"/>
                </a:cubicBezTo>
                <a:cubicBezTo>
                  <a:pt x="548" y="588"/>
                  <a:pt x="548" y="588"/>
                  <a:pt x="548" y="588"/>
                </a:cubicBezTo>
                <a:cubicBezTo>
                  <a:pt x="553" y="588"/>
                  <a:pt x="557" y="584"/>
                  <a:pt x="557" y="580"/>
                </a:cubicBezTo>
                <a:cubicBezTo>
                  <a:pt x="557" y="540"/>
                  <a:pt x="557" y="540"/>
                  <a:pt x="557" y="540"/>
                </a:cubicBezTo>
                <a:cubicBezTo>
                  <a:pt x="557" y="536"/>
                  <a:pt x="553" y="532"/>
                  <a:pt x="548" y="532"/>
                </a:cubicBezTo>
                <a:cubicBezTo>
                  <a:pt x="519" y="532"/>
                  <a:pt x="519" y="532"/>
                  <a:pt x="519" y="532"/>
                </a:cubicBezTo>
                <a:cubicBezTo>
                  <a:pt x="514" y="532"/>
                  <a:pt x="510" y="536"/>
                  <a:pt x="510" y="540"/>
                </a:cubicBezTo>
                <a:cubicBezTo>
                  <a:pt x="510" y="579"/>
                  <a:pt x="510" y="580"/>
                  <a:pt x="510" y="580"/>
                </a:cubicBezTo>
                <a:cubicBezTo>
                  <a:pt x="510" y="584"/>
                  <a:pt x="514" y="588"/>
                  <a:pt x="519" y="588"/>
                </a:cubicBezTo>
                <a:cubicBezTo>
                  <a:pt x="519" y="616"/>
                  <a:pt x="519" y="616"/>
                  <a:pt x="519" y="616"/>
                </a:cubicBezTo>
                <a:cubicBezTo>
                  <a:pt x="519" y="621"/>
                  <a:pt x="523" y="625"/>
                  <a:pt x="527" y="625"/>
                </a:cubicBezTo>
                <a:close/>
                <a:moveTo>
                  <a:pt x="472" y="625"/>
                </a:moveTo>
                <a:cubicBezTo>
                  <a:pt x="484" y="625"/>
                  <a:pt x="484" y="625"/>
                  <a:pt x="484" y="625"/>
                </a:cubicBezTo>
                <a:cubicBezTo>
                  <a:pt x="489" y="625"/>
                  <a:pt x="492" y="621"/>
                  <a:pt x="492" y="616"/>
                </a:cubicBezTo>
                <a:cubicBezTo>
                  <a:pt x="492" y="588"/>
                  <a:pt x="492" y="588"/>
                  <a:pt x="492" y="588"/>
                </a:cubicBezTo>
                <a:cubicBezTo>
                  <a:pt x="497" y="588"/>
                  <a:pt x="501" y="584"/>
                  <a:pt x="501" y="580"/>
                </a:cubicBezTo>
                <a:cubicBezTo>
                  <a:pt x="501" y="540"/>
                  <a:pt x="501" y="540"/>
                  <a:pt x="501" y="540"/>
                </a:cubicBezTo>
                <a:cubicBezTo>
                  <a:pt x="501" y="536"/>
                  <a:pt x="497" y="532"/>
                  <a:pt x="492" y="532"/>
                </a:cubicBezTo>
                <a:cubicBezTo>
                  <a:pt x="464" y="532"/>
                  <a:pt x="463" y="532"/>
                  <a:pt x="463" y="532"/>
                </a:cubicBezTo>
                <a:cubicBezTo>
                  <a:pt x="459" y="532"/>
                  <a:pt x="455" y="536"/>
                  <a:pt x="455" y="540"/>
                </a:cubicBezTo>
                <a:cubicBezTo>
                  <a:pt x="455" y="579"/>
                  <a:pt x="455" y="580"/>
                  <a:pt x="455" y="580"/>
                </a:cubicBezTo>
                <a:cubicBezTo>
                  <a:pt x="455" y="584"/>
                  <a:pt x="459" y="588"/>
                  <a:pt x="463" y="588"/>
                </a:cubicBezTo>
                <a:cubicBezTo>
                  <a:pt x="463" y="616"/>
                  <a:pt x="463" y="616"/>
                  <a:pt x="463" y="616"/>
                </a:cubicBezTo>
                <a:cubicBezTo>
                  <a:pt x="463" y="621"/>
                  <a:pt x="467" y="625"/>
                  <a:pt x="472" y="625"/>
                </a:cubicBezTo>
                <a:close/>
                <a:moveTo>
                  <a:pt x="436" y="267"/>
                </a:moveTo>
                <a:cubicBezTo>
                  <a:pt x="436" y="260"/>
                  <a:pt x="430" y="253"/>
                  <a:pt x="422" y="253"/>
                </a:cubicBezTo>
                <a:cubicBezTo>
                  <a:pt x="415" y="253"/>
                  <a:pt x="408" y="260"/>
                  <a:pt x="408" y="267"/>
                </a:cubicBezTo>
                <a:cubicBezTo>
                  <a:pt x="408" y="275"/>
                  <a:pt x="415" y="281"/>
                  <a:pt x="422" y="281"/>
                </a:cubicBezTo>
                <a:cubicBezTo>
                  <a:pt x="430" y="281"/>
                  <a:pt x="436" y="275"/>
                  <a:pt x="436" y="267"/>
                </a:cubicBezTo>
                <a:close/>
                <a:moveTo>
                  <a:pt x="416" y="625"/>
                </a:moveTo>
                <a:cubicBezTo>
                  <a:pt x="428" y="625"/>
                  <a:pt x="428" y="625"/>
                  <a:pt x="428" y="625"/>
                </a:cubicBezTo>
                <a:cubicBezTo>
                  <a:pt x="433" y="625"/>
                  <a:pt x="437" y="621"/>
                  <a:pt x="437" y="616"/>
                </a:cubicBezTo>
                <a:cubicBezTo>
                  <a:pt x="437" y="588"/>
                  <a:pt x="437" y="588"/>
                  <a:pt x="437" y="588"/>
                </a:cubicBezTo>
                <a:cubicBezTo>
                  <a:pt x="441" y="588"/>
                  <a:pt x="445" y="584"/>
                  <a:pt x="445" y="580"/>
                </a:cubicBezTo>
                <a:cubicBezTo>
                  <a:pt x="445" y="540"/>
                  <a:pt x="445" y="540"/>
                  <a:pt x="445" y="540"/>
                </a:cubicBezTo>
                <a:cubicBezTo>
                  <a:pt x="445" y="536"/>
                  <a:pt x="441" y="532"/>
                  <a:pt x="437" y="532"/>
                </a:cubicBezTo>
                <a:cubicBezTo>
                  <a:pt x="408" y="532"/>
                  <a:pt x="408" y="532"/>
                  <a:pt x="408" y="532"/>
                </a:cubicBezTo>
                <a:cubicBezTo>
                  <a:pt x="403" y="532"/>
                  <a:pt x="399" y="536"/>
                  <a:pt x="399" y="540"/>
                </a:cubicBezTo>
                <a:cubicBezTo>
                  <a:pt x="399" y="579"/>
                  <a:pt x="399" y="580"/>
                  <a:pt x="399" y="580"/>
                </a:cubicBezTo>
                <a:cubicBezTo>
                  <a:pt x="399" y="584"/>
                  <a:pt x="403" y="588"/>
                  <a:pt x="408" y="588"/>
                </a:cubicBezTo>
                <a:cubicBezTo>
                  <a:pt x="408" y="616"/>
                  <a:pt x="408" y="616"/>
                  <a:pt x="408" y="616"/>
                </a:cubicBezTo>
                <a:cubicBezTo>
                  <a:pt x="408" y="621"/>
                  <a:pt x="411" y="625"/>
                  <a:pt x="416" y="625"/>
                </a:cubicBezTo>
                <a:close/>
                <a:moveTo>
                  <a:pt x="583" y="625"/>
                </a:moveTo>
                <a:cubicBezTo>
                  <a:pt x="595" y="625"/>
                  <a:pt x="595" y="625"/>
                  <a:pt x="595" y="625"/>
                </a:cubicBezTo>
                <a:cubicBezTo>
                  <a:pt x="600" y="625"/>
                  <a:pt x="604" y="621"/>
                  <a:pt x="604" y="616"/>
                </a:cubicBezTo>
                <a:cubicBezTo>
                  <a:pt x="604" y="588"/>
                  <a:pt x="604" y="588"/>
                  <a:pt x="604" y="588"/>
                </a:cubicBezTo>
                <a:cubicBezTo>
                  <a:pt x="608" y="588"/>
                  <a:pt x="612" y="584"/>
                  <a:pt x="612" y="580"/>
                </a:cubicBezTo>
                <a:cubicBezTo>
                  <a:pt x="612" y="540"/>
                  <a:pt x="612" y="540"/>
                  <a:pt x="612" y="540"/>
                </a:cubicBezTo>
                <a:cubicBezTo>
                  <a:pt x="612" y="536"/>
                  <a:pt x="608" y="532"/>
                  <a:pt x="604" y="532"/>
                </a:cubicBezTo>
                <a:cubicBezTo>
                  <a:pt x="575" y="532"/>
                  <a:pt x="575" y="532"/>
                  <a:pt x="575" y="532"/>
                </a:cubicBezTo>
                <a:cubicBezTo>
                  <a:pt x="570" y="532"/>
                  <a:pt x="566" y="536"/>
                  <a:pt x="566" y="540"/>
                </a:cubicBezTo>
                <a:cubicBezTo>
                  <a:pt x="566" y="579"/>
                  <a:pt x="566" y="580"/>
                  <a:pt x="566" y="580"/>
                </a:cubicBezTo>
                <a:cubicBezTo>
                  <a:pt x="566" y="584"/>
                  <a:pt x="570" y="588"/>
                  <a:pt x="575" y="588"/>
                </a:cubicBezTo>
                <a:cubicBezTo>
                  <a:pt x="575" y="616"/>
                  <a:pt x="575" y="616"/>
                  <a:pt x="575" y="616"/>
                </a:cubicBezTo>
                <a:cubicBezTo>
                  <a:pt x="575" y="621"/>
                  <a:pt x="578" y="625"/>
                  <a:pt x="583" y="625"/>
                </a:cubicBezTo>
                <a:close/>
                <a:moveTo>
                  <a:pt x="399" y="292"/>
                </a:moveTo>
                <a:cubicBezTo>
                  <a:pt x="399" y="331"/>
                  <a:pt x="399" y="332"/>
                  <a:pt x="399" y="332"/>
                </a:cubicBezTo>
                <a:cubicBezTo>
                  <a:pt x="399" y="336"/>
                  <a:pt x="403" y="340"/>
                  <a:pt x="408" y="340"/>
                </a:cubicBezTo>
                <a:cubicBezTo>
                  <a:pt x="408" y="368"/>
                  <a:pt x="408" y="368"/>
                  <a:pt x="408" y="368"/>
                </a:cubicBezTo>
                <a:cubicBezTo>
                  <a:pt x="408" y="373"/>
                  <a:pt x="411" y="377"/>
                  <a:pt x="416" y="377"/>
                </a:cubicBezTo>
                <a:cubicBezTo>
                  <a:pt x="428" y="377"/>
                  <a:pt x="428" y="377"/>
                  <a:pt x="428" y="377"/>
                </a:cubicBezTo>
                <a:cubicBezTo>
                  <a:pt x="433" y="377"/>
                  <a:pt x="437" y="373"/>
                  <a:pt x="437" y="368"/>
                </a:cubicBezTo>
                <a:cubicBezTo>
                  <a:pt x="437" y="340"/>
                  <a:pt x="437" y="340"/>
                  <a:pt x="437" y="340"/>
                </a:cubicBezTo>
                <a:cubicBezTo>
                  <a:pt x="441" y="340"/>
                  <a:pt x="445" y="336"/>
                  <a:pt x="445" y="332"/>
                </a:cubicBezTo>
                <a:cubicBezTo>
                  <a:pt x="445" y="292"/>
                  <a:pt x="445" y="292"/>
                  <a:pt x="445" y="292"/>
                </a:cubicBezTo>
                <a:cubicBezTo>
                  <a:pt x="445" y="288"/>
                  <a:pt x="441" y="284"/>
                  <a:pt x="437" y="284"/>
                </a:cubicBezTo>
                <a:cubicBezTo>
                  <a:pt x="408" y="284"/>
                  <a:pt x="408" y="284"/>
                  <a:pt x="408" y="284"/>
                </a:cubicBezTo>
                <a:cubicBezTo>
                  <a:pt x="403" y="284"/>
                  <a:pt x="399" y="288"/>
                  <a:pt x="399" y="292"/>
                </a:cubicBezTo>
                <a:close/>
                <a:moveTo>
                  <a:pt x="305" y="625"/>
                </a:moveTo>
                <a:cubicBezTo>
                  <a:pt x="317" y="625"/>
                  <a:pt x="317" y="625"/>
                  <a:pt x="317" y="625"/>
                </a:cubicBezTo>
                <a:cubicBezTo>
                  <a:pt x="322" y="625"/>
                  <a:pt x="325" y="621"/>
                  <a:pt x="325" y="616"/>
                </a:cubicBezTo>
                <a:cubicBezTo>
                  <a:pt x="325" y="588"/>
                  <a:pt x="325" y="588"/>
                  <a:pt x="325" y="588"/>
                </a:cubicBezTo>
                <a:cubicBezTo>
                  <a:pt x="330" y="588"/>
                  <a:pt x="334" y="584"/>
                  <a:pt x="334" y="580"/>
                </a:cubicBezTo>
                <a:cubicBezTo>
                  <a:pt x="334" y="540"/>
                  <a:pt x="334" y="540"/>
                  <a:pt x="334" y="540"/>
                </a:cubicBezTo>
                <a:cubicBezTo>
                  <a:pt x="334" y="536"/>
                  <a:pt x="330" y="532"/>
                  <a:pt x="325" y="532"/>
                </a:cubicBezTo>
                <a:cubicBezTo>
                  <a:pt x="297" y="532"/>
                  <a:pt x="296" y="532"/>
                  <a:pt x="296" y="532"/>
                </a:cubicBezTo>
                <a:cubicBezTo>
                  <a:pt x="292" y="532"/>
                  <a:pt x="288" y="536"/>
                  <a:pt x="288" y="540"/>
                </a:cubicBezTo>
                <a:cubicBezTo>
                  <a:pt x="288" y="579"/>
                  <a:pt x="288" y="580"/>
                  <a:pt x="288" y="580"/>
                </a:cubicBezTo>
                <a:cubicBezTo>
                  <a:pt x="288" y="584"/>
                  <a:pt x="292" y="588"/>
                  <a:pt x="296" y="588"/>
                </a:cubicBezTo>
                <a:cubicBezTo>
                  <a:pt x="296" y="616"/>
                  <a:pt x="296" y="616"/>
                  <a:pt x="296" y="616"/>
                </a:cubicBezTo>
                <a:cubicBezTo>
                  <a:pt x="296" y="621"/>
                  <a:pt x="300" y="625"/>
                  <a:pt x="305" y="625"/>
                </a:cubicBezTo>
                <a:close/>
                <a:moveTo>
                  <a:pt x="360" y="625"/>
                </a:moveTo>
                <a:cubicBezTo>
                  <a:pt x="373" y="625"/>
                  <a:pt x="373" y="625"/>
                  <a:pt x="373" y="625"/>
                </a:cubicBezTo>
                <a:cubicBezTo>
                  <a:pt x="377" y="625"/>
                  <a:pt x="381" y="621"/>
                  <a:pt x="381" y="616"/>
                </a:cubicBezTo>
                <a:cubicBezTo>
                  <a:pt x="381" y="588"/>
                  <a:pt x="381" y="588"/>
                  <a:pt x="381" y="588"/>
                </a:cubicBezTo>
                <a:cubicBezTo>
                  <a:pt x="386" y="588"/>
                  <a:pt x="390" y="584"/>
                  <a:pt x="390" y="580"/>
                </a:cubicBezTo>
                <a:cubicBezTo>
                  <a:pt x="390" y="540"/>
                  <a:pt x="390" y="540"/>
                  <a:pt x="390" y="540"/>
                </a:cubicBezTo>
                <a:cubicBezTo>
                  <a:pt x="390" y="536"/>
                  <a:pt x="386" y="532"/>
                  <a:pt x="381" y="532"/>
                </a:cubicBezTo>
                <a:cubicBezTo>
                  <a:pt x="352" y="532"/>
                  <a:pt x="352" y="532"/>
                  <a:pt x="352" y="532"/>
                </a:cubicBezTo>
                <a:cubicBezTo>
                  <a:pt x="347" y="532"/>
                  <a:pt x="343" y="536"/>
                  <a:pt x="343" y="540"/>
                </a:cubicBezTo>
                <a:cubicBezTo>
                  <a:pt x="343" y="579"/>
                  <a:pt x="343" y="580"/>
                  <a:pt x="343" y="580"/>
                </a:cubicBezTo>
                <a:cubicBezTo>
                  <a:pt x="343" y="584"/>
                  <a:pt x="347" y="588"/>
                  <a:pt x="352" y="588"/>
                </a:cubicBezTo>
                <a:cubicBezTo>
                  <a:pt x="352" y="616"/>
                  <a:pt x="352" y="616"/>
                  <a:pt x="352" y="616"/>
                </a:cubicBezTo>
                <a:cubicBezTo>
                  <a:pt x="352" y="621"/>
                  <a:pt x="356" y="625"/>
                  <a:pt x="360" y="625"/>
                </a:cubicBezTo>
                <a:close/>
                <a:moveTo>
                  <a:pt x="46" y="19"/>
                </a:moveTo>
                <a:cubicBezTo>
                  <a:pt x="46" y="12"/>
                  <a:pt x="40" y="5"/>
                  <a:pt x="33" y="5"/>
                </a:cubicBezTo>
                <a:cubicBezTo>
                  <a:pt x="25" y="5"/>
                  <a:pt x="19" y="12"/>
                  <a:pt x="19" y="19"/>
                </a:cubicBezTo>
                <a:cubicBezTo>
                  <a:pt x="19" y="27"/>
                  <a:pt x="25" y="33"/>
                  <a:pt x="33" y="33"/>
                </a:cubicBezTo>
                <a:cubicBezTo>
                  <a:pt x="40" y="33"/>
                  <a:pt x="46" y="27"/>
                  <a:pt x="46" y="19"/>
                </a:cubicBezTo>
                <a:close/>
                <a:moveTo>
                  <a:pt x="130" y="267"/>
                </a:moveTo>
                <a:cubicBezTo>
                  <a:pt x="130" y="275"/>
                  <a:pt x="136" y="281"/>
                  <a:pt x="144" y="281"/>
                </a:cubicBezTo>
                <a:cubicBezTo>
                  <a:pt x="151" y="281"/>
                  <a:pt x="158" y="275"/>
                  <a:pt x="158" y="267"/>
                </a:cubicBezTo>
                <a:cubicBezTo>
                  <a:pt x="158" y="260"/>
                  <a:pt x="151" y="253"/>
                  <a:pt x="144" y="253"/>
                </a:cubicBezTo>
                <a:cubicBezTo>
                  <a:pt x="136" y="253"/>
                  <a:pt x="130" y="260"/>
                  <a:pt x="130" y="267"/>
                </a:cubicBezTo>
                <a:close/>
                <a:moveTo>
                  <a:pt x="186" y="267"/>
                </a:moveTo>
                <a:cubicBezTo>
                  <a:pt x="186" y="275"/>
                  <a:pt x="192" y="281"/>
                  <a:pt x="200" y="281"/>
                </a:cubicBezTo>
                <a:cubicBezTo>
                  <a:pt x="207" y="281"/>
                  <a:pt x="213" y="275"/>
                  <a:pt x="213" y="267"/>
                </a:cubicBezTo>
                <a:cubicBezTo>
                  <a:pt x="213" y="260"/>
                  <a:pt x="207" y="253"/>
                  <a:pt x="200" y="253"/>
                </a:cubicBezTo>
                <a:cubicBezTo>
                  <a:pt x="192" y="253"/>
                  <a:pt x="186" y="260"/>
                  <a:pt x="186" y="267"/>
                </a:cubicBezTo>
                <a:close/>
                <a:moveTo>
                  <a:pt x="213" y="143"/>
                </a:moveTo>
                <a:cubicBezTo>
                  <a:pt x="213" y="151"/>
                  <a:pt x="219" y="157"/>
                  <a:pt x="227" y="157"/>
                </a:cubicBezTo>
                <a:cubicBezTo>
                  <a:pt x="234" y="157"/>
                  <a:pt x="240" y="151"/>
                  <a:pt x="240" y="143"/>
                </a:cubicBezTo>
                <a:cubicBezTo>
                  <a:pt x="240" y="136"/>
                  <a:pt x="234" y="129"/>
                  <a:pt x="227" y="129"/>
                </a:cubicBezTo>
                <a:cubicBezTo>
                  <a:pt x="219" y="129"/>
                  <a:pt x="213" y="136"/>
                  <a:pt x="213" y="143"/>
                </a:cubicBezTo>
                <a:close/>
                <a:moveTo>
                  <a:pt x="204" y="168"/>
                </a:moveTo>
                <a:cubicBezTo>
                  <a:pt x="204" y="207"/>
                  <a:pt x="204" y="208"/>
                  <a:pt x="204" y="208"/>
                </a:cubicBezTo>
                <a:cubicBezTo>
                  <a:pt x="204" y="212"/>
                  <a:pt x="208" y="216"/>
                  <a:pt x="212" y="216"/>
                </a:cubicBezTo>
                <a:cubicBezTo>
                  <a:pt x="212" y="244"/>
                  <a:pt x="212" y="244"/>
                  <a:pt x="212" y="244"/>
                </a:cubicBezTo>
                <a:cubicBezTo>
                  <a:pt x="212" y="249"/>
                  <a:pt x="216" y="253"/>
                  <a:pt x="221" y="253"/>
                </a:cubicBezTo>
                <a:cubicBezTo>
                  <a:pt x="233" y="253"/>
                  <a:pt x="233" y="253"/>
                  <a:pt x="233" y="253"/>
                </a:cubicBezTo>
                <a:cubicBezTo>
                  <a:pt x="238" y="253"/>
                  <a:pt x="241" y="249"/>
                  <a:pt x="241" y="244"/>
                </a:cubicBezTo>
                <a:cubicBezTo>
                  <a:pt x="241" y="216"/>
                  <a:pt x="241" y="216"/>
                  <a:pt x="241" y="216"/>
                </a:cubicBezTo>
                <a:cubicBezTo>
                  <a:pt x="246" y="216"/>
                  <a:pt x="250" y="212"/>
                  <a:pt x="250" y="208"/>
                </a:cubicBezTo>
                <a:cubicBezTo>
                  <a:pt x="250" y="168"/>
                  <a:pt x="250" y="168"/>
                  <a:pt x="250" y="168"/>
                </a:cubicBezTo>
                <a:cubicBezTo>
                  <a:pt x="250" y="164"/>
                  <a:pt x="246" y="160"/>
                  <a:pt x="241" y="160"/>
                </a:cubicBezTo>
                <a:cubicBezTo>
                  <a:pt x="213" y="160"/>
                  <a:pt x="212" y="160"/>
                  <a:pt x="212" y="160"/>
                </a:cubicBezTo>
                <a:cubicBezTo>
                  <a:pt x="208" y="160"/>
                  <a:pt x="204" y="164"/>
                  <a:pt x="204" y="168"/>
                </a:cubicBezTo>
                <a:close/>
                <a:moveTo>
                  <a:pt x="381" y="864"/>
                </a:moveTo>
                <a:cubicBezTo>
                  <a:pt x="381" y="836"/>
                  <a:pt x="381" y="836"/>
                  <a:pt x="381" y="836"/>
                </a:cubicBezTo>
                <a:cubicBezTo>
                  <a:pt x="386" y="836"/>
                  <a:pt x="390" y="832"/>
                  <a:pt x="390" y="828"/>
                </a:cubicBezTo>
                <a:cubicBezTo>
                  <a:pt x="390" y="788"/>
                  <a:pt x="390" y="788"/>
                  <a:pt x="390" y="788"/>
                </a:cubicBezTo>
                <a:cubicBezTo>
                  <a:pt x="390" y="784"/>
                  <a:pt x="386" y="780"/>
                  <a:pt x="381" y="780"/>
                </a:cubicBezTo>
                <a:cubicBezTo>
                  <a:pt x="352" y="780"/>
                  <a:pt x="352" y="780"/>
                  <a:pt x="352" y="780"/>
                </a:cubicBezTo>
                <a:cubicBezTo>
                  <a:pt x="347" y="780"/>
                  <a:pt x="343" y="784"/>
                  <a:pt x="343" y="788"/>
                </a:cubicBezTo>
                <a:cubicBezTo>
                  <a:pt x="343" y="827"/>
                  <a:pt x="343" y="828"/>
                  <a:pt x="343" y="828"/>
                </a:cubicBezTo>
                <a:cubicBezTo>
                  <a:pt x="343" y="832"/>
                  <a:pt x="347" y="836"/>
                  <a:pt x="352" y="836"/>
                </a:cubicBezTo>
                <a:cubicBezTo>
                  <a:pt x="352" y="846"/>
                  <a:pt x="352" y="852"/>
                  <a:pt x="352" y="856"/>
                </a:cubicBezTo>
                <a:cubicBezTo>
                  <a:pt x="378" y="871"/>
                  <a:pt x="378" y="871"/>
                  <a:pt x="378" y="871"/>
                </a:cubicBezTo>
                <a:cubicBezTo>
                  <a:pt x="380" y="869"/>
                  <a:pt x="381" y="867"/>
                  <a:pt x="381" y="864"/>
                </a:cubicBezTo>
                <a:close/>
                <a:moveTo>
                  <a:pt x="19" y="160"/>
                </a:moveTo>
                <a:cubicBezTo>
                  <a:pt x="10" y="160"/>
                  <a:pt x="4" y="160"/>
                  <a:pt x="0" y="160"/>
                </a:cubicBezTo>
                <a:cubicBezTo>
                  <a:pt x="0" y="253"/>
                  <a:pt x="0" y="253"/>
                  <a:pt x="0" y="253"/>
                </a:cubicBezTo>
                <a:cubicBezTo>
                  <a:pt x="10" y="253"/>
                  <a:pt x="10" y="253"/>
                  <a:pt x="10" y="253"/>
                </a:cubicBezTo>
                <a:cubicBezTo>
                  <a:pt x="15" y="253"/>
                  <a:pt x="19" y="249"/>
                  <a:pt x="19" y="244"/>
                </a:cubicBezTo>
                <a:cubicBezTo>
                  <a:pt x="19" y="216"/>
                  <a:pt x="19" y="216"/>
                  <a:pt x="19" y="216"/>
                </a:cubicBezTo>
                <a:cubicBezTo>
                  <a:pt x="23" y="216"/>
                  <a:pt x="27" y="212"/>
                  <a:pt x="27" y="208"/>
                </a:cubicBezTo>
                <a:cubicBezTo>
                  <a:pt x="27" y="168"/>
                  <a:pt x="27" y="168"/>
                  <a:pt x="27" y="168"/>
                </a:cubicBezTo>
                <a:cubicBezTo>
                  <a:pt x="27" y="164"/>
                  <a:pt x="23" y="160"/>
                  <a:pt x="19" y="160"/>
                </a:cubicBezTo>
                <a:close/>
                <a:moveTo>
                  <a:pt x="334" y="828"/>
                </a:moveTo>
                <a:cubicBezTo>
                  <a:pt x="334" y="788"/>
                  <a:pt x="334" y="788"/>
                  <a:pt x="334" y="788"/>
                </a:cubicBezTo>
                <a:cubicBezTo>
                  <a:pt x="334" y="784"/>
                  <a:pt x="330" y="780"/>
                  <a:pt x="325" y="780"/>
                </a:cubicBezTo>
                <a:cubicBezTo>
                  <a:pt x="297" y="780"/>
                  <a:pt x="296" y="780"/>
                  <a:pt x="296" y="780"/>
                </a:cubicBezTo>
                <a:cubicBezTo>
                  <a:pt x="292" y="780"/>
                  <a:pt x="288" y="784"/>
                  <a:pt x="288" y="788"/>
                </a:cubicBezTo>
                <a:cubicBezTo>
                  <a:pt x="288" y="804"/>
                  <a:pt x="288" y="813"/>
                  <a:pt x="288" y="819"/>
                </a:cubicBezTo>
                <a:cubicBezTo>
                  <a:pt x="325" y="841"/>
                  <a:pt x="325" y="841"/>
                  <a:pt x="325" y="841"/>
                </a:cubicBezTo>
                <a:cubicBezTo>
                  <a:pt x="325" y="836"/>
                  <a:pt x="325" y="836"/>
                  <a:pt x="325" y="836"/>
                </a:cubicBezTo>
                <a:cubicBezTo>
                  <a:pt x="330" y="836"/>
                  <a:pt x="334" y="832"/>
                  <a:pt x="334" y="828"/>
                </a:cubicBezTo>
                <a:close/>
                <a:moveTo>
                  <a:pt x="74" y="160"/>
                </a:moveTo>
                <a:cubicBezTo>
                  <a:pt x="46" y="160"/>
                  <a:pt x="45" y="160"/>
                  <a:pt x="45" y="160"/>
                </a:cubicBezTo>
                <a:cubicBezTo>
                  <a:pt x="41" y="160"/>
                  <a:pt x="37" y="164"/>
                  <a:pt x="37" y="168"/>
                </a:cubicBezTo>
                <a:cubicBezTo>
                  <a:pt x="37" y="207"/>
                  <a:pt x="37" y="208"/>
                  <a:pt x="37" y="208"/>
                </a:cubicBezTo>
                <a:cubicBezTo>
                  <a:pt x="37" y="212"/>
                  <a:pt x="41" y="216"/>
                  <a:pt x="45" y="216"/>
                </a:cubicBezTo>
                <a:cubicBezTo>
                  <a:pt x="45" y="244"/>
                  <a:pt x="45" y="244"/>
                  <a:pt x="45" y="244"/>
                </a:cubicBezTo>
                <a:cubicBezTo>
                  <a:pt x="45" y="249"/>
                  <a:pt x="49" y="253"/>
                  <a:pt x="54" y="253"/>
                </a:cubicBezTo>
                <a:cubicBezTo>
                  <a:pt x="66" y="253"/>
                  <a:pt x="66" y="253"/>
                  <a:pt x="66" y="253"/>
                </a:cubicBezTo>
                <a:cubicBezTo>
                  <a:pt x="71" y="253"/>
                  <a:pt x="74" y="249"/>
                  <a:pt x="74" y="244"/>
                </a:cubicBezTo>
                <a:cubicBezTo>
                  <a:pt x="74" y="216"/>
                  <a:pt x="74" y="216"/>
                  <a:pt x="74" y="216"/>
                </a:cubicBezTo>
                <a:cubicBezTo>
                  <a:pt x="79" y="216"/>
                  <a:pt x="83" y="212"/>
                  <a:pt x="83" y="208"/>
                </a:cubicBezTo>
                <a:cubicBezTo>
                  <a:pt x="83" y="168"/>
                  <a:pt x="83" y="168"/>
                  <a:pt x="83" y="168"/>
                </a:cubicBezTo>
                <a:cubicBezTo>
                  <a:pt x="83" y="164"/>
                  <a:pt x="79" y="160"/>
                  <a:pt x="74" y="160"/>
                </a:cubicBezTo>
                <a:close/>
                <a:moveTo>
                  <a:pt x="19" y="267"/>
                </a:moveTo>
                <a:cubicBezTo>
                  <a:pt x="19" y="275"/>
                  <a:pt x="25" y="281"/>
                  <a:pt x="33" y="281"/>
                </a:cubicBezTo>
                <a:cubicBezTo>
                  <a:pt x="40" y="281"/>
                  <a:pt x="46" y="275"/>
                  <a:pt x="46" y="267"/>
                </a:cubicBezTo>
                <a:cubicBezTo>
                  <a:pt x="46" y="260"/>
                  <a:pt x="40" y="253"/>
                  <a:pt x="33" y="253"/>
                </a:cubicBezTo>
                <a:cubicBezTo>
                  <a:pt x="25" y="253"/>
                  <a:pt x="19" y="260"/>
                  <a:pt x="19" y="267"/>
                </a:cubicBezTo>
                <a:close/>
                <a:moveTo>
                  <a:pt x="74" y="267"/>
                </a:moveTo>
                <a:cubicBezTo>
                  <a:pt x="74" y="275"/>
                  <a:pt x="81" y="281"/>
                  <a:pt x="88" y="281"/>
                </a:cubicBezTo>
                <a:cubicBezTo>
                  <a:pt x="96" y="281"/>
                  <a:pt x="102" y="275"/>
                  <a:pt x="102" y="267"/>
                </a:cubicBezTo>
                <a:cubicBezTo>
                  <a:pt x="102" y="260"/>
                  <a:pt x="96" y="253"/>
                  <a:pt x="88" y="253"/>
                </a:cubicBezTo>
                <a:cubicBezTo>
                  <a:pt x="81" y="253"/>
                  <a:pt x="74" y="260"/>
                  <a:pt x="74" y="267"/>
                </a:cubicBezTo>
                <a:close/>
                <a:moveTo>
                  <a:pt x="534" y="777"/>
                </a:moveTo>
                <a:cubicBezTo>
                  <a:pt x="541" y="777"/>
                  <a:pt x="547" y="771"/>
                  <a:pt x="547" y="763"/>
                </a:cubicBezTo>
                <a:cubicBezTo>
                  <a:pt x="547" y="756"/>
                  <a:pt x="541" y="749"/>
                  <a:pt x="534" y="749"/>
                </a:cubicBezTo>
                <a:cubicBezTo>
                  <a:pt x="526" y="749"/>
                  <a:pt x="520" y="756"/>
                  <a:pt x="520" y="763"/>
                </a:cubicBezTo>
                <a:cubicBezTo>
                  <a:pt x="520" y="771"/>
                  <a:pt x="526" y="777"/>
                  <a:pt x="534" y="777"/>
                </a:cubicBezTo>
                <a:close/>
                <a:moveTo>
                  <a:pt x="499" y="749"/>
                </a:moveTo>
                <a:cubicBezTo>
                  <a:pt x="511" y="749"/>
                  <a:pt x="511" y="749"/>
                  <a:pt x="511" y="749"/>
                </a:cubicBezTo>
                <a:cubicBezTo>
                  <a:pt x="516" y="749"/>
                  <a:pt x="520" y="745"/>
                  <a:pt x="520" y="740"/>
                </a:cubicBezTo>
                <a:cubicBezTo>
                  <a:pt x="520" y="712"/>
                  <a:pt x="520" y="712"/>
                  <a:pt x="520" y="712"/>
                </a:cubicBezTo>
                <a:cubicBezTo>
                  <a:pt x="524" y="712"/>
                  <a:pt x="528" y="708"/>
                  <a:pt x="528" y="704"/>
                </a:cubicBezTo>
                <a:cubicBezTo>
                  <a:pt x="528" y="664"/>
                  <a:pt x="528" y="664"/>
                  <a:pt x="528" y="664"/>
                </a:cubicBezTo>
                <a:cubicBezTo>
                  <a:pt x="528" y="660"/>
                  <a:pt x="524" y="656"/>
                  <a:pt x="520" y="656"/>
                </a:cubicBezTo>
                <a:cubicBezTo>
                  <a:pt x="491" y="656"/>
                  <a:pt x="491" y="656"/>
                  <a:pt x="491" y="656"/>
                </a:cubicBezTo>
                <a:cubicBezTo>
                  <a:pt x="486" y="656"/>
                  <a:pt x="482" y="660"/>
                  <a:pt x="482" y="664"/>
                </a:cubicBezTo>
                <a:cubicBezTo>
                  <a:pt x="482" y="703"/>
                  <a:pt x="482" y="704"/>
                  <a:pt x="482" y="704"/>
                </a:cubicBezTo>
                <a:cubicBezTo>
                  <a:pt x="482" y="708"/>
                  <a:pt x="486" y="712"/>
                  <a:pt x="491" y="712"/>
                </a:cubicBezTo>
                <a:cubicBezTo>
                  <a:pt x="491" y="740"/>
                  <a:pt x="491" y="740"/>
                  <a:pt x="491" y="740"/>
                </a:cubicBezTo>
                <a:cubicBezTo>
                  <a:pt x="491" y="745"/>
                  <a:pt x="494" y="749"/>
                  <a:pt x="499" y="749"/>
                </a:cubicBezTo>
                <a:close/>
                <a:moveTo>
                  <a:pt x="443" y="749"/>
                </a:moveTo>
                <a:cubicBezTo>
                  <a:pt x="455" y="749"/>
                  <a:pt x="456" y="749"/>
                  <a:pt x="456" y="749"/>
                </a:cubicBezTo>
                <a:cubicBezTo>
                  <a:pt x="460" y="749"/>
                  <a:pt x="464" y="745"/>
                  <a:pt x="464" y="740"/>
                </a:cubicBezTo>
                <a:cubicBezTo>
                  <a:pt x="464" y="712"/>
                  <a:pt x="464" y="712"/>
                  <a:pt x="464" y="712"/>
                </a:cubicBezTo>
                <a:cubicBezTo>
                  <a:pt x="469" y="712"/>
                  <a:pt x="473" y="708"/>
                  <a:pt x="473" y="704"/>
                </a:cubicBezTo>
                <a:cubicBezTo>
                  <a:pt x="473" y="664"/>
                  <a:pt x="473" y="664"/>
                  <a:pt x="473" y="664"/>
                </a:cubicBezTo>
                <a:cubicBezTo>
                  <a:pt x="473" y="660"/>
                  <a:pt x="469" y="656"/>
                  <a:pt x="464" y="656"/>
                </a:cubicBezTo>
                <a:cubicBezTo>
                  <a:pt x="435" y="656"/>
                  <a:pt x="435" y="656"/>
                  <a:pt x="435" y="656"/>
                </a:cubicBezTo>
                <a:cubicBezTo>
                  <a:pt x="430" y="656"/>
                  <a:pt x="426" y="660"/>
                  <a:pt x="426" y="664"/>
                </a:cubicBezTo>
                <a:cubicBezTo>
                  <a:pt x="426" y="703"/>
                  <a:pt x="426" y="704"/>
                  <a:pt x="426" y="704"/>
                </a:cubicBezTo>
                <a:cubicBezTo>
                  <a:pt x="426" y="708"/>
                  <a:pt x="430" y="712"/>
                  <a:pt x="435" y="712"/>
                </a:cubicBezTo>
                <a:cubicBezTo>
                  <a:pt x="435" y="740"/>
                  <a:pt x="435" y="740"/>
                  <a:pt x="435" y="740"/>
                </a:cubicBezTo>
                <a:cubicBezTo>
                  <a:pt x="435" y="745"/>
                  <a:pt x="439" y="749"/>
                  <a:pt x="443" y="749"/>
                </a:cubicBezTo>
                <a:close/>
                <a:moveTo>
                  <a:pt x="478" y="777"/>
                </a:moveTo>
                <a:cubicBezTo>
                  <a:pt x="485" y="777"/>
                  <a:pt x="492" y="771"/>
                  <a:pt x="492" y="763"/>
                </a:cubicBezTo>
                <a:cubicBezTo>
                  <a:pt x="492" y="756"/>
                  <a:pt x="485" y="749"/>
                  <a:pt x="478" y="749"/>
                </a:cubicBezTo>
                <a:cubicBezTo>
                  <a:pt x="470" y="749"/>
                  <a:pt x="464" y="756"/>
                  <a:pt x="464" y="763"/>
                </a:cubicBezTo>
                <a:cubicBezTo>
                  <a:pt x="464" y="771"/>
                  <a:pt x="470" y="777"/>
                  <a:pt x="478" y="777"/>
                </a:cubicBezTo>
                <a:close/>
                <a:moveTo>
                  <a:pt x="610" y="749"/>
                </a:moveTo>
                <a:cubicBezTo>
                  <a:pt x="622" y="749"/>
                  <a:pt x="623" y="749"/>
                  <a:pt x="623" y="749"/>
                </a:cubicBezTo>
                <a:cubicBezTo>
                  <a:pt x="627" y="749"/>
                  <a:pt x="631" y="745"/>
                  <a:pt x="631" y="740"/>
                </a:cubicBezTo>
                <a:cubicBezTo>
                  <a:pt x="631" y="712"/>
                  <a:pt x="631" y="712"/>
                  <a:pt x="631" y="712"/>
                </a:cubicBezTo>
                <a:cubicBezTo>
                  <a:pt x="636" y="712"/>
                  <a:pt x="640" y="708"/>
                  <a:pt x="640" y="704"/>
                </a:cubicBezTo>
                <a:cubicBezTo>
                  <a:pt x="640" y="664"/>
                  <a:pt x="640" y="664"/>
                  <a:pt x="640" y="664"/>
                </a:cubicBezTo>
                <a:cubicBezTo>
                  <a:pt x="640" y="660"/>
                  <a:pt x="636" y="656"/>
                  <a:pt x="631" y="656"/>
                </a:cubicBezTo>
                <a:cubicBezTo>
                  <a:pt x="602" y="656"/>
                  <a:pt x="602" y="656"/>
                  <a:pt x="602" y="656"/>
                </a:cubicBezTo>
                <a:cubicBezTo>
                  <a:pt x="597" y="656"/>
                  <a:pt x="593" y="660"/>
                  <a:pt x="593" y="664"/>
                </a:cubicBezTo>
                <a:cubicBezTo>
                  <a:pt x="593" y="703"/>
                  <a:pt x="593" y="704"/>
                  <a:pt x="593" y="704"/>
                </a:cubicBezTo>
                <a:cubicBezTo>
                  <a:pt x="593" y="708"/>
                  <a:pt x="597" y="712"/>
                  <a:pt x="602" y="712"/>
                </a:cubicBezTo>
                <a:cubicBezTo>
                  <a:pt x="602" y="740"/>
                  <a:pt x="602" y="740"/>
                  <a:pt x="602" y="740"/>
                </a:cubicBezTo>
                <a:cubicBezTo>
                  <a:pt x="602" y="745"/>
                  <a:pt x="606" y="749"/>
                  <a:pt x="610" y="749"/>
                </a:cubicBezTo>
                <a:close/>
                <a:moveTo>
                  <a:pt x="639" y="776"/>
                </a:moveTo>
                <a:cubicBezTo>
                  <a:pt x="641" y="767"/>
                  <a:pt x="642" y="758"/>
                  <a:pt x="643" y="750"/>
                </a:cubicBezTo>
                <a:cubicBezTo>
                  <a:pt x="636" y="750"/>
                  <a:pt x="631" y="756"/>
                  <a:pt x="631" y="763"/>
                </a:cubicBezTo>
                <a:cubicBezTo>
                  <a:pt x="631" y="769"/>
                  <a:pt x="634" y="774"/>
                  <a:pt x="639" y="776"/>
                </a:cubicBezTo>
                <a:close/>
                <a:moveTo>
                  <a:pt x="380" y="143"/>
                </a:moveTo>
                <a:cubicBezTo>
                  <a:pt x="380" y="151"/>
                  <a:pt x="386" y="157"/>
                  <a:pt x="394" y="157"/>
                </a:cubicBezTo>
                <a:cubicBezTo>
                  <a:pt x="400" y="157"/>
                  <a:pt x="404" y="153"/>
                  <a:pt x="406" y="148"/>
                </a:cubicBezTo>
                <a:cubicBezTo>
                  <a:pt x="400" y="143"/>
                  <a:pt x="393" y="137"/>
                  <a:pt x="386" y="132"/>
                </a:cubicBezTo>
                <a:cubicBezTo>
                  <a:pt x="382" y="135"/>
                  <a:pt x="380" y="139"/>
                  <a:pt x="380" y="143"/>
                </a:cubicBezTo>
                <a:close/>
                <a:moveTo>
                  <a:pt x="589" y="777"/>
                </a:moveTo>
                <a:cubicBezTo>
                  <a:pt x="597" y="777"/>
                  <a:pt x="603" y="771"/>
                  <a:pt x="603" y="763"/>
                </a:cubicBezTo>
                <a:cubicBezTo>
                  <a:pt x="603" y="756"/>
                  <a:pt x="597" y="749"/>
                  <a:pt x="589" y="749"/>
                </a:cubicBezTo>
                <a:cubicBezTo>
                  <a:pt x="582" y="749"/>
                  <a:pt x="575" y="756"/>
                  <a:pt x="575" y="763"/>
                </a:cubicBezTo>
                <a:cubicBezTo>
                  <a:pt x="575" y="771"/>
                  <a:pt x="582" y="777"/>
                  <a:pt x="589" y="777"/>
                </a:cubicBezTo>
                <a:close/>
                <a:moveTo>
                  <a:pt x="555" y="749"/>
                </a:moveTo>
                <a:cubicBezTo>
                  <a:pt x="567" y="749"/>
                  <a:pt x="567" y="749"/>
                  <a:pt x="567" y="749"/>
                </a:cubicBezTo>
                <a:cubicBezTo>
                  <a:pt x="572" y="749"/>
                  <a:pt x="575" y="745"/>
                  <a:pt x="575" y="740"/>
                </a:cubicBezTo>
                <a:cubicBezTo>
                  <a:pt x="575" y="712"/>
                  <a:pt x="575" y="712"/>
                  <a:pt x="575" y="712"/>
                </a:cubicBezTo>
                <a:cubicBezTo>
                  <a:pt x="580" y="712"/>
                  <a:pt x="584" y="708"/>
                  <a:pt x="584" y="704"/>
                </a:cubicBezTo>
                <a:cubicBezTo>
                  <a:pt x="584" y="664"/>
                  <a:pt x="584" y="664"/>
                  <a:pt x="584" y="664"/>
                </a:cubicBezTo>
                <a:cubicBezTo>
                  <a:pt x="584" y="660"/>
                  <a:pt x="580" y="656"/>
                  <a:pt x="575" y="656"/>
                </a:cubicBezTo>
                <a:cubicBezTo>
                  <a:pt x="547" y="656"/>
                  <a:pt x="546" y="656"/>
                  <a:pt x="546" y="656"/>
                </a:cubicBezTo>
                <a:cubicBezTo>
                  <a:pt x="542" y="656"/>
                  <a:pt x="538" y="660"/>
                  <a:pt x="538" y="664"/>
                </a:cubicBezTo>
                <a:cubicBezTo>
                  <a:pt x="538" y="703"/>
                  <a:pt x="538" y="704"/>
                  <a:pt x="538" y="704"/>
                </a:cubicBezTo>
                <a:cubicBezTo>
                  <a:pt x="538" y="708"/>
                  <a:pt x="542" y="712"/>
                  <a:pt x="546" y="712"/>
                </a:cubicBezTo>
                <a:cubicBezTo>
                  <a:pt x="546" y="740"/>
                  <a:pt x="546" y="740"/>
                  <a:pt x="546" y="740"/>
                </a:cubicBezTo>
                <a:cubicBezTo>
                  <a:pt x="546" y="745"/>
                  <a:pt x="550" y="749"/>
                  <a:pt x="555" y="749"/>
                </a:cubicBezTo>
                <a:close/>
                <a:moveTo>
                  <a:pt x="473" y="912"/>
                </a:moveTo>
                <a:cubicBezTo>
                  <a:pt x="473" y="908"/>
                  <a:pt x="469" y="904"/>
                  <a:pt x="464" y="904"/>
                </a:cubicBezTo>
                <a:cubicBezTo>
                  <a:pt x="435" y="904"/>
                  <a:pt x="435" y="904"/>
                  <a:pt x="435" y="904"/>
                </a:cubicBezTo>
                <a:cubicBezTo>
                  <a:pt x="435" y="904"/>
                  <a:pt x="435" y="904"/>
                  <a:pt x="435" y="904"/>
                </a:cubicBezTo>
                <a:cubicBezTo>
                  <a:pt x="473" y="926"/>
                  <a:pt x="473" y="926"/>
                  <a:pt x="473" y="926"/>
                </a:cubicBezTo>
                <a:cubicBezTo>
                  <a:pt x="473" y="912"/>
                  <a:pt x="473" y="912"/>
                  <a:pt x="473" y="912"/>
                </a:cubicBezTo>
                <a:close/>
                <a:moveTo>
                  <a:pt x="593" y="912"/>
                </a:moveTo>
                <a:cubicBezTo>
                  <a:pt x="593" y="917"/>
                  <a:pt x="593" y="921"/>
                  <a:pt x="593" y="924"/>
                </a:cubicBezTo>
                <a:cubicBezTo>
                  <a:pt x="596" y="918"/>
                  <a:pt x="599" y="911"/>
                  <a:pt x="602" y="904"/>
                </a:cubicBezTo>
                <a:cubicBezTo>
                  <a:pt x="602" y="904"/>
                  <a:pt x="602" y="904"/>
                  <a:pt x="602" y="904"/>
                </a:cubicBezTo>
                <a:cubicBezTo>
                  <a:pt x="597" y="904"/>
                  <a:pt x="593" y="908"/>
                  <a:pt x="593" y="912"/>
                </a:cubicBezTo>
                <a:close/>
                <a:moveTo>
                  <a:pt x="46" y="143"/>
                </a:moveTo>
                <a:cubicBezTo>
                  <a:pt x="46" y="151"/>
                  <a:pt x="52" y="157"/>
                  <a:pt x="60" y="157"/>
                </a:cubicBezTo>
                <a:cubicBezTo>
                  <a:pt x="67" y="157"/>
                  <a:pt x="73" y="151"/>
                  <a:pt x="73" y="143"/>
                </a:cubicBezTo>
                <a:cubicBezTo>
                  <a:pt x="73" y="136"/>
                  <a:pt x="67" y="129"/>
                  <a:pt x="60" y="129"/>
                </a:cubicBezTo>
                <a:cubicBezTo>
                  <a:pt x="52" y="129"/>
                  <a:pt x="46" y="136"/>
                  <a:pt x="46" y="143"/>
                </a:cubicBezTo>
                <a:close/>
                <a:moveTo>
                  <a:pt x="0" y="130"/>
                </a:moveTo>
                <a:cubicBezTo>
                  <a:pt x="0" y="156"/>
                  <a:pt x="0" y="156"/>
                  <a:pt x="0" y="156"/>
                </a:cubicBezTo>
                <a:cubicBezTo>
                  <a:pt x="1" y="157"/>
                  <a:pt x="3" y="157"/>
                  <a:pt x="4" y="157"/>
                </a:cubicBezTo>
                <a:cubicBezTo>
                  <a:pt x="12" y="157"/>
                  <a:pt x="18" y="151"/>
                  <a:pt x="18" y="143"/>
                </a:cubicBezTo>
                <a:cubicBezTo>
                  <a:pt x="18" y="136"/>
                  <a:pt x="12" y="129"/>
                  <a:pt x="4" y="129"/>
                </a:cubicBezTo>
                <a:cubicBezTo>
                  <a:pt x="3" y="129"/>
                  <a:pt x="1" y="130"/>
                  <a:pt x="0" y="130"/>
                </a:cubicBezTo>
                <a:close/>
                <a:moveTo>
                  <a:pt x="528" y="951"/>
                </a:moveTo>
                <a:cubicBezTo>
                  <a:pt x="528" y="912"/>
                  <a:pt x="528" y="912"/>
                  <a:pt x="528" y="912"/>
                </a:cubicBezTo>
                <a:cubicBezTo>
                  <a:pt x="528" y="908"/>
                  <a:pt x="524" y="904"/>
                  <a:pt x="520" y="904"/>
                </a:cubicBezTo>
                <a:cubicBezTo>
                  <a:pt x="491" y="904"/>
                  <a:pt x="491" y="904"/>
                  <a:pt x="491" y="904"/>
                </a:cubicBezTo>
                <a:cubicBezTo>
                  <a:pt x="486" y="904"/>
                  <a:pt x="482" y="908"/>
                  <a:pt x="482" y="912"/>
                </a:cubicBezTo>
                <a:cubicBezTo>
                  <a:pt x="482" y="920"/>
                  <a:pt x="482" y="926"/>
                  <a:pt x="482" y="931"/>
                </a:cubicBezTo>
                <a:cubicBezTo>
                  <a:pt x="526" y="957"/>
                  <a:pt x="526" y="957"/>
                  <a:pt x="526" y="957"/>
                </a:cubicBezTo>
                <a:cubicBezTo>
                  <a:pt x="528" y="955"/>
                  <a:pt x="528" y="953"/>
                  <a:pt x="528" y="951"/>
                </a:cubicBezTo>
                <a:close/>
                <a:moveTo>
                  <a:pt x="66" y="5"/>
                </a:moveTo>
                <a:cubicBezTo>
                  <a:pt x="67" y="5"/>
                  <a:pt x="67" y="4"/>
                  <a:pt x="68" y="4"/>
                </a:cubicBezTo>
                <a:cubicBezTo>
                  <a:pt x="61" y="3"/>
                  <a:pt x="55" y="3"/>
                  <a:pt x="48" y="2"/>
                </a:cubicBezTo>
                <a:cubicBezTo>
                  <a:pt x="49" y="4"/>
                  <a:pt x="51" y="5"/>
                  <a:pt x="54" y="5"/>
                </a:cubicBezTo>
                <a:cubicBezTo>
                  <a:pt x="66" y="5"/>
                  <a:pt x="66" y="5"/>
                  <a:pt x="66" y="5"/>
                </a:cubicBezTo>
                <a:close/>
                <a:moveTo>
                  <a:pt x="0" y="5"/>
                </a:moveTo>
                <a:cubicBezTo>
                  <a:pt x="10" y="5"/>
                  <a:pt x="10" y="5"/>
                  <a:pt x="10" y="5"/>
                </a:cubicBezTo>
                <a:cubicBezTo>
                  <a:pt x="13" y="5"/>
                  <a:pt x="16" y="3"/>
                  <a:pt x="17" y="0"/>
                </a:cubicBezTo>
                <a:cubicBezTo>
                  <a:pt x="12" y="0"/>
                  <a:pt x="6" y="0"/>
                  <a:pt x="0" y="0"/>
                </a:cubicBezTo>
                <a:lnTo>
                  <a:pt x="0" y="5"/>
                </a:lnTo>
                <a:close/>
                <a:moveTo>
                  <a:pt x="130" y="19"/>
                </a:moveTo>
                <a:cubicBezTo>
                  <a:pt x="130" y="27"/>
                  <a:pt x="136" y="33"/>
                  <a:pt x="144" y="33"/>
                </a:cubicBezTo>
                <a:cubicBezTo>
                  <a:pt x="151" y="33"/>
                  <a:pt x="156" y="28"/>
                  <a:pt x="157" y="21"/>
                </a:cubicBezTo>
                <a:cubicBezTo>
                  <a:pt x="149" y="19"/>
                  <a:pt x="140" y="17"/>
                  <a:pt x="131" y="15"/>
                </a:cubicBezTo>
                <a:cubicBezTo>
                  <a:pt x="130" y="16"/>
                  <a:pt x="130" y="18"/>
                  <a:pt x="130" y="19"/>
                </a:cubicBezTo>
                <a:close/>
                <a:moveTo>
                  <a:pt x="394" y="873"/>
                </a:moveTo>
                <a:cubicBezTo>
                  <a:pt x="391" y="873"/>
                  <a:pt x="388" y="874"/>
                  <a:pt x="386" y="876"/>
                </a:cubicBezTo>
                <a:cubicBezTo>
                  <a:pt x="407" y="888"/>
                  <a:pt x="407" y="888"/>
                  <a:pt x="407" y="888"/>
                </a:cubicBezTo>
                <a:cubicBezTo>
                  <a:pt x="407" y="888"/>
                  <a:pt x="407" y="887"/>
                  <a:pt x="407" y="887"/>
                </a:cubicBezTo>
                <a:cubicBezTo>
                  <a:pt x="407" y="880"/>
                  <a:pt x="401" y="873"/>
                  <a:pt x="394" y="873"/>
                </a:cubicBezTo>
                <a:close/>
                <a:moveTo>
                  <a:pt x="74" y="19"/>
                </a:moveTo>
                <a:cubicBezTo>
                  <a:pt x="74" y="27"/>
                  <a:pt x="81" y="33"/>
                  <a:pt x="88" y="33"/>
                </a:cubicBezTo>
                <a:cubicBezTo>
                  <a:pt x="96" y="33"/>
                  <a:pt x="102" y="27"/>
                  <a:pt x="102" y="19"/>
                </a:cubicBezTo>
                <a:cubicBezTo>
                  <a:pt x="102" y="15"/>
                  <a:pt x="100" y="11"/>
                  <a:pt x="96" y="8"/>
                </a:cubicBezTo>
                <a:cubicBezTo>
                  <a:pt x="92" y="8"/>
                  <a:pt x="88" y="7"/>
                  <a:pt x="84" y="6"/>
                </a:cubicBezTo>
                <a:cubicBezTo>
                  <a:pt x="78" y="8"/>
                  <a:pt x="74" y="13"/>
                  <a:pt x="74" y="19"/>
                </a:cubicBezTo>
                <a:close/>
                <a:moveTo>
                  <a:pt x="505" y="901"/>
                </a:moveTo>
                <a:cubicBezTo>
                  <a:pt x="513" y="901"/>
                  <a:pt x="519" y="895"/>
                  <a:pt x="519" y="887"/>
                </a:cubicBezTo>
                <a:cubicBezTo>
                  <a:pt x="519" y="880"/>
                  <a:pt x="513" y="873"/>
                  <a:pt x="505" y="873"/>
                </a:cubicBezTo>
                <a:cubicBezTo>
                  <a:pt x="497" y="873"/>
                  <a:pt x="491" y="880"/>
                  <a:pt x="491" y="887"/>
                </a:cubicBezTo>
                <a:cubicBezTo>
                  <a:pt x="491" y="895"/>
                  <a:pt x="497" y="901"/>
                  <a:pt x="505" y="901"/>
                </a:cubicBezTo>
                <a:close/>
                <a:moveTo>
                  <a:pt x="449" y="901"/>
                </a:moveTo>
                <a:cubicBezTo>
                  <a:pt x="457" y="901"/>
                  <a:pt x="463" y="895"/>
                  <a:pt x="463" y="887"/>
                </a:cubicBezTo>
                <a:cubicBezTo>
                  <a:pt x="463" y="880"/>
                  <a:pt x="457" y="873"/>
                  <a:pt x="449" y="873"/>
                </a:cubicBezTo>
                <a:cubicBezTo>
                  <a:pt x="442" y="873"/>
                  <a:pt x="436" y="880"/>
                  <a:pt x="436" y="887"/>
                </a:cubicBezTo>
                <a:cubicBezTo>
                  <a:pt x="436" y="895"/>
                  <a:pt x="442" y="901"/>
                  <a:pt x="449" y="901"/>
                </a:cubicBezTo>
                <a:close/>
                <a:moveTo>
                  <a:pt x="19" y="515"/>
                </a:moveTo>
                <a:cubicBezTo>
                  <a:pt x="19" y="523"/>
                  <a:pt x="25" y="529"/>
                  <a:pt x="33" y="529"/>
                </a:cubicBezTo>
                <a:cubicBezTo>
                  <a:pt x="40" y="529"/>
                  <a:pt x="46" y="523"/>
                  <a:pt x="46" y="515"/>
                </a:cubicBezTo>
                <a:cubicBezTo>
                  <a:pt x="46" y="508"/>
                  <a:pt x="40" y="501"/>
                  <a:pt x="33" y="501"/>
                </a:cubicBezTo>
                <a:cubicBezTo>
                  <a:pt x="25" y="501"/>
                  <a:pt x="19" y="508"/>
                  <a:pt x="19" y="515"/>
                </a:cubicBezTo>
                <a:close/>
                <a:moveTo>
                  <a:pt x="561" y="901"/>
                </a:moveTo>
                <a:cubicBezTo>
                  <a:pt x="568" y="901"/>
                  <a:pt x="574" y="895"/>
                  <a:pt x="574" y="887"/>
                </a:cubicBezTo>
                <a:cubicBezTo>
                  <a:pt x="574" y="880"/>
                  <a:pt x="568" y="873"/>
                  <a:pt x="561" y="873"/>
                </a:cubicBezTo>
                <a:cubicBezTo>
                  <a:pt x="553" y="873"/>
                  <a:pt x="547" y="880"/>
                  <a:pt x="547" y="887"/>
                </a:cubicBezTo>
                <a:cubicBezTo>
                  <a:pt x="547" y="895"/>
                  <a:pt x="553" y="901"/>
                  <a:pt x="561" y="901"/>
                </a:cubicBezTo>
                <a:close/>
                <a:moveTo>
                  <a:pt x="65" y="44"/>
                </a:moveTo>
                <a:cubicBezTo>
                  <a:pt x="65" y="83"/>
                  <a:pt x="65" y="84"/>
                  <a:pt x="65" y="84"/>
                </a:cubicBezTo>
                <a:cubicBezTo>
                  <a:pt x="65" y="88"/>
                  <a:pt x="69" y="92"/>
                  <a:pt x="74" y="92"/>
                </a:cubicBezTo>
                <a:cubicBezTo>
                  <a:pt x="74" y="120"/>
                  <a:pt x="74" y="120"/>
                  <a:pt x="74" y="120"/>
                </a:cubicBezTo>
                <a:cubicBezTo>
                  <a:pt x="74" y="125"/>
                  <a:pt x="77" y="129"/>
                  <a:pt x="82" y="129"/>
                </a:cubicBezTo>
                <a:cubicBezTo>
                  <a:pt x="94" y="129"/>
                  <a:pt x="94" y="129"/>
                  <a:pt x="94" y="129"/>
                </a:cubicBezTo>
                <a:cubicBezTo>
                  <a:pt x="99" y="129"/>
                  <a:pt x="103" y="125"/>
                  <a:pt x="103" y="120"/>
                </a:cubicBezTo>
                <a:cubicBezTo>
                  <a:pt x="103" y="92"/>
                  <a:pt x="103" y="92"/>
                  <a:pt x="103" y="92"/>
                </a:cubicBezTo>
                <a:cubicBezTo>
                  <a:pt x="107" y="92"/>
                  <a:pt x="111" y="88"/>
                  <a:pt x="111" y="84"/>
                </a:cubicBezTo>
                <a:cubicBezTo>
                  <a:pt x="111" y="44"/>
                  <a:pt x="111" y="44"/>
                  <a:pt x="111" y="44"/>
                </a:cubicBezTo>
                <a:cubicBezTo>
                  <a:pt x="111" y="40"/>
                  <a:pt x="107" y="36"/>
                  <a:pt x="103" y="36"/>
                </a:cubicBezTo>
                <a:cubicBezTo>
                  <a:pt x="74" y="36"/>
                  <a:pt x="74" y="36"/>
                  <a:pt x="74" y="36"/>
                </a:cubicBezTo>
                <a:cubicBezTo>
                  <a:pt x="69" y="36"/>
                  <a:pt x="65" y="40"/>
                  <a:pt x="65" y="44"/>
                </a:cubicBezTo>
                <a:close/>
                <a:moveTo>
                  <a:pt x="121" y="44"/>
                </a:moveTo>
                <a:cubicBezTo>
                  <a:pt x="121" y="83"/>
                  <a:pt x="121" y="84"/>
                  <a:pt x="121" y="84"/>
                </a:cubicBezTo>
                <a:cubicBezTo>
                  <a:pt x="121" y="88"/>
                  <a:pt x="125" y="92"/>
                  <a:pt x="129" y="92"/>
                </a:cubicBezTo>
                <a:cubicBezTo>
                  <a:pt x="129" y="120"/>
                  <a:pt x="129" y="120"/>
                  <a:pt x="129" y="120"/>
                </a:cubicBezTo>
                <a:cubicBezTo>
                  <a:pt x="129" y="125"/>
                  <a:pt x="133" y="129"/>
                  <a:pt x="138" y="129"/>
                </a:cubicBezTo>
                <a:cubicBezTo>
                  <a:pt x="150" y="129"/>
                  <a:pt x="150" y="129"/>
                  <a:pt x="150" y="129"/>
                </a:cubicBezTo>
                <a:cubicBezTo>
                  <a:pt x="155" y="129"/>
                  <a:pt x="158" y="125"/>
                  <a:pt x="158" y="120"/>
                </a:cubicBezTo>
                <a:cubicBezTo>
                  <a:pt x="158" y="92"/>
                  <a:pt x="158" y="92"/>
                  <a:pt x="158" y="92"/>
                </a:cubicBezTo>
                <a:cubicBezTo>
                  <a:pt x="163" y="92"/>
                  <a:pt x="167" y="88"/>
                  <a:pt x="167" y="84"/>
                </a:cubicBezTo>
                <a:cubicBezTo>
                  <a:pt x="167" y="44"/>
                  <a:pt x="167" y="44"/>
                  <a:pt x="167" y="44"/>
                </a:cubicBezTo>
                <a:cubicBezTo>
                  <a:pt x="167" y="40"/>
                  <a:pt x="163" y="36"/>
                  <a:pt x="158" y="36"/>
                </a:cubicBezTo>
                <a:cubicBezTo>
                  <a:pt x="130" y="36"/>
                  <a:pt x="129" y="36"/>
                  <a:pt x="129" y="36"/>
                </a:cubicBezTo>
                <a:cubicBezTo>
                  <a:pt x="125" y="36"/>
                  <a:pt x="121" y="40"/>
                  <a:pt x="121" y="44"/>
                </a:cubicBezTo>
                <a:close/>
                <a:moveTo>
                  <a:pt x="176" y="44"/>
                </a:moveTo>
                <a:cubicBezTo>
                  <a:pt x="176" y="83"/>
                  <a:pt x="176" y="84"/>
                  <a:pt x="176" y="84"/>
                </a:cubicBezTo>
                <a:cubicBezTo>
                  <a:pt x="176" y="88"/>
                  <a:pt x="180" y="92"/>
                  <a:pt x="185" y="92"/>
                </a:cubicBezTo>
                <a:cubicBezTo>
                  <a:pt x="185" y="120"/>
                  <a:pt x="185" y="120"/>
                  <a:pt x="185" y="120"/>
                </a:cubicBezTo>
                <a:cubicBezTo>
                  <a:pt x="185" y="125"/>
                  <a:pt x="189" y="129"/>
                  <a:pt x="193" y="129"/>
                </a:cubicBezTo>
                <a:cubicBezTo>
                  <a:pt x="206" y="129"/>
                  <a:pt x="206" y="129"/>
                  <a:pt x="206" y="129"/>
                </a:cubicBezTo>
                <a:cubicBezTo>
                  <a:pt x="210" y="129"/>
                  <a:pt x="214" y="125"/>
                  <a:pt x="214" y="120"/>
                </a:cubicBezTo>
                <a:cubicBezTo>
                  <a:pt x="214" y="92"/>
                  <a:pt x="214" y="92"/>
                  <a:pt x="214" y="92"/>
                </a:cubicBezTo>
                <a:cubicBezTo>
                  <a:pt x="219" y="92"/>
                  <a:pt x="223" y="88"/>
                  <a:pt x="223" y="84"/>
                </a:cubicBezTo>
                <a:cubicBezTo>
                  <a:pt x="223" y="44"/>
                  <a:pt x="223" y="44"/>
                  <a:pt x="223" y="44"/>
                </a:cubicBezTo>
                <a:cubicBezTo>
                  <a:pt x="223" y="43"/>
                  <a:pt x="223" y="43"/>
                  <a:pt x="222" y="42"/>
                </a:cubicBezTo>
                <a:cubicBezTo>
                  <a:pt x="217" y="40"/>
                  <a:pt x="211" y="38"/>
                  <a:pt x="205" y="36"/>
                </a:cubicBezTo>
                <a:cubicBezTo>
                  <a:pt x="185" y="36"/>
                  <a:pt x="185" y="36"/>
                  <a:pt x="185" y="36"/>
                </a:cubicBezTo>
                <a:cubicBezTo>
                  <a:pt x="180" y="36"/>
                  <a:pt x="176" y="40"/>
                  <a:pt x="176" y="44"/>
                </a:cubicBezTo>
                <a:close/>
                <a:moveTo>
                  <a:pt x="630" y="780"/>
                </a:moveTo>
                <a:cubicBezTo>
                  <a:pt x="626" y="780"/>
                  <a:pt x="622" y="784"/>
                  <a:pt x="622" y="788"/>
                </a:cubicBezTo>
                <a:cubicBezTo>
                  <a:pt x="622" y="827"/>
                  <a:pt x="622" y="828"/>
                  <a:pt x="622" y="828"/>
                </a:cubicBezTo>
                <a:cubicBezTo>
                  <a:pt x="622" y="831"/>
                  <a:pt x="623" y="833"/>
                  <a:pt x="626" y="835"/>
                </a:cubicBezTo>
                <a:cubicBezTo>
                  <a:pt x="631" y="817"/>
                  <a:pt x="635" y="798"/>
                  <a:pt x="638" y="780"/>
                </a:cubicBezTo>
                <a:cubicBezTo>
                  <a:pt x="631" y="780"/>
                  <a:pt x="630" y="780"/>
                  <a:pt x="630" y="780"/>
                </a:cubicBezTo>
                <a:close/>
                <a:moveTo>
                  <a:pt x="437" y="836"/>
                </a:moveTo>
                <a:cubicBezTo>
                  <a:pt x="441" y="836"/>
                  <a:pt x="445" y="832"/>
                  <a:pt x="445" y="828"/>
                </a:cubicBezTo>
                <a:cubicBezTo>
                  <a:pt x="445" y="788"/>
                  <a:pt x="445" y="788"/>
                  <a:pt x="445" y="788"/>
                </a:cubicBezTo>
                <a:cubicBezTo>
                  <a:pt x="445" y="784"/>
                  <a:pt x="441" y="780"/>
                  <a:pt x="437" y="780"/>
                </a:cubicBezTo>
                <a:cubicBezTo>
                  <a:pt x="408" y="780"/>
                  <a:pt x="408" y="780"/>
                  <a:pt x="408" y="780"/>
                </a:cubicBezTo>
                <a:cubicBezTo>
                  <a:pt x="403" y="780"/>
                  <a:pt x="399" y="784"/>
                  <a:pt x="399" y="788"/>
                </a:cubicBezTo>
                <a:cubicBezTo>
                  <a:pt x="399" y="827"/>
                  <a:pt x="399" y="828"/>
                  <a:pt x="399" y="828"/>
                </a:cubicBezTo>
                <a:cubicBezTo>
                  <a:pt x="399" y="832"/>
                  <a:pt x="403" y="836"/>
                  <a:pt x="408" y="836"/>
                </a:cubicBezTo>
                <a:cubicBezTo>
                  <a:pt x="408" y="864"/>
                  <a:pt x="408" y="864"/>
                  <a:pt x="408" y="864"/>
                </a:cubicBezTo>
                <a:cubicBezTo>
                  <a:pt x="408" y="869"/>
                  <a:pt x="411" y="873"/>
                  <a:pt x="416" y="873"/>
                </a:cubicBezTo>
                <a:cubicBezTo>
                  <a:pt x="428" y="873"/>
                  <a:pt x="428" y="873"/>
                  <a:pt x="428" y="873"/>
                </a:cubicBezTo>
                <a:cubicBezTo>
                  <a:pt x="433" y="873"/>
                  <a:pt x="437" y="869"/>
                  <a:pt x="437" y="864"/>
                </a:cubicBezTo>
                <a:cubicBezTo>
                  <a:pt x="437" y="836"/>
                  <a:pt x="437" y="836"/>
                  <a:pt x="437" y="836"/>
                </a:cubicBezTo>
                <a:close/>
                <a:moveTo>
                  <a:pt x="449" y="653"/>
                </a:moveTo>
                <a:cubicBezTo>
                  <a:pt x="457" y="653"/>
                  <a:pt x="463" y="647"/>
                  <a:pt x="463" y="639"/>
                </a:cubicBezTo>
                <a:cubicBezTo>
                  <a:pt x="463" y="632"/>
                  <a:pt x="457" y="625"/>
                  <a:pt x="449" y="625"/>
                </a:cubicBezTo>
                <a:cubicBezTo>
                  <a:pt x="442" y="625"/>
                  <a:pt x="436" y="632"/>
                  <a:pt x="436" y="639"/>
                </a:cubicBezTo>
                <a:cubicBezTo>
                  <a:pt x="436" y="647"/>
                  <a:pt x="442" y="653"/>
                  <a:pt x="449" y="653"/>
                </a:cubicBezTo>
                <a:close/>
                <a:moveTo>
                  <a:pt x="338" y="653"/>
                </a:moveTo>
                <a:cubicBezTo>
                  <a:pt x="346" y="653"/>
                  <a:pt x="352" y="647"/>
                  <a:pt x="352" y="639"/>
                </a:cubicBezTo>
                <a:cubicBezTo>
                  <a:pt x="352" y="632"/>
                  <a:pt x="346" y="625"/>
                  <a:pt x="338" y="625"/>
                </a:cubicBezTo>
                <a:cubicBezTo>
                  <a:pt x="330" y="625"/>
                  <a:pt x="324" y="632"/>
                  <a:pt x="324" y="639"/>
                </a:cubicBezTo>
                <a:cubicBezTo>
                  <a:pt x="324" y="647"/>
                  <a:pt x="330" y="653"/>
                  <a:pt x="338" y="653"/>
                </a:cubicBezTo>
                <a:close/>
                <a:moveTo>
                  <a:pt x="561" y="653"/>
                </a:moveTo>
                <a:cubicBezTo>
                  <a:pt x="568" y="653"/>
                  <a:pt x="574" y="647"/>
                  <a:pt x="574" y="639"/>
                </a:cubicBezTo>
                <a:cubicBezTo>
                  <a:pt x="574" y="632"/>
                  <a:pt x="568" y="625"/>
                  <a:pt x="561" y="625"/>
                </a:cubicBezTo>
                <a:cubicBezTo>
                  <a:pt x="553" y="625"/>
                  <a:pt x="547" y="632"/>
                  <a:pt x="547" y="639"/>
                </a:cubicBezTo>
                <a:cubicBezTo>
                  <a:pt x="547" y="647"/>
                  <a:pt x="553" y="653"/>
                  <a:pt x="561" y="653"/>
                </a:cubicBezTo>
                <a:close/>
                <a:moveTo>
                  <a:pt x="353" y="267"/>
                </a:moveTo>
                <a:cubicBezTo>
                  <a:pt x="353" y="275"/>
                  <a:pt x="359" y="281"/>
                  <a:pt x="367" y="281"/>
                </a:cubicBezTo>
                <a:cubicBezTo>
                  <a:pt x="374" y="281"/>
                  <a:pt x="380" y="275"/>
                  <a:pt x="380" y="267"/>
                </a:cubicBezTo>
                <a:cubicBezTo>
                  <a:pt x="380" y="260"/>
                  <a:pt x="374" y="253"/>
                  <a:pt x="367" y="253"/>
                </a:cubicBezTo>
                <a:cubicBezTo>
                  <a:pt x="359" y="253"/>
                  <a:pt x="353" y="260"/>
                  <a:pt x="353" y="267"/>
                </a:cubicBezTo>
                <a:close/>
                <a:moveTo>
                  <a:pt x="505" y="653"/>
                </a:moveTo>
                <a:cubicBezTo>
                  <a:pt x="513" y="653"/>
                  <a:pt x="519" y="647"/>
                  <a:pt x="519" y="639"/>
                </a:cubicBezTo>
                <a:cubicBezTo>
                  <a:pt x="519" y="632"/>
                  <a:pt x="513" y="625"/>
                  <a:pt x="505" y="625"/>
                </a:cubicBezTo>
                <a:cubicBezTo>
                  <a:pt x="497" y="625"/>
                  <a:pt x="491" y="632"/>
                  <a:pt x="491" y="639"/>
                </a:cubicBezTo>
                <a:cubicBezTo>
                  <a:pt x="491" y="647"/>
                  <a:pt x="497" y="653"/>
                  <a:pt x="505" y="653"/>
                </a:cubicBezTo>
                <a:close/>
                <a:moveTo>
                  <a:pt x="616" y="653"/>
                </a:moveTo>
                <a:cubicBezTo>
                  <a:pt x="624" y="653"/>
                  <a:pt x="630" y="647"/>
                  <a:pt x="630" y="639"/>
                </a:cubicBezTo>
                <a:cubicBezTo>
                  <a:pt x="630" y="632"/>
                  <a:pt x="624" y="625"/>
                  <a:pt x="616" y="625"/>
                </a:cubicBezTo>
                <a:cubicBezTo>
                  <a:pt x="609" y="625"/>
                  <a:pt x="603" y="632"/>
                  <a:pt x="603" y="639"/>
                </a:cubicBezTo>
                <a:cubicBezTo>
                  <a:pt x="603" y="647"/>
                  <a:pt x="609" y="653"/>
                  <a:pt x="616" y="653"/>
                </a:cubicBezTo>
                <a:close/>
                <a:moveTo>
                  <a:pt x="422" y="777"/>
                </a:moveTo>
                <a:cubicBezTo>
                  <a:pt x="430" y="777"/>
                  <a:pt x="436" y="771"/>
                  <a:pt x="436" y="763"/>
                </a:cubicBezTo>
                <a:cubicBezTo>
                  <a:pt x="436" y="756"/>
                  <a:pt x="430" y="749"/>
                  <a:pt x="422" y="749"/>
                </a:cubicBezTo>
                <a:cubicBezTo>
                  <a:pt x="415" y="749"/>
                  <a:pt x="408" y="756"/>
                  <a:pt x="408" y="763"/>
                </a:cubicBezTo>
                <a:cubicBezTo>
                  <a:pt x="408" y="771"/>
                  <a:pt x="415" y="777"/>
                  <a:pt x="422" y="777"/>
                </a:cubicBezTo>
                <a:close/>
                <a:moveTo>
                  <a:pt x="426" y="208"/>
                </a:moveTo>
                <a:cubicBezTo>
                  <a:pt x="426" y="212"/>
                  <a:pt x="430" y="216"/>
                  <a:pt x="435" y="216"/>
                </a:cubicBezTo>
                <a:cubicBezTo>
                  <a:pt x="435" y="244"/>
                  <a:pt x="435" y="244"/>
                  <a:pt x="435" y="244"/>
                </a:cubicBezTo>
                <a:cubicBezTo>
                  <a:pt x="435" y="249"/>
                  <a:pt x="439" y="253"/>
                  <a:pt x="443" y="253"/>
                </a:cubicBezTo>
                <a:cubicBezTo>
                  <a:pt x="455" y="253"/>
                  <a:pt x="456" y="253"/>
                  <a:pt x="456" y="253"/>
                </a:cubicBezTo>
                <a:cubicBezTo>
                  <a:pt x="460" y="253"/>
                  <a:pt x="464" y="249"/>
                  <a:pt x="464" y="244"/>
                </a:cubicBezTo>
                <a:cubicBezTo>
                  <a:pt x="464" y="216"/>
                  <a:pt x="464" y="216"/>
                  <a:pt x="464" y="216"/>
                </a:cubicBezTo>
                <a:cubicBezTo>
                  <a:pt x="468" y="216"/>
                  <a:pt x="471" y="213"/>
                  <a:pt x="472" y="210"/>
                </a:cubicBezTo>
                <a:cubicBezTo>
                  <a:pt x="458" y="194"/>
                  <a:pt x="443" y="180"/>
                  <a:pt x="427" y="166"/>
                </a:cubicBezTo>
                <a:cubicBezTo>
                  <a:pt x="427" y="166"/>
                  <a:pt x="426" y="167"/>
                  <a:pt x="426" y="168"/>
                </a:cubicBezTo>
                <a:cubicBezTo>
                  <a:pt x="426" y="207"/>
                  <a:pt x="426" y="208"/>
                  <a:pt x="426" y="208"/>
                </a:cubicBezTo>
                <a:close/>
                <a:moveTo>
                  <a:pt x="499" y="253"/>
                </a:moveTo>
                <a:cubicBezTo>
                  <a:pt x="504" y="253"/>
                  <a:pt x="507" y="253"/>
                  <a:pt x="509" y="253"/>
                </a:cubicBezTo>
                <a:cubicBezTo>
                  <a:pt x="503" y="245"/>
                  <a:pt x="497" y="238"/>
                  <a:pt x="491" y="231"/>
                </a:cubicBezTo>
                <a:cubicBezTo>
                  <a:pt x="491" y="244"/>
                  <a:pt x="491" y="244"/>
                  <a:pt x="491" y="244"/>
                </a:cubicBezTo>
                <a:cubicBezTo>
                  <a:pt x="491" y="249"/>
                  <a:pt x="494" y="253"/>
                  <a:pt x="499" y="253"/>
                </a:cubicBezTo>
                <a:close/>
                <a:moveTo>
                  <a:pt x="394" y="653"/>
                </a:moveTo>
                <a:cubicBezTo>
                  <a:pt x="401" y="653"/>
                  <a:pt x="407" y="647"/>
                  <a:pt x="407" y="639"/>
                </a:cubicBezTo>
                <a:cubicBezTo>
                  <a:pt x="407" y="632"/>
                  <a:pt x="401" y="625"/>
                  <a:pt x="394" y="625"/>
                </a:cubicBezTo>
                <a:cubicBezTo>
                  <a:pt x="386" y="625"/>
                  <a:pt x="380" y="632"/>
                  <a:pt x="380" y="639"/>
                </a:cubicBezTo>
                <a:cubicBezTo>
                  <a:pt x="380" y="647"/>
                  <a:pt x="386" y="653"/>
                  <a:pt x="394" y="653"/>
                </a:cubicBezTo>
                <a:close/>
                <a:moveTo>
                  <a:pt x="213" y="763"/>
                </a:moveTo>
                <a:cubicBezTo>
                  <a:pt x="213" y="756"/>
                  <a:pt x="207" y="749"/>
                  <a:pt x="200" y="749"/>
                </a:cubicBezTo>
                <a:cubicBezTo>
                  <a:pt x="193" y="749"/>
                  <a:pt x="187" y="754"/>
                  <a:pt x="186" y="760"/>
                </a:cubicBezTo>
                <a:cubicBezTo>
                  <a:pt x="209" y="773"/>
                  <a:pt x="209" y="773"/>
                  <a:pt x="209" y="773"/>
                </a:cubicBezTo>
                <a:cubicBezTo>
                  <a:pt x="212" y="771"/>
                  <a:pt x="213" y="767"/>
                  <a:pt x="213" y="763"/>
                </a:cubicBezTo>
                <a:close/>
                <a:moveTo>
                  <a:pt x="186" y="740"/>
                </a:moveTo>
                <a:cubicBezTo>
                  <a:pt x="186" y="712"/>
                  <a:pt x="186" y="712"/>
                  <a:pt x="186" y="712"/>
                </a:cubicBezTo>
                <a:cubicBezTo>
                  <a:pt x="190" y="712"/>
                  <a:pt x="194" y="708"/>
                  <a:pt x="194" y="704"/>
                </a:cubicBezTo>
                <a:cubicBezTo>
                  <a:pt x="194" y="664"/>
                  <a:pt x="194" y="664"/>
                  <a:pt x="194" y="664"/>
                </a:cubicBezTo>
                <a:cubicBezTo>
                  <a:pt x="194" y="660"/>
                  <a:pt x="190" y="656"/>
                  <a:pt x="186" y="656"/>
                </a:cubicBezTo>
                <a:cubicBezTo>
                  <a:pt x="157" y="656"/>
                  <a:pt x="157" y="656"/>
                  <a:pt x="157" y="656"/>
                </a:cubicBezTo>
                <a:cubicBezTo>
                  <a:pt x="152" y="656"/>
                  <a:pt x="148" y="660"/>
                  <a:pt x="148" y="664"/>
                </a:cubicBezTo>
                <a:cubicBezTo>
                  <a:pt x="148" y="703"/>
                  <a:pt x="148" y="704"/>
                  <a:pt x="148" y="704"/>
                </a:cubicBezTo>
                <a:cubicBezTo>
                  <a:pt x="148" y="708"/>
                  <a:pt x="152" y="712"/>
                  <a:pt x="157" y="712"/>
                </a:cubicBezTo>
                <a:cubicBezTo>
                  <a:pt x="157" y="740"/>
                  <a:pt x="157" y="740"/>
                  <a:pt x="157" y="740"/>
                </a:cubicBezTo>
                <a:cubicBezTo>
                  <a:pt x="157" y="741"/>
                  <a:pt x="157" y="743"/>
                  <a:pt x="158" y="744"/>
                </a:cubicBezTo>
                <a:cubicBezTo>
                  <a:pt x="166" y="749"/>
                  <a:pt x="166" y="749"/>
                  <a:pt x="166" y="749"/>
                </a:cubicBezTo>
                <a:cubicBezTo>
                  <a:pt x="177" y="749"/>
                  <a:pt x="177" y="749"/>
                  <a:pt x="177" y="749"/>
                </a:cubicBezTo>
                <a:cubicBezTo>
                  <a:pt x="182" y="749"/>
                  <a:pt x="186" y="745"/>
                  <a:pt x="186" y="740"/>
                </a:cubicBezTo>
                <a:close/>
                <a:moveTo>
                  <a:pt x="139" y="704"/>
                </a:moveTo>
                <a:cubicBezTo>
                  <a:pt x="139" y="664"/>
                  <a:pt x="139" y="664"/>
                  <a:pt x="139" y="664"/>
                </a:cubicBezTo>
                <a:cubicBezTo>
                  <a:pt x="139" y="660"/>
                  <a:pt x="135" y="656"/>
                  <a:pt x="130" y="656"/>
                </a:cubicBezTo>
                <a:cubicBezTo>
                  <a:pt x="101" y="656"/>
                  <a:pt x="101" y="656"/>
                  <a:pt x="101" y="656"/>
                </a:cubicBezTo>
                <a:cubicBezTo>
                  <a:pt x="96" y="656"/>
                  <a:pt x="92" y="660"/>
                  <a:pt x="92" y="664"/>
                </a:cubicBezTo>
                <a:cubicBezTo>
                  <a:pt x="92" y="703"/>
                  <a:pt x="92" y="704"/>
                  <a:pt x="92" y="704"/>
                </a:cubicBezTo>
                <a:cubicBezTo>
                  <a:pt x="92" y="705"/>
                  <a:pt x="93" y="705"/>
                  <a:pt x="93" y="706"/>
                </a:cubicBezTo>
                <a:cubicBezTo>
                  <a:pt x="130" y="728"/>
                  <a:pt x="130" y="728"/>
                  <a:pt x="130" y="728"/>
                </a:cubicBezTo>
                <a:cubicBezTo>
                  <a:pt x="130" y="712"/>
                  <a:pt x="130" y="712"/>
                  <a:pt x="130" y="712"/>
                </a:cubicBezTo>
                <a:cubicBezTo>
                  <a:pt x="135" y="712"/>
                  <a:pt x="139" y="708"/>
                  <a:pt x="139" y="704"/>
                </a:cubicBezTo>
                <a:close/>
                <a:moveTo>
                  <a:pt x="282" y="653"/>
                </a:moveTo>
                <a:cubicBezTo>
                  <a:pt x="290" y="653"/>
                  <a:pt x="296" y="647"/>
                  <a:pt x="296" y="639"/>
                </a:cubicBezTo>
                <a:cubicBezTo>
                  <a:pt x="296" y="632"/>
                  <a:pt x="290" y="625"/>
                  <a:pt x="282" y="625"/>
                </a:cubicBezTo>
                <a:cubicBezTo>
                  <a:pt x="275" y="625"/>
                  <a:pt x="269" y="632"/>
                  <a:pt x="269" y="639"/>
                </a:cubicBezTo>
                <a:cubicBezTo>
                  <a:pt x="269" y="647"/>
                  <a:pt x="275" y="653"/>
                  <a:pt x="282" y="653"/>
                </a:cubicBezTo>
                <a:close/>
                <a:moveTo>
                  <a:pt x="19" y="408"/>
                </a:moveTo>
                <a:cubicBezTo>
                  <a:pt x="10" y="408"/>
                  <a:pt x="4" y="408"/>
                  <a:pt x="0" y="408"/>
                </a:cubicBezTo>
                <a:cubicBezTo>
                  <a:pt x="0" y="501"/>
                  <a:pt x="0" y="501"/>
                  <a:pt x="0" y="501"/>
                </a:cubicBezTo>
                <a:cubicBezTo>
                  <a:pt x="10" y="501"/>
                  <a:pt x="10" y="501"/>
                  <a:pt x="10" y="501"/>
                </a:cubicBezTo>
                <a:cubicBezTo>
                  <a:pt x="15" y="501"/>
                  <a:pt x="19" y="497"/>
                  <a:pt x="19" y="492"/>
                </a:cubicBezTo>
                <a:cubicBezTo>
                  <a:pt x="19" y="464"/>
                  <a:pt x="19" y="464"/>
                  <a:pt x="19" y="464"/>
                </a:cubicBezTo>
                <a:cubicBezTo>
                  <a:pt x="23" y="464"/>
                  <a:pt x="27" y="460"/>
                  <a:pt x="27" y="456"/>
                </a:cubicBezTo>
                <a:cubicBezTo>
                  <a:pt x="27" y="416"/>
                  <a:pt x="27" y="416"/>
                  <a:pt x="27" y="416"/>
                </a:cubicBezTo>
                <a:cubicBezTo>
                  <a:pt x="27" y="412"/>
                  <a:pt x="23" y="408"/>
                  <a:pt x="19" y="408"/>
                </a:cubicBezTo>
                <a:close/>
                <a:moveTo>
                  <a:pt x="270" y="616"/>
                </a:moveTo>
                <a:cubicBezTo>
                  <a:pt x="270" y="588"/>
                  <a:pt x="270" y="588"/>
                  <a:pt x="270" y="588"/>
                </a:cubicBezTo>
                <a:cubicBezTo>
                  <a:pt x="274" y="588"/>
                  <a:pt x="278" y="584"/>
                  <a:pt x="278" y="580"/>
                </a:cubicBezTo>
                <a:cubicBezTo>
                  <a:pt x="278" y="540"/>
                  <a:pt x="278" y="540"/>
                  <a:pt x="278" y="540"/>
                </a:cubicBezTo>
                <a:cubicBezTo>
                  <a:pt x="278" y="536"/>
                  <a:pt x="274" y="532"/>
                  <a:pt x="270" y="532"/>
                </a:cubicBezTo>
                <a:cubicBezTo>
                  <a:pt x="241" y="532"/>
                  <a:pt x="241" y="532"/>
                  <a:pt x="241" y="532"/>
                </a:cubicBezTo>
                <a:cubicBezTo>
                  <a:pt x="236" y="532"/>
                  <a:pt x="232" y="536"/>
                  <a:pt x="232" y="540"/>
                </a:cubicBezTo>
                <a:cubicBezTo>
                  <a:pt x="232" y="579"/>
                  <a:pt x="232" y="580"/>
                  <a:pt x="232" y="580"/>
                </a:cubicBezTo>
                <a:cubicBezTo>
                  <a:pt x="232" y="584"/>
                  <a:pt x="236" y="588"/>
                  <a:pt x="241" y="588"/>
                </a:cubicBezTo>
                <a:cubicBezTo>
                  <a:pt x="241" y="616"/>
                  <a:pt x="241" y="616"/>
                  <a:pt x="241" y="616"/>
                </a:cubicBezTo>
                <a:cubicBezTo>
                  <a:pt x="241" y="621"/>
                  <a:pt x="244" y="625"/>
                  <a:pt x="249" y="625"/>
                </a:cubicBezTo>
                <a:cubicBezTo>
                  <a:pt x="261" y="625"/>
                  <a:pt x="261" y="625"/>
                  <a:pt x="261" y="625"/>
                </a:cubicBezTo>
                <a:cubicBezTo>
                  <a:pt x="266" y="625"/>
                  <a:pt x="270" y="621"/>
                  <a:pt x="270" y="616"/>
                </a:cubicBezTo>
                <a:close/>
                <a:moveTo>
                  <a:pt x="255" y="777"/>
                </a:moveTo>
                <a:cubicBezTo>
                  <a:pt x="263" y="777"/>
                  <a:pt x="269" y="771"/>
                  <a:pt x="269" y="763"/>
                </a:cubicBezTo>
                <a:cubicBezTo>
                  <a:pt x="269" y="756"/>
                  <a:pt x="263" y="749"/>
                  <a:pt x="255" y="749"/>
                </a:cubicBezTo>
                <a:cubicBezTo>
                  <a:pt x="248" y="749"/>
                  <a:pt x="241" y="756"/>
                  <a:pt x="241" y="763"/>
                </a:cubicBezTo>
                <a:cubicBezTo>
                  <a:pt x="241" y="771"/>
                  <a:pt x="248" y="777"/>
                  <a:pt x="255" y="777"/>
                </a:cubicBezTo>
                <a:close/>
                <a:moveTo>
                  <a:pt x="241" y="740"/>
                </a:moveTo>
                <a:cubicBezTo>
                  <a:pt x="241" y="712"/>
                  <a:pt x="241" y="712"/>
                  <a:pt x="241" y="712"/>
                </a:cubicBezTo>
                <a:cubicBezTo>
                  <a:pt x="246" y="712"/>
                  <a:pt x="250" y="708"/>
                  <a:pt x="250" y="704"/>
                </a:cubicBezTo>
                <a:cubicBezTo>
                  <a:pt x="250" y="664"/>
                  <a:pt x="250" y="664"/>
                  <a:pt x="250" y="664"/>
                </a:cubicBezTo>
                <a:cubicBezTo>
                  <a:pt x="250" y="660"/>
                  <a:pt x="246" y="656"/>
                  <a:pt x="241" y="656"/>
                </a:cubicBezTo>
                <a:cubicBezTo>
                  <a:pt x="213" y="656"/>
                  <a:pt x="212" y="656"/>
                  <a:pt x="212" y="656"/>
                </a:cubicBezTo>
                <a:cubicBezTo>
                  <a:pt x="208" y="656"/>
                  <a:pt x="204" y="660"/>
                  <a:pt x="204" y="664"/>
                </a:cubicBezTo>
                <a:cubicBezTo>
                  <a:pt x="204" y="703"/>
                  <a:pt x="204" y="704"/>
                  <a:pt x="204" y="704"/>
                </a:cubicBezTo>
                <a:cubicBezTo>
                  <a:pt x="204" y="708"/>
                  <a:pt x="208" y="712"/>
                  <a:pt x="212" y="712"/>
                </a:cubicBezTo>
                <a:cubicBezTo>
                  <a:pt x="212" y="740"/>
                  <a:pt x="212" y="740"/>
                  <a:pt x="212" y="740"/>
                </a:cubicBezTo>
                <a:cubicBezTo>
                  <a:pt x="212" y="745"/>
                  <a:pt x="216" y="749"/>
                  <a:pt x="221" y="749"/>
                </a:cubicBezTo>
                <a:cubicBezTo>
                  <a:pt x="233" y="749"/>
                  <a:pt x="233" y="749"/>
                  <a:pt x="233" y="749"/>
                </a:cubicBezTo>
                <a:cubicBezTo>
                  <a:pt x="238" y="749"/>
                  <a:pt x="241" y="745"/>
                  <a:pt x="241" y="740"/>
                </a:cubicBezTo>
                <a:close/>
                <a:moveTo>
                  <a:pt x="371" y="168"/>
                </a:moveTo>
                <a:cubicBezTo>
                  <a:pt x="371" y="207"/>
                  <a:pt x="371" y="208"/>
                  <a:pt x="371" y="208"/>
                </a:cubicBezTo>
                <a:cubicBezTo>
                  <a:pt x="371" y="212"/>
                  <a:pt x="375" y="216"/>
                  <a:pt x="379" y="216"/>
                </a:cubicBezTo>
                <a:cubicBezTo>
                  <a:pt x="379" y="244"/>
                  <a:pt x="379" y="244"/>
                  <a:pt x="379" y="244"/>
                </a:cubicBezTo>
                <a:cubicBezTo>
                  <a:pt x="379" y="249"/>
                  <a:pt x="383" y="253"/>
                  <a:pt x="388" y="253"/>
                </a:cubicBezTo>
                <a:cubicBezTo>
                  <a:pt x="400" y="253"/>
                  <a:pt x="400" y="253"/>
                  <a:pt x="400" y="253"/>
                </a:cubicBezTo>
                <a:cubicBezTo>
                  <a:pt x="405" y="253"/>
                  <a:pt x="408" y="249"/>
                  <a:pt x="408" y="244"/>
                </a:cubicBezTo>
                <a:cubicBezTo>
                  <a:pt x="408" y="216"/>
                  <a:pt x="408" y="216"/>
                  <a:pt x="408" y="216"/>
                </a:cubicBezTo>
                <a:cubicBezTo>
                  <a:pt x="413" y="216"/>
                  <a:pt x="417" y="212"/>
                  <a:pt x="417" y="208"/>
                </a:cubicBezTo>
                <a:cubicBezTo>
                  <a:pt x="417" y="168"/>
                  <a:pt x="417" y="168"/>
                  <a:pt x="417" y="168"/>
                </a:cubicBezTo>
                <a:cubicBezTo>
                  <a:pt x="417" y="164"/>
                  <a:pt x="413" y="160"/>
                  <a:pt x="408" y="160"/>
                </a:cubicBezTo>
                <a:cubicBezTo>
                  <a:pt x="380" y="160"/>
                  <a:pt x="379" y="160"/>
                  <a:pt x="379" y="160"/>
                </a:cubicBezTo>
                <a:cubicBezTo>
                  <a:pt x="375" y="160"/>
                  <a:pt x="371" y="164"/>
                  <a:pt x="371" y="168"/>
                </a:cubicBezTo>
                <a:close/>
                <a:moveTo>
                  <a:pt x="0" y="378"/>
                </a:moveTo>
                <a:cubicBezTo>
                  <a:pt x="0" y="404"/>
                  <a:pt x="0" y="404"/>
                  <a:pt x="0" y="404"/>
                </a:cubicBezTo>
                <a:cubicBezTo>
                  <a:pt x="1" y="405"/>
                  <a:pt x="3" y="405"/>
                  <a:pt x="4" y="405"/>
                </a:cubicBezTo>
                <a:cubicBezTo>
                  <a:pt x="12" y="405"/>
                  <a:pt x="18" y="399"/>
                  <a:pt x="18" y="391"/>
                </a:cubicBezTo>
                <a:cubicBezTo>
                  <a:pt x="18" y="384"/>
                  <a:pt x="12" y="377"/>
                  <a:pt x="4" y="377"/>
                </a:cubicBezTo>
                <a:cubicBezTo>
                  <a:pt x="3" y="377"/>
                  <a:pt x="1" y="378"/>
                  <a:pt x="0" y="378"/>
                </a:cubicBezTo>
                <a:close/>
                <a:moveTo>
                  <a:pt x="311" y="777"/>
                </a:moveTo>
                <a:cubicBezTo>
                  <a:pt x="318" y="777"/>
                  <a:pt x="325" y="771"/>
                  <a:pt x="325" y="763"/>
                </a:cubicBezTo>
                <a:cubicBezTo>
                  <a:pt x="325" y="756"/>
                  <a:pt x="318" y="749"/>
                  <a:pt x="311" y="749"/>
                </a:cubicBezTo>
                <a:cubicBezTo>
                  <a:pt x="303" y="749"/>
                  <a:pt x="297" y="756"/>
                  <a:pt x="297" y="763"/>
                </a:cubicBezTo>
                <a:cubicBezTo>
                  <a:pt x="297" y="771"/>
                  <a:pt x="303" y="777"/>
                  <a:pt x="311" y="777"/>
                </a:cubicBezTo>
                <a:close/>
                <a:moveTo>
                  <a:pt x="46" y="391"/>
                </a:moveTo>
                <a:cubicBezTo>
                  <a:pt x="46" y="399"/>
                  <a:pt x="52" y="405"/>
                  <a:pt x="60" y="405"/>
                </a:cubicBezTo>
                <a:cubicBezTo>
                  <a:pt x="67" y="405"/>
                  <a:pt x="73" y="399"/>
                  <a:pt x="73" y="391"/>
                </a:cubicBezTo>
                <a:cubicBezTo>
                  <a:pt x="73" y="384"/>
                  <a:pt x="67" y="377"/>
                  <a:pt x="60" y="377"/>
                </a:cubicBezTo>
                <a:cubicBezTo>
                  <a:pt x="52" y="377"/>
                  <a:pt x="46" y="384"/>
                  <a:pt x="46" y="391"/>
                </a:cubicBezTo>
                <a:close/>
                <a:moveTo>
                  <a:pt x="47" y="284"/>
                </a:moveTo>
                <a:cubicBezTo>
                  <a:pt x="18" y="284"/>
                  <a:pt x="18" y="284"/>
                  <a:pt x="18" y="284"/>
                </a:cubicBezTo>
                <a:cubicBezTo>
                  <a:pt x="13" y="284"/>
                  <a:pt x="9" y="288"/>
                  <a:pt x="9" y="292"/>
                </a:cubicBezTo>
                <a:cubicBezTo>
                  <a:pt x="9" y="331"/>
                  <a:pt x="9" y="332"/>
                  <a:pt x="9" y="332"/>
                </a:cubicBezTo>
                <a:cubicBezTo>
                  <a:pt x="9" y="336"/>
                  <a:pt x="13" y="340"/>
                  <a:pt x="18" y="340"/>
                </a:cubicBezTo>
                <a:cubicBezTo>
                  <a:pt x="18" y="368"/>
                  <a:pt x="18" y="368"/>
                  <a:pt x="18" y="368"/>
                </a:cubicBezTo>
                <a:cubicBezTo>
                  <a:pt x="18" y="373"/>
                  <a:pt x="22" y="377"/>
                  <a:pt x="26" y="377"/>
                </a:cubicBezTo>
                <a:cubicBezTo>
                  <a:pt x="39" y="377"/>
                  <a:pt x="39" y="377"/>
                  <a:pt x="39" y="377"/>
                </a:cubicBezTo>
                <a:cubicBezTo>
                  <a:pt x="43" y="377"/>
                  <a:pt x="47" y="373"/>
                  <a:pt x="47" y="368"/>
                </a:cubicBezTo>
                <a:cubicBezTo>
                  <a:pt x="47" y="340"/>
                  <a:pt x="47" y="340"/>
                  <a:pt x="47" y="340"/>
                </a:cubicBezTo>
                <a:cubicBezTo>
                  <a:pt x="52" y="340"/>
                  <a:pt x="56" y="336"/>
                  <a:pt x="56" y="332"/>
                </a:cubicBezTo>
                <a:cubicBezTo>
                  <a:pt x="56" y="292"/>
                  <a:pt x="56" y="292"/>
                  <a:pt x="56" y="292"/>
                </a:cubicBezTo>
                <a:cubicBezTo>
                  <a:pt x="56" y="288"/>
                  <a:pt x="52" y="284"/>
                  <a:pt x="47" y="284"/>
                </a:cubicBezTo>
                <a:close/>
                <a:moveTo>
                  <a:pt x="297" y="740"/>
                </a:moveTo>
                <a:cubicBezTo>
                  <a:pt x="297" y="712"/>
                  <a:pt x="297" y="712"/>
                  <a:pt x="297" y="712"/>
                </a:cubicBezTo>
                <a:cubicBezTo>
                  <a:pt x="302" y="712"/>
                  <a:pt x="306" y="708"/>
                  <a:pt x="306" y="704"/>
                </a:cubicBezTo>
                <a:cubicBezTo>
                  <a:pt x="306" y="664"/>
                  <a:pt x="306" y="664"/>
                  <a:pt x="306" y="664"/>
                </a:cubicBezTo>
                <a:cubicBezTo>
                  <a:pt x="306" y="660"/>
                  <a:pt x="302" y="656"/>
                  <a:pt x="297" y="656"/>
                </a:cubicBezTo>
                <a:cubicBezTo>
                  <a:pt x="268" y="656"/>
                  <a:pt x="268" y="656"/>
                  <a:pt x="268" y="656"/>
                </a:cubicBezTo>
                <a:cubicBezTo>
                  <a:pt x="263" y="656"/>
                  <a:pt x="259" y="660"/>
                  <a:pt x="259" y="664"/>
                </a:cubicBezTo>
                <a:cubicBezTo>
                  <a:pt x="259" y="703"/>
                  <a:pt x="259" y="704"/>
                  <a:pt x="259" y="704"/>
                </a:cubicBezTo>
                <a:cubicBezTo>
                  <a:pt x="259" y="708"/>
                  <a:pt x="263" y="712"/>
                  <a:pt x="268" y="712"/>
                </a:cubicBezTo>
                <a:cubicBezTo>
                  <a:pt x="268" y="740"/>
                  <a:pt x="268" y="740"/>
                  <a:pt x="268" y="740"/>
                </a:cubicBezTo>
                <a:cubicBezTo>
                  <a:pt x="268" y="745"/>
                  <a:pt x="272" y="749"/>
                  <a:pt x="276" y="749"/>
                </a:cubicBezTo>
                <a:cubicBezTo>
                  <a:pt x="288" y="749"/>
                  <a:pt x="289" y="749"/>
                  <a:pt x="289" y="749"/>
                </a:cubicBezTo>
                <a:cubicBezTo>
                  <a:pt x="293" y="749"/>
                  <a:pt x="297" y="745"/>
                  <a:pt x="297" y="740"/>
                </a:cubicBezTo>
                <a:close/>
                <a:moveTo>
                  <a:pt x="332" y="749"/>
                </a:moveTo>
                <a:cubicBezTo>
                  <a:pt x="344" y="749"/>
                  <a:pt x="344" y="749"/>
                  <a:pt x="344" y="749"/>
                </a:cubicBezTo>
                <a:cubicBezTo>
                  <a:pt x="349" y="749"/>
                  <a:pt x="353" y="745"/>
                  <a:pt x="353" y="740"/>
                </a:cubicBezTo>
                <a:cubicBezTo>
                  <a:pt x="353" y="712"/>
                  <a:pt x="353" y="712"/>
                  <a:pt x="353" y="712"/>
                </a:cubicBezTo>
                <a:cubicBezTo>
                  <a:pt x="357" y="712"/>
                  <a:pt x="361" y="708"/>
                  <a:pt x="361" y="704"/>
                </a:cubicBezTo>
                <a:cubicBezTo>
                  <a:pt x="361" y="664"/>
                  <a:pt x="361" y="664"/>
                  <a:pt x="361" y="664"/>
                </a:cubicBezTo>
                <a:cubicBezTo>
                  <a:pt x="361" y="660"/>
                  <a:pt x="357" y="656"/>
                  <a:pt x="353" y="656"/>
                </a:cubicBezTo>
                <a:cubicBezTo>
                  <a:pt x="324" y="656"/>
                  <a:pt x="324" y="656"/>
                  <a:pt x="324" y="656"/>
                </a:cubicBezTo>
                <a:cubicBezTo>
                  <a:pt x="319" y="656"/>
                  <a:pt x="315" y="660"/>
                  <a:pt x="315" y="664"/>
                </a:cubicBezTo>
                <a:cubicBezTo>
                  <a:pt x="315" y="703"/>
                  <a:pt x="315" y="704"/>
                  <a:pt x="315" y="704"/>
                </a:cubicBezTo>
                <a:cubicBezTo>
                  <a:pt x="315" y="708"/>
                  <a:pt x="319" y="712"/>
                  <a:pt x="324" y="712"/>
                </a:cubicBezTo>
                <a:cubicBezTo>
                  <a:pt x="324" y="740"/>
                  <a:pt x="324" y="740"/>
                  <a:pt x="324" y="740"/>
                </a:cubicBezTo>
                <a:cubicBezTo>
                  <a:pt x="324" y="745"/>
                  <a:pt x="327" y="749"/>
                  <a:pt x="332" y="749"/>
                </a:cubicBezTo>
                <a:close/>
                <a:moveTo>
                  <a:pt x="388" y="749"/>
                </a:moveTo>
                <a:cubicBezTo>
                  <a:pt x="400" y="749"/>
                  <a:pt x="400" y="749"/>
                  <a:pt x="400" y="749"/>
                </a:cubicBezTo>
                <a:cubicBezTo>
                  <a:pt x="405" y="749"/>
                  <a:pt x="408" y="745"/>
                  <a:pt x="408" y="740"/>
                </a:cubicBezTo>
                <a:cubicBezTo>
                  <a:pt x="408" y="712"/>
                  <a:pt x="408" y="712"/>
                  <a:pt x="408" y="712"/>
                </a:cubicBezTo>
                <a:cubicBezTo>
                  <a:pt x="413" y="712"/>
                  <a:pt x="417" y="708"/>
                  <a:pt x="417" y="704"/>
                </a:cubicBezTo>
                <a:cubicBezTo>
                  <a:pt x="417" y="664"/>
                  <a:pt x="417" y="664"/>
                  <a:pt x="417" y="664"/>
                </a:cubicBezTo>
                <a:cubicBezTo>
                  <a:pt x="417" y="660"/>
                  <a:pt x="413" y="656"/>
                  <a:pt x="408" y="656"/>
                </a:cubicBezTo>
                <a:cubicBezTo>
                  <a:pt x="380" y="656"/>
                  <a:pt x="379" y="656"/>
                  <a:pt x="379" y="656"/>
                </a:cubicBezTo>
                <a:cubicBezTo>
                  <a:pt x="375" y="656"/>
                  <a:pt x="371" y="660"/>
                  <a:pt x="371" y="664"/>
                </a:cubicBezTo>
                <a:cubicBezTo>
                  <a:pt x="371" y="703"/>
                  <a:pt x="371" y="704"/>
                  <a:pt x="371" y="704"/>
                </a:cubicBezTo>
                <a:cubicBezTo>
                  <a:pt x="371" y="708"/>
                  <a:pt x="375" y="712"/>
                  <a:pt x="379" y="712"/>
                </a:cubicBezTo>
                <a:cubicBezTo>
                  <a:pt x="379" y="740"/>
                  <a:pt x="379" y="740"/>
                  <a:pt x="379" y="740"/>
                </a:cubicBezTo>
                <a:cubicBezTo>
                  <a:pt x="379" y="745"/>
                  <a:pt x="383" y="749"/>
                  <a:pt x="388" y="749"/>
                </a:cubicBezTo>
                <a:close/>
                <a:moveTo>
                  <a:pt x="367" y="777"/>
                </a:moveTo>
                <a:cubicBezTo>
                  <a:pt x="374" y="777"/>
                  <a:pt x="380" y="771"/>
                  <a:pt x="380" y="763"/>
                </a:cubicBezTo>
                <a:cubicBezTo>
                  <a:pt x="380" y="756"/>
                  <a:pt x="374" y="749"/>
                  <a:pt x="367" y="749"/>
                </a:cubicBezTo>
                <a:cubicBezTo>
                  <a:pt x="359" y="749"/>
                  <a:pt x="353" y="756"/>
                  <a:pt x="353" y="763"/>
                </a:cubicBezTo>
                <a:cubicBezTo>
                  <a:pt x="353" y="771"/>
                  <a:pt x="359" y="777"/>
                  <a:pt x="367" y="777"/>
                </a:cubicBezTo>
                <a:close/>
                <a:moveTo>
                  <a:pt x="297" y="267"/>
                </a:moveTo>
                <a:cubicBezTo>
                  <a:pt x="297" y="275"/>
                  <a:pt x="303" y="281"/>
                  <a:pt x="311" y="281"/>
                </a:cubicBezTo>
                <a:cubicBezTo>
                  <a:pt x="318" y="281"/>
                  <a:pt x="325" y="275"/>
                  <a:pt x="325" y="267"/>
                </a:cubicBezTo>
                <a:cubicBezTo>
                  <a:pt x="325" y="260"/>
                  <a:pt x="318" y="253"/>
                  <a:pt x="311" y="253"/>
                </a:cubicBezTo>
                <a:cubicBezTo>
                  <a:pt x="303" y="253"/>
                  <a:pt x="297" y="260"/>
                  <a:pt x="297" y="267"/>
                </a:cubicBezTo>
                <a:close/>
                <a:moveTo>
                  <a:pt x="213" y="391"/>
                </a:moveTo>
                <a:cubicBezTo>
                  <a:pt x="213" y="399"/>
                  <a:pt x="219" y="405"/>
                  <a:pt x="227" y="405"/>
                </a:cubicBezTo>
                <a:cubicBezTo>
                  <a:pt x="234" y="405"/>
                  <a:pt x="240" y="399"/>
                  <a:pt x="240" y="391"/>
                </a:cubicBezTo>
                <a:cubicBezTo>
                  <a:pt x="240" y="384"/>
                  <a:pt x="234" y="377"/>
                  <a:pt x="227" y="377"/>
                </a:cubicBezTo>
                <a:cubicBezTo>
                  <a:pt x="219" y="377"/>
                  <a:pt x="213" y="384"/>
                  <a:pt x="213" y="391"/>
                </a:cubicBezTo>
                <a:close/>
                <a:moveTo>
                  <a:pt x="232" y="292"/>
                </a:moveTo>
                <a:cubicBezTo>
                  <a:pt x="232" y="331"/>
                  <a:pt x="232" y="332"/>
                  <a:pt x="232" y="332"/>
                </a:cubicBezTo>
                <a:cubicBezTo>
                  <a:pt x="232" y="336"/>
                  <a:pt x="236" y="340"/>
                  <a:pt x="241" y="340"/>
                </a:cubicBezTo>
                <a:cubicBezTo>
                  <a:pt x="241" y="368"/>
                  <a:pt x="241" y="368"/>
                  <a:pt x="241" y="368"/>
                </a:cubicBezTo>
                <a:cubicBezTo>
                  <a:pt x="241" y="373"/>
                  <a:pt x="244" y="377"/>
                  <a:pt x="249" y="377"/>
                </a:cubicBezTo>
                <a:cubicBezTo>
                  <a:pt x="261" y="377"/>
                  <a:pt x="261" y="377"/>
                  <a:pt x="261" y="377"/>
                </a:cubicBezTo>
                <a:cubicBezTo>
                  <a:pt x="266" y="377"/>
                  <a:pt x="270" y="373"/>
                  <a:pt x="270" y="368"/>
                </a:cubicBezTo>
                <a:cubicBezTo>
                  <a:pt x="270" y="340"/>
                  <a:pt x="270" y="340"/>
                  <a:pt x="270" y="340"/>
                </a:cubicBezTo>
                <a:cubicBezTo>
                  <a:pt x="274" y="340"/>
                  <a:pt x="278" y="336"/>
                  <a:pt x="278" y="332"/>
                </a:cubicBezTo>
                <a:cubicBezTo>
                  <a:pt x="278" y="292"/>
                  <a:pt x="278" y="292"/>
                  <a:pt x="278" y="292"/>
                </a:cubicBezTo>
                <a:cubicBezTo>
                  <a:pt x="278" y="288"/>
                  <a:pt x="274" y="284"/>
                  <a:pt x="270" y="284"/>
                </a:cubicBezTo>
                <a:cubicBezTo>
                  <a:pt x="241" y="284"/>
                  <a:pt x="241" y="284"/>
                  <a:pt x="241" y="284"/>
                </a:cubicBezTo>
                <a:cubicBezTo>
                  <a:pt x="236" y="284"/>
                  <a:pt x="232" y="288"/>
                  <a:pt x="232" y="292"/>
                </a:cubicBezTo>
                <a:close/>
                <a:moveTo>
                  <a:pt x="103" y="284"/>
                </a:moveTo>
                <a:cubicBezTo>
                  <a:pt x="74" y="284"/>
                  <a:pt x="74" y="284"/>
                  <a:pt x="74" y="284"/>
                </a:cubicBezTo>
                <a:cubicBezTo>
                  <a:pt x="69" y="284"/>
                  <a:pt x="65" y="288"/>
                  <a:pt x="65" y="292"/>
                </a:cubicBezTo>
                <a:cubicBezTo>
                  <a:pt x="65" y="331"/>
                  <a:pt x="65" y="332"/>
                  <a:pt x="65" y="332"/>
                </a:cubicBezTo>
                <a:cubicBezTo>
                  <a:pt x="65" y="336"/>
                  <a:pt x="69" y="340"/>
                  <a:pt x="74" y="340"/>
                </a:cubicBezTo>
                <a:cubicBezTo>
                  <a:pt x="74" y="368"/>
                  <a:pt x="74" y="368"/>
                  <a:pt x="74" y="368"/>
                </a:cubicBezTo>
                <a:cubicBezTo>
                  <a:pt x="74" y="373"/>
                  <a:pt x="77" y="377"/>
                  <a:pt x="82" y="377"/>
                </a:cubicBezTo>
                <a:cubicBezTo>
                  <a:pt x="94" y="377"/>
                  <a:pt x="94" y="377"/>
                  <a:pt x="94" y="377"/>
                </a:cubicBezTo>
                <a:cubicBezTo>
                  <a:pt x="99" y="377"/>
                  <a:pt x="103" y="373"/>
                  <a:pt x="103" y="368"/>
                </a:cubicBezTo>
                <a:cubicBezTo>
                  <a:pt x="103" y="340"/>
                  <a:pt x="103" y="340"/>
                  <a:pt x="103" y="340"/>
                </a:cubicBezTo>
                <a:cubicBezTo>
                  <a:pt x="107" y="340"/>
                  <a:pt x="111" y="336"/>
                  <a:pt x="111" y="332"/>
                </a:cubicBezTo>
                <a:cubicBezTo>
                  <a:pt x="111" y="292"/>
                  <a:pt x="111" y="292"/>
                  <a:pt x="111" y="292"/>
                </a:cubicBezTo>
                <a:cubicBezTo>
                  <a:pt x="111" y="288"/>
                  <a:pt x="107" y="284"/>
                  <a:pt x="103" y="284"/>
                </a:cubicBezTo>
                <a:close/>
                <a:moveTo>
                  <a:pt x="214" y="284"/>
                </a:moveTo>
                <a:cubicBezTo>
                  <a:pt x="185" y="284"/>
                  <a:pt x="185" y="284"/>
                  <a:pt x="185" y="284"/>
                </a:cubicBezTo>
                <a:cubicBezTo>
                  <a:pt x="180" y="284"/>
                  <a:pt x="176" y="288"/>
                  <a:pt x="176" y="292"/>
                </a:cubicBezTo>
                <a:cubicBezTo>
                  <a:pt x="176" y="331"/>
                  <a:pt x="176" y="332"/>
                  <a:pt x="176" y="332"/>
                </a:cubicBezTo>
                <a:cubicBezTo>
                  <a:pt x="176" y="336"/>
                  <a:pt x="180" y="340"/>
                  <a:pt x="185" y="340"/>
                </a:cubicBezTo>
                <a:cubicBezTo>
                  <a:pt x="185" y="368"/>
                  <a:pt x="185" y="368"/>
                  <a:pt x="185" y="368"/>
                </a:cubicBezTo>
                <a:cubicBezTo>
                  <a:pt x="185" y="373"/>
                  <a:pt x="189" y="377"/>
                  <a:pt x="193" y="377"/>
                </a:cubicBezTo>
                <a:cubicBezTo>
                  <a:pt x="206" y="377"/>
                  <a:pt x="206" y="377"/>
                  <a:pt x="206" y="377"/>
                </a:cubicBezTo>
                <a:cubicBezTo>
                  <a:pt x="210" y="377"/>
                  <a:pt x="214" y="373"/>
                  <a:pt x="214" y="368"/>
                </a:cubicBezTo>
                <a:cubicBezTo>
                  <a:pt x="214" y="340"/>
                  <a:pt x="214" y="340"/>
                  <a:pt x="214" y="340"/>
                </a:cubicBezTo>
                <a:cubicBezTo>
                  <a:pt x="219" y="340"/>
                  <a:pt x="223" y="336"/>
                  <a:pt x="223" y="332"/>
                </a:cubicBezTo>
                <a:cubicBezTo>
                  <a:pt x="223" y="292"/>
                  <a:pt x="223" y="292"/>
                  <a:pt x="223" y="292"/>
                </a:cubicBezTo>
                <a:cubicBezTo>
                  <a:pt x="223" y="288"/>
                  <a:pt x="219" y="284"/>
                  <a:pt x="214" y="284"/>
                </a:cubicBezTo>
                <a:close/>
                <a:moveTo>
                  <a:pt x="241" y="267"/>
                </a:moveTo>
                <a:cubicBezTo>
                  <a:pt x="241" y="275"/>
                  <a:pt x="248" y="281"/>
                  <a:pt x="255" y="281"/>
                </a:cubicBezTo>
                <a:cubicBezTo>
                  <a:pt x="263" y="281"/>
                  <a:pt x="269" y="275"/>
                  <a:pt x="269" y="267"/>
                </a:cubicBezTo>
                <a:cubicBezTo>
                  <a:pt x="269" y="260"/>
                  <a:pt x="263" y="253"/>
                  <a:pt x="255" y="253"/>
                </a:cubicBezTo>
                <a:cubicBezTo>
                  <a:pt x="248" y="253"/>
                  <a:pt x="241" y="260"/>
                  <a:pt x="241" y="267"/>
                </a:cubicBezTo>
                <a:close/>
                <a:moveTo>
                  <a:pt x="102" y="391"/>
                </a:moveTo>
                <a:cubicBezTo>
                  <a:pt x="102" y="399"/>
                  <a:pt x="108" y="405"/>
                  <a:pt x="115" y="405"/>
                </a:cubicBezTo>
                <a:cubicBezTo>
                  <a:pt x="123" y="405"/>
                  <a:pt x="129" y="399"/>
                  <a:pt x="129" y="391"/>
                </a:cubicBezTo>
                <a:cubicBezTo>
                  <a:pt x="129" y="384"/>
                  <a:pt x="123" y="377"/>
                  <a:pt x="115" y="377"/>
                </a:cubicBezTo>
                <a:cubicBezTo>
                  <a:pt x="108" y="377"/>
                  <a:pt x="102" y="384"/>
                  <a:pt x="102" y="391"/>
                </a:cubicBezTo>
                <a:close/>
                <a:moveTo>
                  <a:pt x="158" y="284"/>
                </a:moveTo>
                <a:cubicBezTo>
                  <a:pt x="130" y="284"/>
                  <a:pt x="129" y="284"/>
                  <a:pt x="129" y="284"/>
                </a:cubicBezTo>
                <a:cubicBezTo>
                  <a:pt x="125" y="284"/>
                  <a:pt x="121" y="288"/>
                  <a:pt x="121" y="292"/>
                </a:cubicBezTo>
                <a:cubicBezTo>
                  <a:pt x="121" y="331"/>
                  <a:pt x="121" y="332"/>
                  <a:pt x="121" y="332"/>
                </a:cubicBezTo>
                <a:cubicBezTo>
                  <a:pt x="121" y="336"/>
                  <a:pt x="125" y="340"/>
                  <a:pt x="129" y="340"/>
                </a:cubicBezTo>
                <a:cubicBezTo>
                  <a:pt x="129" y="368"/>
                  <a:pt x="129" y="368"/>
                  <a:pt x="129" y="368"/>
                </a:cubicBezTo>
                <a:cubicBezTo>
                  <a:pt x="129" y="373"/>
                  <a:pt x="133" y="377"/>
                  <a:pt x="138" y="377"/>
                </a:cubicBezTo>
                <a:cubicBezTo>
                  <a:pt x="150" y="377"/>
                  <a:pt x="150" y="377"/>
                  <a:pt x="150" y="377"/>
                </a:cubicBezTo>
                <a:cubicBezTo>
                  <a:pt x="155" y="377"/>
                  <a:pt x="158" y="373"/>
                  <a:pt x="158" y="368"/>
                </a:cubicBezTo>
                <a:cubicBezTo>
                  <a:pt x="158" y="340"/>
                  <a:pt x="158" y="340"/>
                  <a:pt x="158" y="340"/>
                </a:cubicBezTo>
                <a:cubicBezTo>
                  <a:pt x="163" y="340"/>
                  <a:pt x="167" y="336"/>
                  <a:pt x="167" y="332"/>
                </a:cubicBezTo>
                <a:cubicBezTo>
                  <a:pt x="167" y="292"/>
                  <a:pt x="167" y="292"/>
                  <a:pt x="167" y="292"/>
                </a:cubicBezTo>
                <a:cubicBezTo>
                  <a:pt x="167" y="288"/>
                  <a:pt x="163" y="284"/>
                  <a:pt x="158" y="284"/>
                </a:cubicBezTo>
                <a:close/>
                <a:moveTo>
                  <a:pt x="157" y="391"/>
                </a:moveTo>
                <a:cubicBezTo>
                  <a:pt x="157" y="399"/>
                  <a:pt x="163" y="405"/>
                  <a:pt x="171" y="405"/>
                </a:cubicBezTo>
                <a:cubicBezTo>
                  <a:pt x="179" y="405"/>
                  <a:pt x="185" y="399"/>
                  <a:pt x="185" y="391"/>
                </a:cubicBezTo>
                <a:cubicBezTo>
                  <a:pt x="185" y="384"/>
                  <a:pt x="179" y="377"/>
                  <a:pt x="171" y="377"/>
                </a:cubicBezTo>
                <a:cubicBezTo>
                  <a:pt x="163" y="377"/>
                  <a:pt x="157" y="384"/>
                  <a:pt x="157" y="391"/>
                </a:cubicBezTo>
                <a:close/>
              </a:path>
            </a:pathLst>
          </a:custGeom>
          <a:solidFill>
            <a:srgbClr val="FFFFFF">
              <a:alpha val="15000"/>
            </a:srgbClr>
          </a:solidFill>
          <a:ln>
            <a:noFill/>
          </a:ln>
        </p:spPr>
        <p:txBody>
          <a:bodyPr vert="horz" wrap="square" lIns="68586" tIns="34293" rIns="68586" bIns="34293" numCol="1" anchor="t" anchorCtr="0" compatLnSpc="1"/>
          <a:lstStyle/>
          <a:p>
            <a:pPr defTabSz="685334">
              <a:defRPr/>
            </a:pPr>
            <a:endParaRPr lang="en-US" sz="1352" kern="0">
              <a:solidFill>
                <a:srgbClr val="000000"/>
              </a:solidFill>
            </a:endParaRPr>
          </a:p>
        </p:txBody>
      </p:sp>
      <p:sp>
        <p:nvSpPr>
          <p:cNvPr id="14" name="Freeform 10"/>
          <p:cNvSpPr>
            <a:spLocks noEditPoints="1"/>
          </p:cNvSpPr>
          <p:nvPr/>
        </p:nvSpPr>
        <p:spPr bwMode="auto">
          <a:xfrm>
            <a:off x="579277" y="3716612"/>
            <a:ext cx="2512433" cy="1437207"/>
          </a:xfrm>
          <a:custGeom>
            <a:avLst/>
            <a:gdLst>
              <a:gd name="T0" fmla="*/ 509 w 1132"/>
              <a:gd name="T1" fmla="*/ 285 h 648"/>
              <a:gd name="T2" fmla="*/ 122 w 1132"/>
              <a:gd name="T3" fmla="*/ 345 h 648"/>
              <a:gd name="T4" fmla="*/ 605 w 1132"/>
              <a:gd name="T5" fmla="*/ 368 h 648"/>
              <a:gd name="T6" fmla="*/ 593 w 1132"/>
              <a:gd name="T7" fmla="*/ 293 h 648"/>
              <a:gd name="T8" fmla="*/ 538 w 1132"/>
              <a:gd name="T9" fmla="*/ 365 h 648"/>
              <a:gd name="T10" fmla="*/ 1025 w 1132"/>
              <a:gd name="T11" fmla="*/ 271 h 648"/>
              <a:gd name="T12" fmla="*/ 817 w 1132"/>
              <a:gd name="T13" fmla="*/ 209 h 648"/>
              <a:gd name="T14" fmla="*/ 732 w 1132"/>
              <a:gd name="T15" fmla="*/ 377 h 648"/>
              <a:gd name="T16" fmla="*/ 1090 w 1132"/>
              <a:gd name="T17" fmla="*/ 347 h 648"/>
              <a:gd name="T18" fmla="*/ 693 w 1132"/>
              <a:gd name="T19" fmla="*/ 345 h 648"/>
              <a:gd name="T20" fmla="*/ 940 w 1132"/>
              <a:gd name="T21" fmla="*/ 451 h 648"/>
              <a:gd name="T22" fmla="*/ 1055 w 1132"/>
              <a:gd name="T23" fmla="*/ 376 h 648"/>
              <a:gd name="T24" fmla="*/ 652 w 1132"/>
              <a:gd name="T25" fmla="*/ 428 h 648"/>
              <a:gd name="T26" fmla="*/ 787 w 1132"/>
              <a:gd name="T27" fmla="*/ 271 h 648"/>
              <a:gd name="T28" fmla="*/ 837 w 1132"/>
              <a:gd name="T29" fmla="*/ 179 h 648"/>
              <a:gd name="T30" fmla="*/ 923 w 1132"/>
              <a:gd name="T31" fmla="*/ 383 h 648"/>
              <a:gd name="T32" fmla="*/ 852 w 1132"/>
              <a:gd name="T33" fmla="*/ 347 h 648"/>
              <a:gd name="T34" fmla="*/ 756 w 1132"/>
              <a:gd name="T35" fmla="*/ 181 h 648"/>
              <a:gd name="T36" fmla="*/ 945 w 1132"/>
              <a:gd name="T37" fmla="*/ 271 h 648"/>
              <a:gd name="T38" fmla="*/ 1002 w 1132"/>
              <a:gd name="T39" fmla="*/ 441 h 648"/>
              <a:gd name="T40" fmla="*/ 932 w 1132"/>
              <a:gd name="T41" fmla="*/ 347 h 648"/>
              <a:gd name="T42" fmla="*/ 613 w 1132"/>
              <a:gd name="T43" fmla="*/ 294 h 648"/>
              <a:gd name="T44" fmla="*/ 280 w 1132"/>
              <a:gd name="T45" fmla="*/ 514 h 648"/>
              <a:gd name="T46" fmla="*/ 582 w 1132"/>
              <a:gd name="T47" fmla="*/ 202 h 648"/>
              <a:gd name="T48" fmla="*/ 486 w 1132"/>
              <a:gd name="T49" fmla="*/ 191 h 648"/>
              <a:gd name="T50" fmla="*/ 503 w 1132"/>
              <a:gd name="T51" fmla="*/ 271 h 648"/>
              <a:gd name="T52" fmla="*/ 553 w 1132"/>
              <a:gd name="T53" fmla="*/ 116 h 648"/>
              <a:gd name="T54" fmla="*/ 616 w 1132"/>
              <a:gd name="T55" fmla="*/ 123 h 648"/>
              <a:gd name="T56" fmla="*/ 764 w 1132"/>
              <a:gd name="T57" fmla="*/ 550 h 648"/>
              <a:gd name="T58" fmla="*/ 804 w 1132"/>
              <a:gd name="T59" fmla="*/ 524 h 648"/>
              <a:gd name="T60" fmla="*/ 935 w 1132"/>
              <a:gd name="T61" fmla="*/ 531 h 648"/>
              <a:gd name="T62" fmla="*/ 843 w 1132"/>
              <a:gd name="T63" fmla="*/ 441 h 648"/>
              <a:gd name="T64" fmla="*/ 910 w 1132"/>
              <a:gd name="T65" fmla="*/ 459 h 648"/>
              <a:gd name="T66" fmla="*/ 678 w 1132"/>
              <a:gd name="T67" fmla="*/ 626 h 648"/>
              <a:gd name="T68" fmla="*/ 631 w 1132"/>
              <a:gd name="T69" fmla="*/ 43 h 648"/>
              <a:gd name="T70" fmla="*/ 870 w 1132"/>
              <a:gd name="T71" fmla="*/ 542 h 648"/>
              <a:gd name="T72" fmla="*/ 525 w 1132"/>
              <a:gd name="T73" fmla="*/ 108 h 648"/>
              <a:gd name="T74" fmla="*/ 662 w 1132"/>
              <a:gd name="T75" fmla="*/ 603 h 648"/>
              <a:gd name="T76" fmla="*/ 257 w 1132"/>
              <a:gd name="T77" fmla="*/ 538 h 648"/>
              <a:gd name="T78" fmla="*/ 487 w 1132"/>
              <a:gd name="T79" fmla="*/ 614 h 648"/>
              <a:gd name="T80" fmla="*/ 151 w 1132"/>
              <a:gd name="T81" fmla="*/ 437 h 648"/>
              <a:gd name="T82" fmla="*/ 350 w 1132"/>
              <a:gd name="T83" fmla="*/ 285 h 648"/>
              <a:gd name="T84" fmla="*/ 399 w 1132"/>
              <a:gd name="T85" fmla="*/ 262 h 648"/>
              <a:gd name="T86" fmla="*/ 317 w 1132"/>
              <a:gd name="T87" fmla="*/ 267 h 648"/>
              <a:gd name="T88" fmla="*/ 407 w 1132"/>
              <a:gd name="T89" fmla="*/ 357 h 648"/>
              <a:gd name="T90" fmla="*/ 367 w 1132"/>
              <a:gd name="T91" fmla="*/ 368 h 648"/>
              <a:gd name="T92" fmla="*/ 180 w 1132"/>
              <a:gd name="T93" fmla="*/ 523 h 648"/>
              <a:gd name="T94" fmla="*/ 234 w 1132"/>
              <a:gd name="T95" fmla="*/ 209 h 648"/>
              <a:gd name="T96" fmla="*/ 169 w 1132"/>
              <a:gd name="T97" fmla="*/ 357 h 648"/>
              <a:gd name="T98" fmla="*/ 446 w 1132"/>
              <a:gd name="T99" fmla="*/ 368 h 648"/>
              <a:gd name="T100" fmla="*/ 208 w 1132"/>
              <a:gd name="T101" fmla="*/ 441 h 648"/>
              <a:gd name="T102" fmla="*/ 593 w 1132"/>
              <a:gd name="T103" fmla="*/ 459 h 648"/>
              <a:gd name="T104" fmla="*/ 486 w 1132"/>
              <a:gd name="T105" fmla="*/ 524 h 648"/>
              <a:gd name="T106" fmla="*/ 476 w 1132"/>
              <a:gd name="T107" fmla="*/ 267 h 648"/>
              <a:gd name="T108" fmla="*/ 526 w 1132"/>
              <a:gd name="T109" fmla="*/ 530 h 648"/>
              <a:gd name="T110" fmla="*/ 658 w 1132"/>
              <a:gd name="T111" fmla="*/ 448 h 648"/>
              <a:gd name="T112" fmla="*/ 628 w 1132"/>
              <a:gd name="T113" fmla="*/ 603 h 648"/>
              <a:gd name="T114" fmla="*/ 423 w 1132"/>
              <a:gd name="T115" fmla="*/ 603 h 648"/>
              <a:gd name="T116" fmla="*/ 407 w 1132"/>
              <a:gd name="T117" fmla="*/ 119 h 648"/>
              <a:gd name="T118" fmla="*/ 287 w 1132"/>
              <a:gd name="T119" fmla="*/ 364 h 648"/>
              <a:gd name="T120" fmla="*/ 399 w 1132"/>
              <a:gd name="T121" fmla="*/ 594 h 648"/>
              <a:gd name="T122" fmla="*/ 328 w 1132"/>
              <a:gd name="T123" fmla="*/ 5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2" h="648">
                <a:moveTo>
                  <a:pt x="122" y="460"/>
                </a:moveTo>
                <a:cubicBezTo>
                  <a:pt x="122" y="460"/>
                  <a:pt x="122" y="460"/>
                  <a:pt x="122" y="476"/>
                </a:cubicBezTo>
                <a:cubicBezTo>
                  <a:pt x="117" y="472"/>
                  <a:pt x="113" y="468"/>
                  <a:pt x="109" y="464"/>
                </a:cubicBezTo>
                <a:cubicBezTo>
                  <a:pt x="113" y="463"/>
                  <a:pt x="116" y="461"/>
                  <a:pt x="116" y="459"/>
                </a:cubicBezTo>
                <a:cubicBezTo>
                  <a:pt x="116" y="455"/>
                  <a:pt x="107" y="452"/>
                  <a:pt x="96" y="451"/>
                </a:cubicBezTo>
                <a:cubicBezTo>
                  <a:pt x="95" y="450"/>
                  <a:pt x="93" y="449"/>
                  <a:pt x="92" y="447"/>
                </a:cubicBezTo>
                <a:cubicBezTo>
                  <a:pt x="95" y="448"/>
                  <a:pt x="99" y="448"/>
                  <a:pt x="102" y="448"/>
                </a:cubicBezTo>
                <a:cubicBezTo>
                  <a:pt x="106" y="449"/>
                  <a:pt x="109" y="450"/>
                  <a:pt x="112" y="451"/>
                </a:cubicBezTo>
                <a:cubicBezTo>
                  <a:pt x="115" y="452"/>
                  <a:pt x="117" y="454"/>
                  <a:pt x="119" y="455"/>
                </a:cubicBezTo>
                <a:cubicBezTo>
                  <a:pt x="121" y="457"/>
                  <a:pt x="122" y="458"/>
                  <a:pt x="122" y="460"/>
                </a:cubicBezTo>
                <a:close/>
                <a:moveTo>
                  <a:pt x="516" y="289"/>
                </a:moveTo>
                <a:cubicBezTo>
                  <a:pt x="518" y="290"/>
                  <a:pt x="519" y="292"/>
                  <a:pt x="519" y="294"/>
                </a:cubicBezTo>
                <a:cubicBezTo>
                  <a:pt x="519" y="294"/>
                  <a:pt x="519" y="294"/>
                  <a:pt x="519" y="345"/>
                </a:cubicBezTo>
                <a:cubicBezTo>
                  <a:pt x="519" y="346"/>
                  <a:pt x="519" y="346"/>
                  <a:pt x="518" y="347"/>
                </a:cubicBezTo>
                <a:cubicBezTo>
                  <a:pt x="518" y="348"/>
                  <a:pt x="517" y="349"/>
                  <a:pt x="516" y="350"/>
                </a:cubicBezTo>
                <a:cubicBezTo>
                  <a:pt x="515" y="351"/>
                  <a:pt x="512" y="353"/>
                  <a:pt x="509" y="354"/>
                </a:cubicBezTo>
                <a:cubicBezTo>
                  <a:pt x="503" y="356"/>
                  <a:pt x="495" y="357"/>
                  <a:pt x="487" y="357"/>
                </a:cubicBezTo>
                <a:cubicBezTo>
                  <a:pt x="487" y="357"/>
                  <a:pt x="487" y="357"/>
                  <a:pt x="487" y="357"/>
                </a:cubicBezTo>
                <a:cubicBezTo>
                  <a:pt x="487" y="357"/>
                  <a:pt x="486" y="357"/>
                  <a:pt x="486" y="357"/>
                </a:cubicBezTo>
                <a:cubicBezTo>
                  <a:pt x="478" y="357"/>
                  <a:pt x="470" y="356"/>
                  <a:pt x="464" y="354"/>
                </a:cubicBezTo>
                <a:cubicBezTo>
                  <a:pt x="461" y="353"/>
                  <a:pt x="458" y="351"/>
                  <a:pt x="457" y="350"/>
                </a:cubicBezTo>
                <a:cubicBezTo>
                  <a:pt x="456" y="349"/>
                  <a:pt x="455" y="348"/>
                  <a:pt x="455" y="347"/>
                </a:cubicBezTo>
                <a:cubicBezTo>
                  <a:pt x="455" y="346"/>
                  <a:pt x="454" y="346"/>
                  <a:pt x="454" y="345"/>
                </a:cubicBezTo>
                <a:cubicBezTo>
                  <a:pt x="454" y="345"/>
                  <a:pt x="454" y="345"/>
                  <a:pt x="454" y="294"/>
                </a:cubicBezTo>
                <a:cubicBezTo>
                  <a:pt x="454" y="292"/>
                  <a:pt x="455" y="290"/>
                  <a:pt x="457" y="289"/>
                </a:cubicBezTo>
                <a:cubicBezTo>
                  <a:pt x="458" y="287"/>
                  <a:pt x="461" y="286"/>
                  <a:pt x="464" y="285"/>
                </a:cubicBezTo>
                <a:cubicBezTo>
                  <a:pt x="467" y="284"/>
                  <a:pt x="470" y="283"/>
                  <a:pt x="474" y="282"/>
                </a:cubicBezTo>
                <a:cubicBezTo>
                  <a:pt x="478" y="281"/>
                  <a:pt x="482" y="281"/>
                  <a:pt x="486" y="281"/>
                </a:cubicBezTo>
                <a:cubicBezTo>
                  <a:pt x="486" y="281"/>
                  <a:pt x="487" y="281"/>
                  <a:pt x="487" y="281"/>
                </a:cubicBezTo>
                <a:cubicBezTo>
                  <a:pt x="487" y="281"/>
                  <a:pt x="487" y="281"/>
                  <a:pt x="487" y="281"/>
                </a:cubicBezTo>
                <a:cubicBezTo>
                  <a:pt x="491" y="281"/>
                  <a:pt x="495" y="281"/>
                  <a:pt x="499" y="282"/>
                </a:cubicBezTo>
                <a:cubicBezTo>
                  <a:pt x="503" y="283"/>
                  <a:pt x="506" y="284"/>
                  <a:pt x="509" y="285"/>
                </a:cubicBezTo>
                <a:cubicBezTo>
                  <a:pt x="512" y="286"/>
                  <a:pt x="515" y="287"/>
                  <a:pt x="516" y="289"/>
                </a:cubicBezTo>
                <a:close/>
                <a:moveTo>
                  <a:pt x="513" y="293"/>
                </a:moveTo>
                <a:cubicBezTo>
                  <a:pt x="513" y="288"/>
                  <a:pt x="501" y="285"/>
                  <a:pt x="487" y="285"/>
                </a:cubicBezTo>
                <a:cubicBezTo>
                  <a:pt x="472" y="285"/>
                  <a:pt x="460" y="288"/>
                  <a:pt x="460" y="293"/>
                </a:cubicBezTo>
                <a:cubicBezTo>
                  <a:pt x="460" y="297"/>
                  <a:pt x="472" y="300"/>
                  <a:pt x="487" y="300"/>
                </a:cubicBezTo>
                <a:cubicBezTo>
                  <a:pt x="501" y="300"/>
                  <a:pt x="513" y="297"/>
                  <a:pt x="513" y="293"/>
                </a:cubicBezTo>
                <a:close/>
                <a:moveTo>
                  <a:pt x="40" y="350"/>
                </a:moveTo>
                <a:cubicBezTo>
                  <a:pt x="40" y="349"/>
                  <a:pt x="41" y="348"/>
                  <a:pt x="41" y="347"/>
                </a:cubicBezTo>
                <a:cubicBezTo>
                  <a:pt x="42" y="346"/>
                  <a:pt x="42" y="346"/>
                  <a:pt x="42" y="345"/>
                </a:cubicBezTo>
                <a:cubicBezTo>
                  <a:pt x="42" y="322"/>
                  <a:pt x="42" y="310"/>
                  <a:pt x="42" y="303"/>
                </a:cubicBezTo>
                <a:cubicBezTo>
                  <a:pt x="0" y="327"/>
                  <a:pt x="0" y="327"/>
                  <a:pt x="0" y="327"/>
                </a:cubicBezTo>
                <a:cubicBezTo>
                  <a:pt x="7" y="337"/>
                  <a:pt x="13" y="347"/>
                  <a:pt x="20" y="357"/>
                </a:cubicBezTo>
                <a:cubicBezTo>
                  <a:pt x="25" y="356"/>
                  <a:pt x="29" y="355"/>
                  <a:pt x="33" y="354"/>
                </a:cubicBezTo>
                <a:cubicBezTo>
                  <a:pt x="36" y="353"/>
                  <a:pt x="38" y="351"/>
                  <a:pt x="40" y="350"/>
                </a:cubicBezTo>
                <a:close/>
                <a:moveTo>
                  <a:pt x="112" y="354"/>
                </a:moveTo>
                <a:cubicBezTo>
                  <a:pt x="106" y="356"/>
                  <a:pt x="98" y="357"/>
                  <a:pt x="89" y="357"/>
                </a:cubicBezTo>
                <a:cubicBezTo>
                  <a:pt x="89" y="357"/>
                  <a:pt x="89" y="357"/>
                  <a:pt x="89" y="357"/>
                </a:cubicBezTo>
                <a:cubicBezTo>
                  <a:pt x="89" y="357"/>
                  <a:pt x="89" y="357"/>
                  <a:pt x="89" y="357"/>
                </a:cubicBezTo>
                <a:cubicBezTo>
                  <a:pt x="80" y="357"/>
                  <a:pt x="72" y="356"/>
                  <a:pt x="67" y="354"/>
                </a:cubicBezTo>
                <a:cubicBezTo>
                  <a:pt x="64" y="353"/>
                  <a:pt x="61" y="351"/>
                  <a:pt x="60" y="350"/>
                </a:cubicBezTo>
                <a:cubicBezTo>
                  <a:pt x="59" y="349"/>
                  <a:pt x="58" y="348"/>
                  <a:pt x="58" y="347"/>
                </a:cubicBezTo>
                <a:cubicBezTo>
                  <a:pt x="57" y="346"/>
                  <a:pt x="57" y="346"/>
                  <a:pt x="57" y="345"/>
                </a:cubicBezTo>
                <a:cubicBezTo>
                  <a:pt x="57" y="345"/>
                  <a:pt x="57" y="345"/>
                  <a:pt x="57" y="294"/>
                </a:cubicBezTo>
                <a:cubicBezTo>
                  <a:pt x="78" y="282"/>
                  <a:pt x="78" y="282"/>
                  <a:pt x="78" y="282"/>
                </a:cubicBezTo>
                <a:cubicBezTo>
                  <a:pt x="81" y="281"/>
                  <a:pt x="85" y="281"/>
                  <a:pt x="89" y="281"/>
                </a:cubicBezTo>
                <a:cubicBezTo>
                  <a:pt x="89" y="281"/>
                  <a:pt x="89" y="281"/>
                  <a:pt x="89" y="281"/>
                </a:cubicBezTo>
                <a:cubicBezTo>
                  <a:pt x="89" y="281"/>
                  <a:pt x="89" y="281"/>
                  <a:pt x="89" y="281"/>
                </a:cubicBezTo>
                <a:cubicBezTo>
                  <a:pt x="94" y="281"/>
                  <a:pt x="98" y="281"/>
                  <a:pt x="102" y="282"/>
                </a:cubicBezTo>
                <a:cubicBezTo>
                  <a:pt x="106" y="283"/>
                  <a:pt x="109" y="284"/>
                  <a:pt x="112" y="285"/>
                </a:cubicBezTo>
                <a:cubicBezTo>
                  <a:pt x="115" y="286"/>
                  <a:pt x="117" y="287"/>
                  <a:pt x="119" y="289"/>
                </a:cubicBezTo>
                <a:cubicBezTo>
                  <a:pt x="121" y="290"/>
                  <a:pt x="122" y="292"/>
                  <a:pt x="122" y="294"/>
                </a:cubicBezTo>
                <a:cubicBezTo>
                  <a:pt x="122" y="294"/>
                  <a:pt x="122" y="294"/>
                  <a:pt x="122" y="345"/>
                </a:cubicBezTo>
                <a:cubicBezTo>
                  <a:pt x="122" y="346"/>
                  <a:pt x="121" y="346"/>
                  <a:pt x="121" y="347"/>
                </a:cubicBezTo>
                <a:cubicBezTo>
                  <a:pt x="120" y="348"/>
                  <a:pt x="120" y="349"/>
                  <a:pt x="119" y="350"/>
                </a:cubicBezTo>
                <a:cubicBezTo>
                  <a:pt x="117" y="351"/>
                  <a:pt x="115" y="353"/>
                  <a:pt x="112" y="354"/>
                </a:cubicBezTo>
                <a:close/>
                <a:moveTo>
                  <a:pt x="116" y="293"/>
                </a:moveTo>
                <a:cubicBezTo>
                  <a:pt x="116" y="288"/>
                  <a:pt x="104" y="285"/>
                  <a:pt x="89" y="285"/>
                </a:cubicBezTo>
                <a:cubicBezTo>
                  <a:pt x="75" y="285"/>
                  <a:pt x="63" y="288"/>
                  <a:pt x="63" y="293"/>
                </a:cubicBezTo>
                <a:cubicBezTo>
                  <a:pt x="63" y="297"/>
                  <a:pt x="75" y="300"/>
                  <a:pt x="89" y="300"/>
                </a:cubicBezTo>
                <a:cubicBezTo>
                  <a:pt x="104" y="300"/>
                  <a:pt x="116" y="297"/>
                  <a:pt x="116" y="293"/>
                </a:cubicBezTo>
                <a:close/>
                <a:moveTo>
                  <a:pt x="605" y="364"/>
                </a:moveTo>
                <a:cubicBezTo>
                  <a:pt x="609" y="364"/>
                  <a:pt x="614" y="365"/>
                  <a:pt x="617" y="365"/>
                </a:cubicBezTo>
                <a:cubicBezTo>
                  <a:pt x="621" y="366"/>
                  <a:pt x="625" y="367"/>
                  <a:pt x="628" y="368"/>
                </a:cubicBezTo>
                <a:cubicBezTo>
                  <a:pt x="631" y="369"/>
                  <a:pt x="633" y="370"/>
                  <a:pt x="635" y="372"/>
                </a:cubicBezTo>
                <a:cubicBezTo>
                  <a:pt x="636" y="373"/>
                  <a:pt x="637" y="375"/>
                  <a:pt x="637" y="377"/>
                </a:cubicBezTo>
                <a:cubicBezTo>
                  <a:pt x="637" y="377"/>
                  <a:pt x="637" y="377"/>
                  <a:pt x="637" y="428"/>
                </a:cubicBezTo>
                <a:cubicBezTo>
                  <a:pt x="637" y="429"/>
                  <a:pt x="637" y="430"/>
                  <a:pt x="637" y="430"/>
                </a:cubicBezTo>
                <a:cubicBezTo>
                  <a:pt x="636" y="431"/>
                  <a:pt x="635" y="432"/>
                  <a:pt x="635" y="433"/>
                </a:cubicBezTo>
                <a:cubicBezTo>
                  <a:pt x="633" y="434"/>
                  <a:pt x="631" y="436"/>
                  <a:pt x="628" y="437"/>
                </a:cubicBezTo>
                <a:cubicBezTo>
                  <a:pt x="622" y="439"/>
                  <a:pt x="614" y="441"/>
                  <a:pt x="605" y="441"/>
                </a:cubicBezTo>
                <a:cubicBezTo>
                  <a:pt x="605" y="441"/>
                  <a:pt x="605" y="441"/>
                  <a:pt x="605" y="441"/>
                </a:cubicBezTo>
                <a:cubicBezTo>
                  <a:pt x="605" y="441"/>
                  <a:pt x="605" y="441"/>
                  <a:pt x="605" y="441"/>
                </a:cubicBezTo>
                <a:cubicBezTo>
                  <a:pt x="596" y="441"/>
                  <a:pt x="588" y="439"/>
                  <a:pt x="582" y="437"/>
                </a:cubicBezTo>
                <a:cubicBezTo>
                  <a:pt x="579" y="436"/>
                  <a:pt x="577" y="434"/>
                  <a:pt x="575" y="433"/>
                </a:cubicBezTo>
                <a:cubicBezTo>
                  <a:pt x="574" y="432"/>
                  <a:pt x="574" y="431"/>
                  <a:pt x="573" y="430"/>
                </a:cubicBezTo>
                <a:cubicBezTo>
                  <a:pt x="573" y="430"/>
                  <a:pt x="573" y="429"/>
                  <a:pt x="573" y="428"/>
                </a:cubicBezTo>
                <a:cubicBezTo>
                  <a:pt x="573" y="428"/>
                  <a:pt x="573" y="428"/>
                  <a:pt x="573" y="377"/>
                </a:cubicBezTo>
                <a:cubicBezTo>
                  <a:pt x="573" y="375"/>
                  <a:pt x="574" y="373"/>
                  <a:pt x="575" y="372"/>
                </a:cubicBezTo>
                <a:cubicBezTo>
                  <a:pt x="577" y="370"/>
                  <a:pt x="579" y="369"/>
                  <a:pt x="582" y="368"/>
                </a:cubicBezTo>
                <a:cubicBezTo>
                  <a:pt x="585" y="367"/>
                  <a:pt x="589" y="366"/>
                  <a:pt x="592" y="365"/>
                </a:cubicBezTo>
                <a:cubicBezTo>
                  <a:pt x="596" y="365"/>
                  <a:pt x="600" y="364"/>
                  <a:pt x="605" y="364"/>
                </a:cubicBezTo>
                <a:cubicBezTo>
                  <a:pt x="605" y="364"/>
                  <a:pt x="605" y="364"/>
                  <a:pt x="605" y="364"/>
                </a:cubicBezTo>
                <a:cubicBezTo>
                  <a:pt x="605" y="364"/>
                  <a:pt x="605" y="364"/>
                  <a:pt x="605" y="364"/>
                </a:cubicBezTo>
                <a:close/>
                <a:moveTo>
                  <a:pt x="605" y="368"/>
                </a:moveTo>
                <a:cubicBezTo>
                  <a:pt x="590" y="368"/>
                  <a:pt x="578" y="371"/>
                  <a:pt x="578" y="376"/>
                </a:cubicBezTo>
                <a:cubicBezTo>
                  <a:pt x="578" y="380"/>
                  <a:pt x="590" y="383"/>
                  <a:pt x="605" y="383"/>
                </a:cubicBezTo>
                <a:cubicBezTo>
                  <a:pt x="620" y="383"/>
                  <a:pt x="631" y="380"/>
                  <a:pt x="631" y="376"/>
                </a:cubicBezTo>
                <a:cubicBezTo>
                  <a:pt x="631" y="371"/>
                  <a:pt x="620" y="368"/>
                  <a:pt x="605" y="368"/>
                </a:cubicBezTo>
                <a:close/>
                <a:moveTo>
                  <a:pt x="596" y="289"/>
                </a:moveTo>
                <a:cubicBezTo>
                  <a:pt x="597" y="290"/>
                  <a:pt x="598" y="292"/>
                  <a:pt x="598" y="294"/>
                </a:cubicBezTo>
                <a:cubicBezTo>
                  <a:pt x="598" y="294"/>
                  <a:pt x="598" y="294"/>
                  <a:pt x="598" y="345"/>
                </a:cubicBezTo>
                <a:cubicBezTo>
                  <a:pt x="598" y="346"/>
                  <a:pt x="598" y="346"/>
                  <a:pt x="598" y="347"/>
                </a:cubicBezTo>
                <a:cubicBezTo>
                  <a:pt x="597" y="348"/>
                  <a:pt x="597" y="349"/>
                  <a:pt x="596" y="350"/>
                </a:cubicBezTo>
                <a:cubicBezTo>
                  <a:pt x="594" y="351"/>
                  <a:pt x="592" y="353"/>
                  <a:pt x="589" y="354"/>
                </a:cubicBezTo>
                <a:cubicBezTo>
                  <a:pt x="583" y="356"/>
                  <a:pt x="575" y="357"/>
                  <a:pt x="566" y="357"/>
                </a:cubicBezTo>
                <a:cubicBezTo>
                  <a:pt x="566" y="357"/>
                  <a:pt x="566" y="357"/>
                  <a:pt x="566" y="357"/>
                </a:cubicBezTo>
                <a:cubicBezTo>
                  <a:pt x="566" y="357"/>
                  <a:pt x="566" y="357"/>
                  <a:pt x="566" y="357"/>
                </a:cubicBezTo>
                <a:cubicBezTo>
                  <a:pt x="557" y="357"/>
                  <a:pt x="549" y="356"/>
                  <a:pt x="543" y="354"/>
                </a:cubicBezTo>
                <a:cubicBezTo>
                  <a:pt x="540" y="353"/>
                  <a:pt x="538" y="351"/>
                  <a:pt x="536" y="350"/>
                </a:cubicBezTo>
                <a:cubicBezTo>
                  <a:pt x="535" y="349"/>
                  <a:pt x="535" y="348"/>
                  <a:pt x="534" y="347"/>
                </a:cubicBezTo>
                <a:cubicBezTo>
                  <a:pt x="534" y="346"/>
                  <a:pt x="534" y="346"/>
                  <a:pt x="534" y="345"/>
                </a:cubicBezTo>
                <a:cubicBezTo>
                  <a:pt x="534" y="345"/>
                  <a:pt x="534" y="345"/>
                  <a:pt x="534" y="294"/>
                </a:cubicBezTo>
                <a:cubicBezTo>
                  <a:pt x="534" y="292"/>
                  <a:pt x="535" y="290"/>
                  <a:pt x="536" y="289"/>
                </a:cubicBezTo>
                <a:cubicBezTo>
                  <a:pt x="538" y="287"/>
                  <a:pt x="540" y="286"/>
                  <a:pt x="543" y="285"/>
                </a:cubicBezTo>
                <a:cubicBezTo>
                  <a:pt x="546" y="284"/>
                  <a:pt x="550" y="283"/>
                  <a:pt x="553" y="282"/>
                </a:cubicBezTo>
                <a:cubicBezTo>
                  <a:pt x="557" y="281"/>
                  <a:pt x="561" y="281"/>
                  <a:pt x="566" y="281"/>
                </a:cubicBezTo>
                <a:cubicBezTo>
                  <a:pt x="566" y="281"/>
                  <a:pt x="566" y="281"/>
                  <a:pt x="566" y="281"/>
                </a:cubicBezTo>
                <a:cubicBezTo>
                  <a:pt x="566" y="281"/>
                  <a:pt x="566" y="281"/>
                  <a:pt x="566" y="281"/>
                </a:cubicBezTo>
                <a:cubicBezTo>
                  <a:pt x="570" y="281"/>
                  <a:pt x="575" y="281"/>
                  <a:pt x="578" y="282"/>
                </a:cubicBezTo>
                <a:cubicBezTo>
                  <a:pt x="582" y="283"/>
                  <a:pt x="586" y="284"/>
                  <a:pt x="589" y="285"/>
                </a:cubicBezTo>
                <a:cubicBezTo>
                  <a:pt x="592" y="286"/>
                  <a:pt x="594" y="287"/>
                  <a:pt x="596" y="289"/>
                </a:cubicBezTo>
                <a:close/>
                <a:moveTo>
                  <a:pt x="593" y="293"/>
                </a:moveTo>
                <a:cubicBezTo>
                  <a:pt x="593" y="288"/>
                  <a:pt x="581" y="285"/>
                  <a:pt x="566" y="285"/>
                </a:cubicBezTo>
                <a:cubicBezTo>
                  <a:pt x="551" y="285"/>
                  <a:pt x="539" y="288"/>
                  <a:pt x="539" y="293"/>
                </a:cubicBezTo>
                <a:cubicBezTo>
                  <a:pt x="539" y="297"/>
                  <a:pt x="551" y="300"/>
                  <a:pt x="566" y="300"/>
                </a:cubicBezTo>
                <a:cubicBezTo>
                  <a:pt x="581" y="300"/>
                  <a:pt x="593" y="297"/>
                  <a:pt x="593" y="293"/>
                </a:cubicBezTo>
                <a:close/>
                <a:moveTo>
                  <a:pt x="128" y="274"/>
                </a:moveTo>
                <a:cubicBezTo>
                  <a:pt x="128" y="274"/>
                  <a:pt x="128" y="274"/>
                  <a:pt x="128" y="274"/>
                </a:cubicBezTo>
                <a:cubicBezTo>
                  <a:pt x="137" y="274"/>
                  <a:pt x="145" y="273"/>
                  <a:pt x="151" y="271"/>
                </a:cubicBezTo>
                <a:cubicBezTo>
                  <a:pt x="154" y="269"/>
                  <a:pt x="156" y="268"/>
                  <a:pt x="158" y="267"/>
                </a:cubicBezTo>
                <a:cubicBezTo>
                  <a:pt x="159" y="266"/>
                  <a:pt x="159" y="265"/>
                  <a:pt x="160" y="264"/>
                </a:cubicBezTo>
                <a:cubicBezTo>
                  <a:pt x="160" y="263"/>
                  <a:pt x="161" y="262"/>
                  <a:pt x="161" y="262"/>
                </a:cubicBezTo>
                <a:cubicBezTo>
                  <a:pt x="161" y="250"/>
                  <a:pt x="161" y="241"/>
                  <a:pt x="161" y="234"/>
                </a:cubicBezTo>
                <a:cubicBezTo>
                  <a:pt x="101" y="268"/>
                  <a:pt x="101" y="268"/>
                  <a:pt x="101" y="268"/>
                </a:cubicBezTo>
                <a:cubicBezTo>
                  <a:pt x="102" y="269"/>
                  <a:pt x="104" y="270"/>
                  <a:pt x="106" y="271"/>
                </a:cubicBezTo>
                <a:cubicBezTo>
                  <a:pt x="111" y="273"/>
                  <a:pt x="119" y="274"/>
                  <a:pt x="128" y="274"/>
                </a:cubicBezTo>
                <a:cubicBezTo>
                  <a:pt x="128" y="274"/>
                  <a:pt x="128" y="274"/>
                  <a:pt x="128" y="274"/>
                </a:cubicBezTo>
                <a:close/>
                <a:moveTo>
                  <a:pt x="80" y="430"/>
                </a:moveTo>
                <a:cubicBezTo>
                  <a:pt x="81" y="430"/>
                  <a:pt x="81" y="429"/>
                  <a:pt x="81" y="428"/>
                </a:cubicBezTo>
                <a:cubicBezTo>
                  <a:pt x="81" y="377"/>
                  <a:pt x="81" y="377"/>
                  <a:pt x="81" y="377"/>
                </a:cubicBezTo>
                <a:cubicBezTo>
                  <a:pt x="81" y="375"/>
                  <a:pt x="80" y="373"/>
                  <a:pt x="79" y="372"/>
                </a:cubicBezTo>
                <a:cubicBezTo>
                  <a:pt x="77" y="370"/>
                  <a:pt x="75" y="369"/>
                  <a:pt x="72" y="368"/>
                </a:cubicBezTo>
                <a:cubicBezTo>
                  <a:pt x="69" y="367"/>
                  <a:pt x="65" y="366"/>
                  <a:pt x="61" y="365"/>
                </a:cubicBezTo>
                <a:cubicBezTo>
                  <a:pt x="58" y="365"/>
                  <a:pt x="53" y="364"/>
                  <a:pt x="49" y="364"/>
                </a:cubicBezTo>
                <a:cubicBezTo>
                  <a:pt x="49" y="364"/>
                  <a:pt x="49" y="364"/>
                  <a:pt x="49" y="364"/>
                </a:cubicBezTo>
                <a:cubicBezTo>
                  <a:pt x="49" y="364"/>
                  <a:pt x="49" y="364"/>
                  <a:pt x="49" y="364"/>
                </a:cubicBezTo>
                <a:cubicBezTo>
                  <a:pt x="44" y="364"/>
                  <a:pt x="40" y="365"/>
                  <a:pt x="36" y="365"/>
                </a:cubicBezTo>
                <a:cubicBezTo>
                  <a:pt x="33" y="366"/>
                  <a:pt x="30" y="367"/>
                  <a:pt x="27" y="368"/>
                </a:cubicBezTo>
                <a:cubicBezTo>
                  <a:pt x="28" y="369"/>
                  <a:pt x="28" y="370"/>
                  <a:pt x="29" y="371"/>
                </a:cubicBezTo>
                <a:cubicBezTo>
                  <a:pt x="34" y="369"/>
                  <a:pt x="41" y="368"/>
                  <a:pt x="49" y="368"/>
                </a:cubicBezTo>
                <a:cubicBezTo>
                  <a:pt x="64" y="368"/>
                  <a:pt x="75" y="371"/>
                  <a:pt x="75" y="376"/>
                </a:cubicBezTo>
                <a:cubicBezTo>
                  <a:pt x="75" y="380"/>
                  <a:pt x="64" y="383"/>
                  <a:pt x="49" y="383"/>
                </a:cubicBezTo>
                <a:cubicBezTo>
                  <a:pt x="45" y="383"/>
                  <a:pt x="41" y="383"/>
                  <a:pt x="37" y="383"/>
                </a:cubicBezTo>
                <a:cubicBezTo>
                  <a:pt x="50" y="400"/>
                  <a:pt x="64" y="417"/>
                  <a:pt x="78" y="433"/>
                </a:cubicBezTo>
                <a:cubicBezTo>
                  <a:pt x="78" y="433"/>
                  <a:pt x="79" y="433"/>
                  <a:pt x="79" y="433"/>
                </a:cubicBezTo>
                <a:cubicBezTo>
                  <a:pt x="79" y="432"/>
                  <a:pt x="80" y="431"/>
                  <a:pt x="80" y="430"/>
                </a:cubicBezTo>
                <a:close/>
                <a:moveTo>
                  <a:pt x="526" y="364"/>
                </a:moveTo>
                <a:cubicBezTo>
                  <a:pt x="530" y="364"/>
                  <a:pt x="534" y="365"/>
                  <a:pt x="538" y="365"/>
                </a:cubicBezTo>
                <a:cubicBezTo>
                  <a:pt x="542" y="366"/>
                  <a:pt x="545" y="367"/>
                  <a:pt x="548" y="368"/>
                </a:cubicBezTo>
                <a:cubicBezTo>
                  <a:pt x="551" y="369"/>
                  <a:pt x="554" y="370"/>
                  <a:pt x="555" y="372"/>
                </a:cubicBezTo>
                <a:cubicBezTo>
                  <a:pt x="557" y="373"/>
                  <a:pt x="558" y="375"/>
                  <a:pt x="558" y="377"/>
                </a:cubicBezTo>
                <a:cubicBezTo>
                  <a:pt x="558" y="377"/>
                  <a:pt x="558" y="377"/>
                  <a:pt x="558" y="428"/>
                </a:cubicBezTo>
                <a:cubicBezTo>
                  <a:pt x="558" y="429"/>
                  <a:pt x="558" y="430"/>
                  <a:pt x="557" y="430"/>
                </a:cubicBezTo>
                <a:cubicBezTo>
                  <a:pt x="557" y="431"/>
                  <a:pt x="556" y="432"/>
                  <a:pt x="555" y="433"/>
                </a:cubicBezTo>
                <a:cubicBezTo>
                  <a:pt x="554" y="434"/>
                  <a:pt x="551" y="436"/>
                  <a:pt x="548" y="437"/>
                </a:cubicBezTo>
                <a:cubicBezTo>
                  <a:pt x="542" y="439"/>
                  <a:pt x="534" y="441"/>
                  <a:pt x="526" y="441"/>
                </a:cubicBezTo>
                <a:cubicBezTo>
                  <a:pt x="526" y="441"/>
                  <a:pt x="526" y="441"/>
                  <a:pt x="525" y="441"/>
                </a:cubicBezTo>
                <a:cubicBezTo>
                  <a:pt x="525" y="441"/>
                  <a:pt x="525" y="441"/>
                  <a:pt x="525" y="441"/>
                </a:cubicBezTo>
                <a:cubicBezTo>
                  <a:pt x="517" y="441"/>
                  <a:pt x="509" y="439"/>
                  <a:pt x="503" y="437"/>
                </a:cubicBezTo>
                <a:cubicBezTo>
                  <a:pt x="500" y="436"/>
                  <a:pt x="497" y="434"/>
                  <a:pt x="496" y="433"/>
                </a:cubicBezTo>
                <a:cubicBezTo>
                  <a:pt x="495" y="432"/>
                  <a:pt x="494" y="431"/>
                  <a:pt x="494" y="430"/>
                </a:cubicBezTo>
                <a:cubicBezTo>
                  <a:pt x="493" y="430"/>
                  <a:pt x="493" y="429"/>
                  <a:pt x="493" y="428"/>
                </a:cubicBezTo>
                <a:cubicBezTo>
                  <a:pt x="493" y="428"/>
                  <a:pt x="493" y="428"/>
                  <a:pt x="493" y="377"/>
                </a:cubicBezTo>
                <a:cubicBezTo>
                  <a:pt x="493" y="375"/>
                  <a:pt x="494" y="373"/>
                  <a:pt x="496" y="372"/>
                </a:cubicBezTo>
                <a:cubicBezTo>
                  <a:pt x="497" y="370"/>
                  <a:pt x="500" y="369"/>
                  <a:pt x="503" y="368"/>
                </a:cubicBezTo>
                <a:cubicBezTo>
                  <a:pt x="506" y="367"/>
                  <a:pt x="509" y="366"/>
                  <a:pt x="513" y="365"/>
                </a:cubicBezTo>
                <a:cubicBezTo>
                  <a:pt x="517" y="365"/>
                  <a:pt x="521" y="364"/>
                  <a:pt x="525" y="364"/>
                </a:cubicBezTo>
                <a:cubicBezTo>
                  <a:pt x="525" y="364"/>
                  <a:pt x="525" y="364"/>
                  <a:pt x="525" y="364"/>
                </a:cubicBezTo>
                <a:cubicBezTo>
                  <a:pt x="526" y="364"/>
                  <a:pt x="526" y="364"/>
                  <a:pt x="526" y="364"/>
                </a:cubicBezTo>
                <a:close/>
                <a:moveTo>
                  <a:pt x="525" y="368"/>
                </a:moveTo>
                <a:cubicBezTo>
                  <a:pt x="511" y="368"/>
                  <a:pt x="499" y="371"/>
                  <a:pt x="499" y="376"/>
                </a:cubicBezTo>
                <a:cubicBezTo>
                  <a:pt x="499" y="380"/>
                  <a:pt x="511" y="383"/>
                  <a:pt x="525" y="383"/>
                </a:cubicBezTo>
                <a:cubicBezTo>
                  <a:pt x="540" y="383"/>
                  <a:pt x="552" y="380"/>
                  <a:pt x="552" y="376"/>
                </a:cubicBezTo>
                <a:cubicBezTo>
                  <a:pt x="552" y="371"/>
                  <a:pt x="540" y="368"/>
                  <a:pt x="525" y="368"/>
                </a:cubicBezTo>
                <a:close/>
                <a:moveTo>
                  <a:pt x="972" y="267"/>
                </a:moveTo>
                <a:cubicBezTo>
                  <a:pt x="974" y="268"/>
                  <a:pt x="976" y="269"/>
                  <a:pt x="979" y="271"/>
                </a:cubicBezTo>
                <a:cubicBezTo>
                  <a:pt x="985" y="273"/>
                  <a:pt x="993" y="274"/>
                  <a:pt x="1002" y="274"/>
                </a:cubicBezTo>
                <a:cubicBezTo>
                  <a:pt x="1002" y="274"/>
                  <a:pt x="1002" y="274"/>
                  <a:pt x="1002" y="274"/>
                </a:cubicBezTo>
                <a:cubicBezTo>
                  <a:pt x="1002" y="274"/>
                  <a:pt x="1002" y="274"/>
                  <a:pt x="1002" y="274"/>
                </a:cubicBezTo>
                <a:cubicBezTo>
                  <a:pt x="1011" y="274"/>
                  <a:pt x="1019" y="273"/>
                  <a:pt x="1025" y="271"/>
                </a:cubicBezTo>
                <a:cubicBezTo>
                  <a:pt x="1027" y="270"/>
                  <a:pt x="1029" y="269"/>
                  <a:pt x="1030" y="268"/>
                </a:cubicBezTo>
                <a:cubicBezTo>
                  <a:pt x="970" y="233"/>
                  <a:pt x="970" y="233"/>
                  <a:pt x="970" y="233"/>
                </a:cubicBezTo>
                <a:cubicBezTo>
                  <a:pt x="970" y="262"/>
                  <a:pt x="970" y="262"/>
                  <a:pt x="970" y="262"/>
                </a:cubicBezTo>
                <a:cubicBezTo>
                  <a:pt x="970" y="262"/>
                  <a:pt x="970" y="263"/>
                  <a:pt x="971" y="264"/>
                </a:cubicBezTo>
                <a:cubicBezTo>
                  <a:pt x="971" y="265"/>
                  <a:pt x="972" y="266"/>
                  <a:pt x="972" y="267"/>
                </a:cubicBezTo>
                <a:close/>
                <a:moveTo>
                  <a:pt x="843" y="274"/>
                </a:moveTo>
                <a:cubicBezTo>
                  <a:pt x="834" y="274"/>
                  <a:pt x="826" y="273"/>
                  <a:pt x="820" y="271"/>
                </a:cubicBezTo>
                <a:cubicBezTo>
                  <a:pt x="818" y="269"/>
                  <a:pt x="815" y="268"/>
                  <a:pt x="814" y="267"/>
                </a:cubicBezTo>
                <a:cubicBezTo>
                  <a:pt x="813" y="266"/>
                  <a:pt x="812" y="265"/>
                  <a:pt x="812" y="264"/>
                </a:cubicBezTo>
                <a:cubicBezTo>
                  <a:pt x="811" y="263"/>
                  <a:pt x="811" y="262"/>
                  <a:pt x="811" y="262"/>
                </a:cubicBezTo>
                <a:cubicBezTo>
                  <a:pt x="811" y="262"/>
                  <a:pt x="811" y="262"/>
                  <a:pt x="811" y="211"/>
                </a:cubicBezTo>
                <a:cubicBezTo>
                  <a:pt x="811" y="209"/>
                  <a:pt x="812" y="207"/>
                  <a:pt x="814" y="206"/>
                </a:cubicBezTo>
                <a:cubicBezTo>
                  <a:pt x="815" y="204"/>
                  <a:pt x="818" y="203"/>
                  <a:pt x="820" y="202"/>
                </a:cubicBezTo>
                <a:cubicBezTo>
                  <a:pt x="823" y="201"/>
                  <a:pt x="827" y="200"/>
                  <a:pt x="831" y="199"/>
                </a:cubicBezTo>
                <a:cubicBezTo>
                  <a:pt x="835" y="198"/>
                  <a:pt x="839" y="198"/>
                  <a:pt x="843" y="198"/>
                </a:cubicBezTo>
                <a:cubicBezTo>
                  <a:pt x="843" y="198"/>
                  <a:pt x="843" y="198"/>
                  <a:pt x="843" y="198"/>
                </a:cubicBezTo>
                <a:cubicBezTo>
                  <a:pt x="843" y="198"/>
                  <a:pt x="843" y="198"/>
                  <a:pt x="843" y="198"/>
                </a:cubicBezTo>
                <a:cubicBezTo>
                  <a:pt x="848" y="198"/>
                  <a:pt x="852" y="198"/>
                  <a:pt x="856" y="199"/>
                </a:cubicBezTo>
                <a:cubicBezTo>
                  <a:pt x="860" y="200"/>
                  <a:pt x="863" y="201"/>
                  <a:pt x="866" y="202"/>
                </a:cubicBezTo>
                <a:cubicBezTo>
                  <a:pt x="869" y="203"/>
                  <a:pt x="871" y="204"/>
                  <a:pt x="873" y="206"/>
                </a:cubicBezTo>
                <a:cubicBezTo>
                  <a:pt x="875" y="207"/>
                  <a:pt x="875" y="209"/>
                  <a:pt x="875" y="211"/>
                </a:cubicBezTo>
                <a:cubicBezTo>
                  <a:pt x="875" y="211"/>
                  <a:pt x="875" y="211"/>
                  <a:pt x="875" y="262"/>
                </a:cubicBezTo>
                <a:cubicBezTo>
                  <a:pt x="875" y="262"/>
                  <a:pt x="875" y="263"/>
                  <a:pt x="875" y="264"/>
                </a:cubicBezTo>
                <a:cubicBezTo>
                  <a:pt x="874" y="265"/>
                  <a:pt x="874" y="266"/>
                  <a:pt x="873" y="267"/>
                </a:cubicBezTo>
                <a:cubicBezTo>
                  <a:pt x="871" y="268"/>
                  <a:pt x="869" y="269"/>
                  <a:pt x="866" y="271"/>
                </a:cubicBezTo>
                <a:cubicBezTo>
                  <a:pt x="860" y="273"/>
                  <a:pt x="852" y="274"/>
                  <a:pt x="843" y="274"/>
                </a:cubicBezTo>
                <a:cubicBezTo>
                  <a:pt x="843" y="274"/>
                  <a:pt x="843" y="274"/>
                  <a:pt x="843" y="274"/>
                </a:cubicBezTo>
                <a:cubicBezTo>
                  <a:pt x="843" y="274"/>
                  <a:pt x="843" y="274"/>
                  <a:pt x="843" y="274"/>
                </a:cubicBezTo>
                <a:close/>
                <a:moveTo>
                  <a:pt x="843" y="217"/>
                </a:moveTo>
                <a:cubicBezTo>
                  <a:pt x="858" y="217"/>
                  <a:pt x="870" y="214"/>
                  <a:pt x="870" y="209"/>
                </a:cubicBezTo>
                <a:cubicBezTo>
                  <a:pt x="870" y="205"/>
                  <a:pt x="858" y="202"/>
                  <a:pt x="843" y="202"/>
                </a:cubicBezTo>
                <a:cubicBezTo>
                  <a:pt x="829" y="202"/>
                  <a:pt x="817" y="205"/>
                  <a:pt x="817" y="209"/>
                </a:cubicBezTo>
                <a:cubicBezTo>
                  <a:pt x="817" y="214"/>
                  <a:pt x="829" y="217"/>
                  <a:pt x="843" y="217"/>
                </a:cubicBezTo>
                <a:close/>
                <a:moveTo>
                  <a:pt x="804" y="357"/>
                </a:moveTo>
                <a:cubicBezTo>
                  <a:pt x="795" y="357"/>
                  <a:pt x="787" y="356"/>
                  <a:pt x="782" y="354"/>
                </a:cubicBezTo>
                <a:cubicBezTo>
                  <a:pt x="779" y="353"/>
                  <a:pt x="776" y="351"/>
                  <a:pt x="775" y="350"/>
                </a:cubicBezTo>
                <a:cubicBezTo>
                  <a:pt x="774" y="349"/>
                  <a:pt x="773" y="348"/>
                  <a:pt x="773" y="347"/>
                </a:cubicBezTo>
                <a:cubicBezTo>
                  <a:pt x="772" y="346"/>
                  <a:pt x="772" y="346"/>
                  <a:pt x="772" y="345"/>
                </a:cubicBezTo>
                <a:cubicBezTo>
                  <a:pt x="772" y="345"/>
                  <a:pt x="772" y="345"/>
                  <a:pt x="772" y="294"/>
                </a:cubicBezTo>
                <a:cubicBezTo>
                  <a:pt x="772" y="292"/>
                  <a:pt x="773" y="290"/>
                  <a:pt x="775" y="289"/>
                </a:cubicBezTo>
                <a:cubicBezTo>
                  <a:pt x="776" y="287"/>
                  <a:pt x="779" y="286"/>
                  <a:pt x="782" y="285"/>
                </a:cubicBezTo>
                <a:cubicBezTo>
                  <a:pt x="784" y="284"/>
                  <a:pt x="788" y="283"/>
                  <a:pt x="792" y="282"/>
                </a:cubicBezTo>
                <a:cubicBezTo>
                  <a:pt x="796" y="281"/>
                  <a:pt x="800" y="281"/>
                  <a:pt x="804" y="281"/>
                </a:cubicBezTo>
                <a:cubicBezTo>
                  <a:pt x="804" y="281"/>
                  <a:pt x="804" y="281"/>
                  <a:pt x="804" y="281"/>
                </a:cubicBezTo>
                <a:cubicBezTo>
                  <a:pt x="804" y="281"/>
                  <a:pt x="804" y="281"/>
                  <a:pt x="804" y="281"/>
                </a:cubicBezTo>
                <a:cubicBezTo>
                  <a:pt x="809" y="281"/>
                  <a:pt x="813" y="281"/>
                  <a:pt x="817" y="282"/>
                </a:cubicBezTo>
                <a:cubicBezTo>
                  <a:pt x="821" y="283"/>
                  <a:pt x="824" y="284"/>
                  <a:pt x="827" y="285"/>
                </a:cubicBezTo>
                <a:cubicBezTo>
                  <a:pt x="830" y="286"/>
                  <a:pt x="832" y="287"/>
                  <a:pt x="834" y="289"/>
                </a:cubicBezTo>
                <a:cubicBezTo>
                  <a:pt x="836" y="290"/>
                  <a:pt x="837" y="292"/>
                  <a:pt x="837" y="294"/>
                </a:cubicBezTo>
                <a:cubicBezTo>
                  <a:pt x="837" y="294"/>
                  <a:pt x="837" y="294"/>
                  <a:pt x="837" y="345"/>
                </a:cubicBezTo>
                <a:cubicBezTo>
                  <a:pt x="837" y="346"/>
                  <a:pt x="836" y="346"/>
                  <a:pt x="836" y="347"/>
                </a:cubicBezTo>
                <a:cubicBezTo>
                  <a:pt x="835" y="348"/>
                  <a:pt x="835" y="349"/>
                  <a:pt x="834" y="350"/>
                </a:cubicBezTo>
                <a:cubicBezTo>
                  <a:pt x="832" y="351"/>
                  <a:pt x="830" y="353"/>
                  <a:pt x="827" y="354"/>
                </a:cubicBezTo>
                <a:cubicBezTo>
                  <a:pt x="821" y="356"/>
                  <a:pt x="813" y="357"/>
                  <a:pt x="804" y="357"/>
                </a:cubicBezTo>
                <a:cubicBezTo>
                  <a:pt x="804" y="357"/>
                  <a:pt x="804" y="357"/>
                  <a:pt x="804" y="357"/>
                </a:cubicBezTo>
                <a:cubicBezTo>
                  <a:pt x="804" y="357"/>
                  <a:pt x="804" y="357"/>
                  <a:pt x="804" y="357"/>
                </a:cubicBezTo>
                <a:close/>
                <a:moveTo>
                  <a:pt x="804" y="300"/>
                </a:moveTo>
                <a:cubicBezTo>
                  <a:pt x="819" y="300"/>
                  <a:pt x="831" y="297"/>
                  <a:pt x="831" y="293"/>
                </a:cubicBezTo>
                <a:cubicBezTo>
                  <a:pt x="831" y="288"/>
                  <a:pt x="819" y="285"/>
                  <a:pt x="804" y="285"/>
                </a:cubicBezTo>
                <a:cubicBezTo>
                  <a:pt x="790" y="285"/>
                  <a:pt x="778" y="288"/>
                  <a:pt x="778" y="293"/>
                </a:cubicBezTo>
                <a:cubicBezTo>
                  <a:pt x="778" y="297"/>
                  <a:pt x="790" y="300"/>
                  <a:pt x="804" y="300"/>
                </a:cubicBezTo>
                <a:close/>
                <a:moveTo>
                  <a:pt x="732" y="430"/>
                </a:moveTo>
                <a:cubicBezTo>
                  <a:pt x="732" y="430"/>
                  <a:pt x="732" y="429"/>
                  <a:pt x="732" y="428"/>
                </a:cubicBezTo>
                <a:cubicBezTo>
                  <a:pt x="732" y="428"/>
                  <a:pt x="732" y="428"/>
                  <a:pt x="732" y="377"/>
                </a:cubicBezTo>
                <a:cubicBezTo>
                  <a:pt x="732" y="375"/>
                  <a:pt x="732" y="373"/>
                  <a:pt x="734" y="372"/>
                </a:cubicBezTo>
                <a:cubicBezTo>
                  <a:pt x="736" y="370"/>
                  <a:pt x="738" y="369"/>
                  <a:pt x="741" y="368"/>
                </a:cubicBezTo>
                <a:cubicBezTo>
                  <a:pt x="744" y="367"/>
                  <a:pt x="747" y="366"/>
                  <a:pt x="751" y="365"/>
                </a:cubicBezTo>
                <a:cubicBezTo>
                  <a:pt x="755" y="365"/>
                  <a:pt x="759" y="364"/>
                  <a:pt x="764" y="364"/>
                </a:cubicBezTo>
                <a:cubicBezTo>
                  <a:pt x="764" y="364"/>
                  <a:pt x="764" y="364"/>
                  <a:pt x="764" y="364"/>
                </a:cubicBezTo>
                <a:cubicBezTo>
                  <a:pt x="764" y="364"/>
                  <a:pt x="764" y="364"/>
                  <a:pt x="764" y="364"/>
                </a:cubicBezTo>
                <a:cubicBezTo>
                  <a:pt x="768" y="364"/>
                  <a:pt x="772" y="365"/>
                  <a:pt x="776" y="365"/>
                </a:cubicBezTo>
                <a:cubicBezTo>
                  <a:pt x="780" y="366"/>
                  <a:pt x="784" y="367"/>
                  <a:pt x="787" y="368"/>
                </a:cubicBezTo>
                <a:cubicBezTo>
                  <a:pt x="790" y="369"/>
                  <a:pt x="792" y="370"/>
                  <a:pt x="794" y="372"/>
                </a:cubicBezTo>
                <a:cubicBezTo>
                  <a:pt x="795" y="373"/>
                  <a:pt x="796" y="375"/>
                  <a:pt x="796" y="377"/>
                </a:cubicBezTo>
                <a:cubicBezTo>
                  <a:pt x="796" y="377"/>
                  <a:pt x="796" y="377"/>
                  <a:pt x="796" y="428"/>
                </a:cubicBezTo>
                <a:cubicBezTo>
                  <a:pt x="796" y="429"/>
                  <a:pt x="796" y="430"/>
                  <a:pt x="795" y="430"/>
                </a:cubicBezTo>
                <a:cubicBezTo>
                  <a:pt x="795" y="431"/>
                  <a:pt x="794" y="432"/>
                  <a:pt x="794" y="433"/>
                </a:cubicBezTo>
                <a:cubicBezTo>
                  <a:pt x="792" y="434"/>
                  <a:pt x="790" y="436"/>
                  <a:pt x="787" y="437"/>
                </a:cubicBezTo>
                <a:cubicBezTo>
                  <a:pt x="781" y="439"/>
                  <a:pt x="773" y="441"/>
                  <a:pt x="764" y="441"/>
                </a:cubicBezTo>
                <a:cubicBezTo>
                  <a:pt x="764" y="441"/>
                  <a:pt x="764" y="441"/>
                  <a:pt x="764" y="441"/>
                </a:cubicBezTo>
                <a:cubicBezTo>
                  <a:pt x="764" y="441"/>
                  <a:pt x="764" y="441"/>
                  <a:pt x="764" y="441"/>
                </a:cubicBezTo>
                <a:cubicBezTo>
                  <a:pt x="755" y="441"/>
                  <a:pt x="747" y="439"/>
                  <a:pt x="741" y="437"/>
                </a:cubicBezTo>
                <a:cubicBezTo>
                  <a:pt x="738" y="436"/>
                  <a:pt x="736" y="434"/>
                  <a:pt x="734" y="433"/>
                </a:cubicBezTo>
                <a:cubicBezTo>
                  <a:pt x="733" y="432"/>
                  <a:pt x="733" y="431"/>
                  <a:pt x="732" y="430"/>
                </a:cubicBezTo>
                <a:close/>
                <a:moveTo>
                  <a:pt x="737" y="376"/>
                </a:moveTo>
                <a:cubicBezTo>
                  <a:pt x="737" y="380"/>
                  <a:pt x="749" y="383"/>
                  <a:pt x="764" y="383"/>
                </a:cubicBezTo>
                <a:cubicBezTo>
                  <a:pt x="779" y="383"/>
                  <a:pt x="790" y="380"/>
                  <a:pt x="790" y="376"/>
                </a:cubicBezTo>
                <a:cubicBezTo>
                  <a:pt x="790" y="371"/>
                  <a:pt x="779" y="368"/>
                  <a:pt x="764" y="368"/>
                </a:cubicBezTo>
                <a:cubicBezTo>
                  <a:pt x="749" y="368"/>
                  <a:pt x="737" y="371"/>
                  <a:pt x="737" y="376"/>
                </a:cubicBezTo>
                <a:close/>
                <a:moveTo>
                  <a:pt x="1092" y="350"/>
                </a:moveTo>
                <a:cubicBezTo>
                  <a:pt x="1094" y="351"/>
                  <a:pt x="1096" y="353"/>
                  <a:pt x="1099" y="354"/>
                </a:cubicBezTo>
                <a:cubicBezTo>
                  <a:pt x="1103" y="355"/>
                  <a:pt x="1107" y="356"/>
                  <a:pt x="1112" y="357"/>
                </a:cubicBezTo>
                <a:cubicBezTo>
                  <a:pt x="1119" y="347"/>
                  <a:pt x="1125" y="337"/>
                  <a:pt x="1132" y="327"/>
                </a:cubicBezTo>
                <a:cubicBezTo>
                  <a:pt x="1090" y="302"/>
                  <a:pt x="1090" y="302"/>
                  <a:pt x="1090" y="302"/>
                </a:cubicBezTo>
                <a:cubicBezTo>
                  <a:pt x="1090" y="345"/>
                  <a:pt x="1090" y="345"/>
                  <a:pt x="1090" y="345"/>
                </a:cubicBezTo>
                <a:cubicBezTo>
                  <a:pt x="1090" y="346"/>
                  <a:pt x="1090" y="346"/>
                  <a:pt x="1090" y="347"/>
                </a:cubicBezTo>
                <a:cubicBezTo>
                  <a:pt x="1091" y="348"/>
                  <a:pt x="1092" y="349"/>
                  <a:pt x="1092" y="350"/>
                </a:cubicBezTo>
                <a:close/>
                <a:moveTo>
                  <a:pt x="1011" y="347"/>
                </a:moveTo>
                <a:cubicBezTo>
                  <a:pt x="1011" y="346"/>
                  <a:pt x="1010" y="346"/>
                  <a:pt x="1010" y="345"/>
                </a:cubicBezTo>
                <a:cubicBezTo>
                  <a:pt x="1010" y="345"/>
                  <a:pt x="1010" y="345"/>
                  <a:pt x="1010" y="294"/>
                </a:cubicBezTo>
                <a:cubicBezTo>
                  <a:pt x="1010" y="292"/>
                  <a:pt x="1011" y="290"/>
                  <a:pt x="1013" y="289"/>
                </a:cubicBezTo>
                <a:cubicBezTo>
                  <a:pt x="1015" y="287"/>
                  <a:pt x="1017" y="286"/>
                  <a:pt x="1020" y="285"/>
                </a:cubicBezTo>
                <a:cubicBezTo>
                  <a:pt x="1023" y="284"/>
                  <a:pt x="1026" y="283"/>
                  <a:pt x="1030" y="282"/>
                </a:cubicBezTo>
                <a:cubicBezTo>
                  <a:pt x="1034" y="281"/>
                  <a:pt x="1038" y="281"/>
                  <a:pt x="1043" y="281"/>
                </a:cubicBezTo>
                <a:cubicBezTo>
                  <a:pt x="1043" y="281"/>
                  <a:pt x="1043" y="281"/>
                  <a:pt x="1043" y="281"/>
                </a:cubicBezTo>
                <a:cubicBezTo>
                  <a:pt x="1043" y="281"/>
                  <a:pt x="1043" y="281"/>
                  <a:pt x="1043" y="281"/>
                </a:cubicBezTo>
                <a:cubicBezTo>
                  <a:pt x="1047" y="281"/>
                  <a:pt x="1051" y="281"/>
                  <a:pt x="1054" y="282"/>
                </a:cubicBezTo>
                <a:cubicBezTo>
                  <a:pt x="1075" y="294"/>
                  <a:pt x="1075" y="294"/>
                  <a:pt x="1075" y="294"/>
                </a:cubicBezTo>
                <a:cubicBezTo>
                  <a:pt x="1075" y="294"/>
                  <a:pt x="1075" y="298"/>
                  <a:pt x="1075" y="345"/>
                </a:cubicBezTo>
                <a:cubicBezTo>
                  <a:pt x="1075" y="346"/>
                  <a:pt x="1075" y="346"/>
                  <a:pt x="1074" y="347"/>
                </a:cubicBezTo>
                <a:cubicBezTo>
                  <a:pt x="1074" y="348"/>
                  <a:pt x="1073" y="349"/>
                  <a:pt x="1072" y="350"/>
                </a:cubicBezTo>
                <a:cubicBezTo>
                  <a:pt x="1071" y="351"/>
                  <a:pt x="1068" y="353"/>
                  <a:pt x="1065" y="354"/>
                </a:cubicBezTo>
                <a:cubicBezTo>
                  <a:pt x="1060" y="356"/>
                  <a:pt x="1052" y="357"/>
                  <a:pt x="1043" y="357"/>
                </a:cubicBezTo>
                <a:cubicBezTo>
                  <a:pt x="1043" y="357"/>
                  <a:pt x="1043" y="357"/>
                  <a:pt x="1043" y="357"/>
                </a:cubicBezTo>
                <a:cubicBezTo>
                  <a:pt x="1043" y="357"/>
                  <a:pt x="1043" y="357"/>
                  <a:pt x="1043" y="357"/>
                </a:cubicBezTo>
                <a:cubicBezTo>
                  <a:pt x="1034" y="357"/>
                  <a:pt x="1026" y="356"/>
                  <a:pt x="1020" y="354"/>
                </a:cubicBezTo>
                <a:cubicBezTo>
                  <a:pt x="1017" y="353"/>
                  <a:pt x="1015" y="351"/>
                  <a:pt x="1013" y="350"/>
                </a:cubicBezTo>
                <a:cubicBezTo>
                  <a:pt x="1012" y="349"/>
                  <a:pt x="1011" y="348"/>
                  <a:pt x="1011" y="347"/>
                </a:cubicBezTo>
                <a:close/>
                <a:moveTo>
                  <a:pt x="1016" y="293"/>
                </a:moveTo>
                <a:cubicBezTo>
                  <a:pt x="1016" y="297"/>
                  <a:pt x="1028" y="300"/>
                  <a:pt x="1043" y="300"/>
                </a:cubicBezTo>
                <a:cubicBezTo>
                  <a:pt x="1057" y="300"/>
                  <a:pt x="1069" y="297"/>
                  <a:pt x="1069" y="293"/>
                </a:cubicBezTo>
                <a:cubicBezTo>
                  <a:pt x="1069" y="288"/>
                  <a:pt x="1057" y="285"/>
                  <a:pt x="1043" y="285"/>
                </a:cubicBezTo>
                <a:cubicBezTo>
                  <a:pt x="1028" y="285"/>
                  <a:pt x="1016" y="288"/>
                  <a:pt x="1016" y="293"/>
                </a:cubicBezTo>
                <a:close/>
                <a:moveTo>
                  <a:pt x="725" y="357"/>
                </a:moveTo>
                <a:cubicBezTo>
                  <a:pt x="716" y="357"/>
                  <a:pt x="708" y="356"/>
                  <a:pt x="702" y="354"/>
                </a:cubicBezTo>
                <a:cubicBezTo>
                  <a:pt x="699" y="353"/>
                  <a:pt x="697" y="351"/>
                  <a:pt x="695" y="350"/>
                </a:cubicBezTo>
                <a:cubicBezTo>
                  <a:pt x="694" y="349"/>
                  <a:pt x="694" y="348"/>
                  <a:pt x="693" y="347"/>
                </a:cubicBezTo>
                <a:cubicBezTo>
                  <a:pt x="693" y="346"/>
                  <a:pt x="693" y="346"/>
                  <a:pt x="693" y="345"/>
                </a:cubicBezTo>
                <a:cubicBezTo>
                  <a:pt x="693" y="345"/>
                  <a:pt x="693" y="345"/>
                  <a:pt x="693" y="294"/>
                </a:cubicBezTo>
                <a:cubicBezTo>
                  <a:pt x="693" y="292"/>
                  <a:pt x="694" y="290"/>
                  <a:pt x="695" y="289"/>
                </a:cubicBezTo>
                <a:cubicBezTo>
                  <a:pt x="697" y="287"/>
                  <a:pt x="699" y="286"/>
                  <a:pt x="702" y="285"/>
                </a:cubicBezTo>
                <a:cubicBezTo>
                  <a:pt x="705" y="284"/>
                  <a:pt x="708" y="283"/>
                  <a:pt x="712" y="282"/>
                </a:cubicBezTo>
                <a:cubicBezTo>
                  <a:pt x="716" y="281"/>
                  <a:pt x="720" y="281"/>
                  <a:pt x="725" y="281"/>
                </a:cubicBezTo>
                <a:cubicBezTo>
                  <a:pt x="725" y="281"/>
                  <a:pt x="725" y="281"/>
                  <a:pt x="725" y="281"/>
                </a:cubicBezTo>
                <a:cubicBezTo>
                  <a:pt x="725" y="281"/>
                  <a:pt x="725" y="281"/>
                  <a:pt x="725" y="281"/>
                </a:cubicBezTo>
                <a:cubicBezTo>
                  <a:pt x="729" y="281"/>
                  <a:pt x="734" y="281"/>
                  <a:pt x="737" y="282"/>
                </a:cubicBezTo>
                <a:cubicBezTo>
                  <a:pt x="741" y="283"/>
                  <a:pt x="745" y="284"/>
                  <a:pt x="748" y="285"/>
                </a:cubicBezTo>
                <a:cubicBezTo>
                  <a:pt x="751" y="286"/>
                  <a:pt x="753" y="287"/>
                  <a:pt x="755" y="289"/>
                </a:cubicBezTo>
                <a:cubicBezTo>
                  <a:pt x="756" y="290"/>
                  <a:pt x="757" y="292"/>
                  <a:pt x="757" y="294"/>
                </a:cubicBezTo>
                <a:cubicBezTo>
                  <a:pt x="757" y="294"/>
                  <a:pt x="757" y="294"/>
                  <a:pt x="757" y="345"/>
                </a:cubicBezTo>
                <a:cubicBezTo>
                  <a:pt x="757" y="346"/>
                  <a:pt x="757" y="346"/>
                  <a:pt x="756" y="347"/>
                </a:cubicBezTo>
                <a:cubicBezTo>
                  <a:pt x="756" y="348"/>
                  <a:pt x="755" y="349"/>
                  <a:pt x="755" y="350"/>
                </a:cubicBezTo>
                <a:cubicBezTo>
                  <a:pt x="753" y="351"/>
                  <a:pt x="751" y="353"/>
                  <a:pt x="748" y="354"/>
                </a:cubicBezTo>
                <a:cubicBezTo>
                  <a:pt x="742" y="356"/>
                  <a:pt x="734" y="357"/>
                  <a:pt x="725" y="357"/>
                </a:cubicBezTo>
                <a:cubicBezTo>
                  <a:pt x="725" y="357"/>
                  <a:pt x="725" y="357"/>
                  <a:pt x="725" y="357"/>
                </a:cubicBezTo>
                <a:cubicBezTo>
                  <a:pt x="725" y="357"/>
                  <a:pt x="725" y="357"/>
                  <a:pt x="725" y="357"/>
                </a:cubicBezTo>
                <a:close/>
                <a:moveTo>
                  <a:pt x="725" y="300"/>
                </a:moveTo>
                <a:cubicBezTo>
                  <a:pt x="740" y="300"/>
                  <a:pt x="751" y="297"/>
                  <a:pt x="751" y="293"/>
                </a:cubicBezTo>
                <a:cubicBezTo>
                  <a:pt x="751" y="288"/>
                  <a:pt x="740" y="285"/>
                  <a:pt x="725" y="285"/>
                </a:cubicBezTo>
                <a:cubicBezTo>
                  <a:pt x="710" y="285"/>
                  <a:pt x="698" y="288"/>
                  <a:pt x="698" y="293"/>
                </a:cubicBezTo>
                <a:cubicBezTo>
                  <a:pt x="698" y="297"/>
                  <a:pt x="710" y="300"/>
                  <a:pt x="725" y="300"/>
                </a:cubicBezTo>
                <a:close/>
                <a:moveTo>
                  <a:pt x="995" y="488"/>
                </a:moveTo>
                <a:cubicBezTo>
                  <a:pt x="981" y="500"/>
                  <a:pt x="966" y="512"/>
                  <a:pt x="951" y="523"/>
                </a:cubicBezTo>
                <a:cubicBezTo>
                  <a:pt x="947" y="522"/>
                  <a:pt x="943" y="521"/>
                  <a:pt x="940" y="520"/>
                </a:cubicBezTo>
                <a:cubicBezTo>
                  <a:pt x="937" y="519"/>
                  <a:pt x="935" y="517"/>
                  <a:pt x="933" y="516"/>
                </a:cubicBezTo>
                <a:cubicBezTo>
                  <a:pt x="933" y="515"/>
                  <a:pt x="932" y="514"/>
                  <a:pt x="932" y="514"/>
                </a:cubicBezTo>
                <a:cubicBezTo>
                  <a:pt x="931" y="513"/>
                  <a:pt x="931" y="512"/>
                  <a:pt x="931" y="511"/>
                </a:cubicBezTo>
                <a:cubicBezTo>
                  <a:pt x="931" y="511"/>
                  <a:pt x="931" y="511"/>
                  <a:pt x="931" y="460"/>
                </a:cubicBezTo>
                <a:cubicBezTo>
                  <a:pt x="931" y="458"/>
                  <a:pt x="932" y="457"/>
                  <a:pt x="933" y="455"/>
                </a:cubicBezTo>
                <a:cubicBezTo>
                  <a:pt x="935" y="454"/>
                  <a:pt x="937" y="452"/>
                  <a:pt x="940" y="451"/>
                </a:cubicBezTo>
                <a:cubicBezTo>
                  <a:pt x="943" y="450"/>
                  <a:pt x="947" y="449"/>
                  <a:pt x="951" y="448"/>
                </a:cubicBezTo>
                <a:cubicBezTo>
                  <a:pt x="954" y="448"/>
                  <a:pt x="959" y="447"/>
                  <a:pt x="963" y="447"/>
                </a:cubicBezTo>
                <a:cubicBezTo>
                  <a:pt x="963" y="447"/>
                  <a:pt x="963" y="447"/>
                  <a:pt x="963" y="447"/>
                </a:cubicBezTo>
                <a:cubicBezTo>
                  <a:pt x="963" y="447"/>
                  <a:pt x="963" y="447"/>
                  <a:pt x="963" y="447"/>
                </a:cubicBezTo>
                <a:cubicBezTo>
                  <a:pt x="968" y="447"/>
                  <a:pt x="972" y="448"/>
                  <a:pt x="976" y="448"/>
                </a:cubicBezTo>
                <a:cubicBezTo>
                  <a:pt x="980" y="449"/>
                  <a:pt x="983" y="450"/>
                  <a:pt x="986" y="451"/>
                </a:cubicBezTo>
                <a:cubicBezTo>
                  <a:pt x="989" y="452"/>
                  <a:pt x="991" y="454"/>
                  <a:pt x="993" y="455"/>
                </a:cubicBezTo>
                <a:cubicBezTo>
                  <a:pt x="995" y="457"/>
                  <a:pt x="995" y="458"/>
                  <a:pt x="995" y="460"/>
                </a:cubicBezTo>
                <a:cubicBezTo>
                  <a:pt x="995" y="460"/>
                  <a:pt x="995" y="460"/>
                  <a:pt x="995" y="488"/>
                </a:cubicBezTo>
                <a:close/>
                <a:moveTo>
                  <a:pt x="990" y="459"/>
                </a:moveTo>
                <a:cubicBezTo>
                  <a:pt x="990" y="455"/>
                  <a:pt x="978" y="451"/>
                  <a:pt x="963" y="451"/>
                </a:cubicBezTo>
                <a:cubicBezTo>
                  <a:pt x="948" y="451"/>
                  <a:pt x="937" y="455"/>
                  <a:pt x="937" y="459"/>
                </a:cubicBezTo>
                <a:cubicBezTo>
                  <a:pt x="937" y="463"/>
                  <a:pt x="948" y="466"/>
                  <a:pt x="963" y="466"/>
                </a:cubicBezTo>
                <a:cubicBezTo>
                  <a:pt x="978" y="466"/>
                  <a:pt x="990" y="463"/>
                  <a:pt x="990" y="459"/>
                </a:cubicBezTo>
                <a:close/>
                <a:moveTo>
                  <a:pt x="237" y="538"/>
                </a:moveTo>
                <a:cubicBezTo>
                  <a:pt x="236" y="537"/>
                  <a:pt x="233" y="535"/>
                  <a:pt x="231" y="534"/>
                </a:cubicBezTo>
                <a:cubicBezTo>
                  <a:pt x="228" y="533"/>
                  <a:pt x="224" y="532"/>
                  <a:pt x="220" y="531"/>
                </a:cubicBezTo>
                <a:cubicBezTo>
                  <a:pt x="216" y="531"/>
                  <a:pt x="212" y="530"/>
                  <a:pt x="208" y="530"/>
                </a:cubicBezTo>
                <a:cubicBezTo>
                  <a:pt x="208" y="530"/>
                  <a:pt x="208" y="530"/>
                  <a:pt x="208" y="530"/>
                </a:cubicBezTo>
                <a:cubicBezTo>
                  <a:pt x="208" y="530"/>
                  <a:pt x="208" y="530"/>
                  <a:pt x="208" y="530"/>
                </a:cubicBezTo>
                <a:cubicBezTo>
                  <a:pt x="203" y="530"/>
                  <a:pt x="199" y="531"/>
                  <a:pt x="195" y="531"/>
                </a:cubicBezTo>
                <a:cubicBezTo>
                  <a:pt x="194" y="532"/>
                  <a:pt x="194" y="532"/>
                  <a:pt x="193" y="532"/>
                </a:cubicBezTo>
                <a:cubicBezTo>
                  <a:pt x="195" y="533"/>
                  <a:pt x="196" y="534"/>
                  <a:pt x="197" y="535"/>
                </a:cubicBezTo>
                <a:cubicBezTo>
                  <a:pt x="201" y="534"/>
                  <a:pt x="204" y="534"/>
                  <a:pt x="208" y="534"/>
                </a:cubicBezTo>
                <a:cubicBezTo>
                  <a:pt x="222" y="534"/>
                  <a:pt x="234" y="538"/>
                  <a:pt x="234" y="542"/>
                </a:cubicBezTo>
                <a:cubicBezTo>
                  <a:pt x="234" y="545"/>
                  <a:pt x="228" y="548"/>
                  <a:pt x="219" y="549"/>
                </a:cubicBezTo>
                <a:cubicBezTo>
                  <a:pt x="225" y="552"/>
                  <a:pt x="231" y="556"/>
                  <a:pt x="237" y="559"/>
                </a:cubicBezTo>
                <a:cubicBezTo>
                  <a:pt x="238" y="560"/>
                  <a:pt x="239" y="560"/>
                  <a:pt x="240" y="561"/>
                </a:cubicBezTo>
                <a:cubicBezTo>
                  <a:pt x="240" y="543"/>
                  <a:pt x="240" y="543"/>
                  <a:pt x="240" y="543"/>
                </a:cubicBezTo>
                <a:cubicBezTo>
                  <a:pt x="240" y="541"/>
                  <a:pt x="239" y="540"/>
                  <a:pt x="237" y="538"/>
                </a:cubicBezTo>
                <a:close/>
                <a:moveTo>
                  <a:pt x="1082" y="383"/>
                </a:moveTo>
                <a:cubicBezTo>
                  <a:pt x="1067" y="383"/>
                  <a:pt x="1055" y="380"/>
                  <a:pt x="1055" y="376"/>
                </a:cubicBezTo>
                <a:cubicBezTo>
                  <a:pt x="1055" y="371"/>
                  <a:pt x="1067" y="368"/>
                  <a:pt x="1082" y="368"/>
                </a:cubicBezTo>
                <a:cubicBezTo>
                  <a:pt x="1090" y="368"/>
                  <a:pt x="1098" y="369"/>
                  <a:pt x="1102" y="371"/>
                </a:cubicBezTo>
                <a:cubicBezTo>
                  <a:pt x="1103" y="370"/>
                  <a:pt x="1104" y="369"/>
                  <a:pt x="1105" y="368"/>
                </a:cubicBezTo>
                <a:cubicBezTo>
                  <a:pt x="1105" y="368"/>
                  <a:pt x="1104" y="368"/>
                  <a:pt x="1104" y="368"/>
                </a:cubicBezTo>
                <a:cubicBezTo>
                  <a:pt x="1101" y="367"/>
                  <a:pt x="1098" y="366"/>
                  <a:pt x="1094" y="365"/>
                </a:cubicBezTo>
                <a:cubicBezTo>
                  <a:pt x="1090" y="365"/>
                  <a:pt x="1086" y="364"/>
                  <a:pt x="1082" y="364"/>
                </a:cubicBezTo>
                <a:cubicBezTo>
                  <a:pt x="1082" y="364"/>
                  <a:pt x="1082" y="364"/>
                  <a:pt x="1082" y="364"/>
                </a:cubicBezTo>
                <a:cubicBezTo>
                  <a:pt x="1082" y="364"/>
                  <a:pt x="1082" y="364"/>
                  <a:pt x="1081" y="364"/>
                </a:cubicBezTo>
                <a:cubicBezTo>
                  <a:pt x="1077" y="364"/>
                  <a:pt x="1073" y="365"/>
                  <a:pt x="1069" y="365"/>
                </a:cubicBezTo>
                <a:cubicBezTo>
                  <a:pt x="1065" y="366"/>
                  <a:pt x="1062" y="367"/>
                  <a:pt x="1059" y="368"/>
                </a:cubicBezTo>
                <a:cubicBezTo>
                  <a:pt x="1056" y="369"/>
                  <a:pt x="1053" y="370"/>
                  <a:pt x="1052" y="372"/>
                </a:cubicBezTo>
                <a:cubicBezTo>
                  <a:pt x="1050" y="373"/>
                  <a:pt x="1049" y="375"/>
                  <a:pt x="1049" y="377"/>
                </a:cubicBezTo>
                <a:cubicBezTo>
                  <a:pt x="1049" y="428"/>
                  <a:pt x="1049" y="428"/>
                  <a:pt x="1049" y="428"/>
                </a:cubicBezTo>
                <a:cubicBezTo>
                  <a:pt x="1049" y="429"/>
                  <a:pt x="1050" y="430"/>
                  <a:pt x="1050" y="430"/>
                </a:cubicBezTo>
                <a:cubicBezTo>
                  <a:pt x="1050" y="431"/>
                  <a:pt x="1051" y="432"/>
                  <a:pt x="1052" y="433"/>
                </a:cubicBezTo>
                <a:cubicBezTo>
                  <a:pt x="1052" y="433"/>
                  <a:pt x="1052" y="433"/>
                  <a:pt x="1052" y="433"/>
                </a:cubicBezTo>
                <a:cubicBezTo>
                  <a:pt x="1067" y="417"/>
                  <a:pt x="1081" y="400"/>
                  <a:pt x="1094" y="382"/>
                </a:cubicBezTo>
                <a:cubicBezTo>
                  <a:pt x="1090" y="383"/>
                  <a:pt x="1086" y="383"/>
                  <a:pt x="1082" y="383"/>
                </a:cubicBezTo>
                <a:close/>
                <a:moveTo>
                  <a:pt x="707" y="368"/>
                </a:moveTo>
                <a:cubicBezTo>
                  <a:pt x="710" y="369"/>
                  <a:pt x="712" y="370"/>
                  <a:pt x="714" y="372"/>
                </a:cubicBezTo>
                <a:cubicBezTo>
                  <a:pt x="716" y="373"/>
                  <a:pt x="717" y="375"/>
                  <a:pt x="717" y="377"/>
                </a:cubicBezTo>
                <a:cubicBezTo>
                  <a:pt x="717" y="377"/>
                  <a:pt x="717" y="377"/>
                  <a:pt x="717" y="428"/>
                </a:cubicBezTo>
                <a:cubicBezTo>
                  <a:pt x="717" y="429"/>
                  <a:pt x="716" y="430"/>
                  <a:pt x="716" y="430"/>
                </a:cubicBezTo>
                <a:cubicBezTo>
                  <a:pt x="716" y="431"/>
                  <a:pt x="715" y="432"/>
                  <a:pt x="714" y="433"/>
                </a:cubicBezTo>
                <a:cubicBezTo>
                  <a:pt x="712" y="434"/>
                  <a:pt x="710" y="436"/>
                  <a:pt x="707" y="437"/>
                </a:cubicBezTo>
                <a:cubicBezTo>
                  <a:pt x="701" y="439"/>
                  <a:pt x="693" y="441"/>
                  <a:pt x="684" y="441"/>
                </a:cubicBezTo>
                <a:cubicBezTo>
                  <a:pt x="684" y="441"/>
                  <a:pt x="684" y="441"/>
                  <a:pt x="684" y="441"/>
                </a:cubicBezTo>
                <a:cubicBezTo>
                  <a:pt x="684" y="441"/>
                  <a:pt x="684" y="441"/>
                  <a:pt x="684" y="441"/>
                </a:cubicBezTo>
                <a:cubicBezTo>
                  <a:pt x="675" y="441"/>
                  <a:pt x="667" y="439"/>
                  <a:pt x="662" y="437"/>
                </a:cubicBezTo>
                <a:cubicBezTo>
                  <a:pt x="659" y="436"/>
                  <a:pt x="656" y="434"/>
                  <a:pt x="655" y="433"/>
                </a:cubicBezTo>
                <a:cubicBezTo>
                  <a:pt x="654" y="432"/>
                  <a:pt x="653" y="431"/>
                  <a:pt x="653" y="430"/>
                </a:cubicBezTo>
                <a:cubicBezTo>
                  <a:pt x="652" y="430"/>
                  <a:pt x="652" y="429"/>
                  <a:pt x="652" y="428"/>
                </a:cubicBezTo>
                <a:cubicBezTo>
                  <a:pt x="652" y="428"/>
                  <a:pt x="652" y="428"/>
                  <a:pt x="652" y="377"/>
                </a:cubicBezTo>
                <a:cubicBezTo>
                  <a:pt x="652" y="375"/>
                  <a:pt x="653" y="373"/>
                  <a:pt x="655" y="372"/>
                </a:cubicBezTo>
                <a:cubicBezTo>
                  <a:pt x="656" y="370"/>
                  <a:pt x="659" y="369"/>
                  <a:pt x="662" y="368"/>
                </a:cubicBezTo>
                <a:cubicBezTo>
                  <a:pt x="665" y="367"/>
                  <a:pt x="668" y="366"/>
                  <a:pt x="672" y="365"/>
                </a:cubicBezTo>
                <a:cubicBezTo>
                  <a:pt x="676" y="365"/>
                  <a:pt x="680" y="364"/>
                  <a:pt x="684" y="364"/>
                </a:cubicBezTo>
                <a:cubicBezTo>
                  <a:pt x="684" y="364"/>
                  <a:pt x="684" y="364"/>
                  <a:pt x="684" y="364"/>
                </a:cubicBezTo>
                <a:cubicBezTo>
                  <a:pt x="684" y="364"/>
                  <a:pt x="684" y="364"/>
                  <a:pt x="684" y="364"/>
                </a:cubicBezTo>
                <a:cubicBezTo>
                  <a:pt x="689" y="364"/>
                  <a:pt x="693" y="365"/>
                  <a:pt x="697" y="365"/>
                </a:cubicBezTo>
                <a:cubicBezTo>
                  <a:pt x="701" y="366"/>
                  <a:pt x="704" y="367"/>
                  <a:pt x="707" y="368"/>
                </a:cubicBezTo>
                <a:close/>
                <a:moveTo>
                  <a:pt x="684" y="368"/>
                </a:moveTo>
                <a:cubicBezTo>
                  <a:pt x="670" y="368"/>
                  <a:pt x="658" y="371"/>
                  <a:pt x="658" y="376"/>
                </a:cubicBezTo>
                <a:cubicBezTo>
                  <a:pt x="658" y="380"/>
                  <a:pt x="670" y="383"/>
                  <a:pt x="684" y="383"/>
                </a:cubicBezTo>
                <a:cubicBezTo>
                  <a:pt x="699" y="383"/>
                  <a:pt x="711" y="380"/>
                  <a:pt x="711" y="376"/>
                </a:cubicBezTo>
                <a:cubicBezTo>
                  <a:pt x="711" y="371"/>
                  <a:pt x="699" y="368"/>
                  <a:pt x="684" y="368"/>
                </a:cubicBezTo>
                <a:close/>
                <a:moveTo>
                  <a:pt x="734" y="267"/>
                </a:moveTo>
                <a:cubicBezTo>
                  <a:pt x="733" y="266"/>
                  <a:pt x="733" y="265"/>
                  <a:pt x="732" y="264"/>
                </a:cubicBezTo>
                <a:cubicBezTo>
                  <a:pt x="732" y="263"/>
                  <a:pt x="732" y="262"/>
                  <a:pt x="732" y="262"/>
                </a:cubicBezTo>
                <a:cubicBezTo>
                  <a:pt x="732" y="262"/>
                  <a:pt x="732" y="262"/>
                  <a:pt x="732" y="211"/>
                </a:cubicBezTo>
                <a:cubicBezTo>
                  <a:pt x="732" y="209"/>
                  <a:pt x="732" y="207"/>
                  <a:pt x="734" y="206"/>
                </a:cubicBezTo>
                <a:cubicBezTo>
                  <a:pt x="736" y="204"/>
                  <a:pt x="738" y="203"/>
                  <a:pt x="741" y="202"/>
                </a:cubicBezTo>
                <a:cubicBezTo>
                  <a:pt x="744" y="201"/>
                  <a:pt x="747" y="200"/>
                  <a:pt x="751" y="199"/>
                </a:cubicBezTo>
                <a:cubicBezTo>
                  <a:pt x="755" y="198"/>
                  <a:pt x="759" y="198"/>
                  <a:pt x="764" y="198"/>
                </a:cubicBezTo>
                <a:cubicBezTo>
                  <a:pt x="764" y="198"/>
                  <a:pt x="764" y="198"/>
                  <a:pt x="764" y="198"/>
                </a:cubicBezTo>
                <a:cubicBezTo>
                  <a:pt x="764" y="198"/>
                  <a:pt x="764" y="198"/>
                  <a:pt x="764" y="198"/>
                </a:cubicBezTo>
                <a:cubicBezTo>
                  <a:pt x="768" y="198"/>
                  <a:pt x="772" y="198"/>
                  <a:pt x="776" y="199"/>
                </a:cubicBezTo>
                <a:cubicBezTo>
                  <a:pt x="780" y="200"/>
                  <a:pt x="784" y="201"/>
                  <a:pt x="787" y="202"/>
                </a:cubicBezTo>
                <a:cubicBezTo>
                  <a:pt x="790" y="203"/>
                  <a:pt x="792" y="204"/>
                  <a:pt x="794" y="206"/>
                </a:cubicBezTo>
                <a:cubicBezTo>
                  <a:pt x="795" y="207"/>
                  <a:pt x="796" y="209"/>
                  <a:pt x="796" y="211"/>
                </a:cubicBezTo>
                <a:cubicBezTo>
                  <a:pt x="796" y="211"/>
                  <a:pt x="796" y="211"/>
                  <a:pt x="796" y="262"/>
                </a:cubicBezTo>
                <a:cubicBezTo>
                  <a:pt x="796" y="262"/>
                  <a:pt x="796" y="263"/>
                  <a:pt x="795" y="264"/>
                </a:cubicBezTo>
                <a:cubicBezTo>
                  <a:pt x="795" y="265"/>
                  <a:pt x="794" y="266"/>
                  <a:pt x="794" y="267"/>
                </a:cubicBezTo>
                <a:cubicBezTo>
                  <a:pt x="792" y="268"/>
                  <a:pt x="790" y="269"/>
                  <a:pt x="787" y="271"/>
                </a:cubicBezTo>
                <a:cubicBezTo>
                  <a:pt x="781" y="273"/>
                  <a:pt x="773" y="274"/>
                  <a:pt x="764" y="274"/>
                </a:cubicBezTo>
                <a:cubicBezTo>
                  <a:pt x="764" y="274"/>
                  <a:pt x="764" y="274"/>
                  <a:pt x="764" y="274"/>
                </a:cubicBezTo>
                <a:cubicBezTo>
                  <a:pt x="764" y="274"/>
                  <a:pt x="764" y="274"/>
                  <a:pt x="764" y="274"/>
                </a:cubicBezTo>
                <a:cubicBezTo>
                  <a:pt x="755" y="274"/>
                  <a:pt x="747" y="273"/>
                  <a:pt x="741" y="271"/>
                </a:cubicBezTo>
                <a:cubicBezTo>
                  <a:pt x="738" y="269"/>
                  <a:pt x="736" y="268"/>
                  <a:pt x="734" y="267"/>
                </a:cubicBezTo>
                <a:close/>
                <a:moveTo>
                  <a:pt x="737" y="209"/>
                </a:moveTo>
                <a:cubicBezTo>
                  <a:pt x="737" y="214"/>
                  <a:pt x="749" y="217"/>
                  <a:pt x="764" y="217"/>
                </a:cubicBezTo>
                <a:cubicBezTo>
                  <a:pt x="779" y="217"/>
                  <a:pt x="790" y="214"/>
                  <a:pt x="790" y="209"/>
                </a:cubicBezTo>
                <a:cubicBezTo>
                  <a:pt x="790" y="205"/>
                  <a:pt x="779" y="202"/>
                  <a:pt x="764" y="202"/>
                </a:cubicBezTo>
                <a:cubicBezTo>
                  <a:pt x="749" y="202"/>
                  <a:pt x="737" y="205"/>
                  <a:pt x="737" y="209"/>
                </a:cubicBezTo>
                <a:close/>
                <a:moveTo>
                  <a:pt x="1016" y="459"/>
                </a:moveTo>
                <a:cubicBezTo>
                  <a:pt x="1016" y="455"/>
                  <a:pt x="1024" y="452"/>
                  <a:pt x="1035" y="451"/>
                </a:cubicBezTo>
                <a:cubicBezTo>
                  <a:pt x="1036" y="450"/>
                  <a:pt x="1037" y="449"/>
                  <a:pt x="1039" y="447"/>
                </a:cubicBezTo>
                <a:cubicBezTo>
                  <a:pt x="1036" y="448"/>
                  <a:pt x="1033" y="448"/>
                  <a:pt x="1030" y="448"/>
                </a:cubicBezTo>
                <a:cubicBezTo>
                  <a:pt x="1026" y="449"/>
                  <a:pt x="1023" y="450"/>
                  <a:pt x="1020" y="451"/>
                </a:cubicBezTo>
                <a:cubicBezTo>
                  <a:pt x="1017" y="452"/>
                  <a:pt x="1015" y="454"/>
                  <a:pt x="1013" y="455"/>
                </a:cubicBezTo>
                <a:cubicBezTo>
                  <a:pt x="1011" y="457"/>
                  <a:pt x="1010" y="458"/>
                  <a:pt x="1010" y="460"/>
                </a:cubicBezTo>
                <a:cubicBezTo>
                  <a:pt x="1010" y="466"/>
                  <a:pt x="1010" y="470"/>
                  <a:pt x="1010" y="475"/>
                </a:cubicBezTo>
                <a:cubicBezTo>
                  <a:pt x="1014" y="471"/>
                  <a:pt x="1018" y="467"/>
                  <a:pt x="1022" y="464"/>
                </a:cubicBezTo>
                <a:cubicBezTo>
                  <a:pt x="1018" y="462"/>
                  <a:pt x="1016" y="461"/>
                  <a:pt x="1016" y="459"/>
                </a:cubicBezTo>
                <a:close/>
                <a:moveTo>
                  <a:pt x="772" y="128"/>
                </a:moveTo>
                <a:cubicBezTo>
                  <a:pt x="772" y="179"/>
                  <a:pt x="772" y="179"/>
                  <a:pt x="772" y="179"/>
                </a:cubicBezTo>
                <a:cubicBezTo>
                  <a:pt x="772" y="179"/>
                  <a:pt x="772" y="180"/>
                  <a:pt x="773" y="181"/>
                </a:cubicBezTo>
                <a:cubicBezTo>
                  <a:pt x="773" y="182"/>
                  <a:pt x="774" y="183"/>
                  <a:pt x="775" y="183"/>
                </a:cubicBezTo>
                <a:cubicBezTo>
                  <a:pt x="776" y="185"/>
                  <a:pt x="779" y="186"/>
                  <a:pt x="782" y="188"/>
                </a:cubicBezTo>
                <a:cubicBezTo>
                  <a:pt x="787" y="190"/>
                  <a:pt x="795" y="191"/>
                  <a:pt x="804" y="191"/>
                </a:cubicBezTo>
                <a:cubicBezTo>
                  <a:pt x="804" y="191"/>
                  <a:pt x="804" y="191"/>
                  <a:pt x="804" y="191"/>
                </a:cubicBezTo>
                <a:cubicBezTo>
                  <a:pt x="804" y="191"/>
                  <a:pt x="804" y="191"/>
                  <a:pt x="804" y="191"/>
                </a:cubicBezTo>
                <a:cubicBezTo>
                  <a:pt x="813" y="191"/>
                  <a:pt x="821" y="190"/>
                  <a:pt x="827" y="188"/>
                </a:cubicBezTo>
                <a:cubicBezTo>
                  <a:pt x="830" y="186"/>
                  <a:pt x="832" y="185"/>
                  <a:pt x="834" y="183"/>
                </a:cubicBezTo>
                <a:cubicBezTo>
                  <a:pt x="835" y="183"/>
                  <a:pt x="835" y="182"/>
                  <a:pt x="836" y="181"/>
                </a:cubicBezTo>
                <a:cubicBezTo>
                  <a:pt x="836" y="180"/>
                  <a:pt x="837" y="179"/>
                  <a:pt x="837" y="179"/>
                </a:cubicBezTo>
                <a:cubicBezTo>
                  <a:pt x="837" y="170"/>
                  <a:pt x="837" y="162"/>
                  <a:pt x="837" y="156"/>
                </a:cubicBezTo>
                <a:cubicBezTo>
                  <a:pt x="797" y="134"/>
                  <a:pt x="797" y="134"/>
                  <a:pt x="797" y="134"/>
                </a:cubicBezTo>
                <a:cubicBezTo>
                  <a:pt x="786" y="133"/>
                  <a:pt x="778" y="130"/>
                  <a:pt x="778" y="126"/>
                </a:cubicBezTo>
                <a:cubicBezTo>
                  <a:pt x="778" y="125"/>
                  <a:pt x="778" y="124"/>
                  <a:pt x="780" y="123"/>
                </a:cubicBezTo>
                <a:cubicBezTo>
                  <a:pt x="776" y="121"/>
                  <a:pt x="776" y="121"/>
                  <a:pt x="776" y="121"/>
                </a:cubicBezTo>
                <a:cubicBezTo>
                  <a:pt x="776" y="122"/>
                  <a:pt x="775" y="122"/>
                  <a:pt x="775" y="123"/>
                </a:cubicBezTo>
                <a:cubicBezTo>
                  <a:pt x="773" y="124"/>
                  <a:pt x="772" y="126"/>
                  <a:pt x="772" y="128"/>
                </a:cubicBezTo>
                <a:close/>
                <a:moveTo>
                  <a:pt x="891" y="430"/>
                </a:moveTo>
                <a:cubicBezTo>
                  <a:pt x="891" y="430"/>
                  <a:pt x="890" y="429"/>
                  <a:pt x="890" y="428"/>
                </a:cubicBezTo>
                <a:cubicBezTo>
                  <a:pt x="890" y="428"/>
                  <a:pt x="890" y="428"/>
                  <a:pt x="890" y="377"/>
                </a:cubicBezTo>
                <a:cubicBezTo>
                  <a:pt x="890" y="375"/>
                  <a:pt x="891" y="373"/>
                  <a:pt x="893" y="372"/>
                </a:cubicBezTo>
                <a:cubicBezTo>
                  <a:pt x="895" y="370"/>
                  <a:pt x="897" y="369"/>
                  <a:pt x="900" y="368"/>
                </a:cubicBezTo>
                <a:cubicBezTo>
                  <a:pt x="903" y="367"/>
                  <a:pt x="906" y="366"/>
                  <a:pt x="910" y="365"/>
                </a:cubicBezTo>
                <a:cubicBezTo>
                  <a:pt x="914" y="365"/>
                  <a:pt x="918" y="364"/>
                  <a:pt x="923" y="364"/>
                </a:cubicBezTo>
                <a:cubicBezTo>
                  <a:pt x="923" y="364"/>
                  <a:pt x="923" y="364"/>
                  <a:pt x="923" y="364"/>
                </a:cubicBezTo>
                <a:cubicBezTo>
                  <a:pt x="923" y="364"/>
                  <a:pt x="923" y="364"/>
                  <a:pt x="923" y="364"/>
                </a:cubicBezTo>
                <a:cubicBezTo>
                  <a:pt x="927" y="364"/>
                  <a:pt x="931" y="365"/>
                  <a:pt x="935" y="365"/>
                </a:cubicBezTo>
                <a:cubicBezTo>
                  <a:pt x="939" y="366"/>
                  <a:pt x="943" y="367"/>
                  <a:pt x="945" y="368"/>
                </a:cubicBezTo>
                <a:cubicBezTo>
                  <a:pt x="948" y="369"/>
                  <a:pt x="951" y="370"/>
                  <a:pt x="952" y="372"/>
                </a:cubicBezTo>
                <a:cubicBezTo>
                  <a:pt x="954" y="373"/>
                  <a:pt x="955" y="375"/>
                  <a:pt x="955" y="377"/>
                </a:cubicBezTo>
                <a:cubicBezTo>
                  <a:pt x="955" y="377"/>
                  <a:pt x="955" y="377"/>
                  <a:pt x="955" y="428"/>
                </a:cubicBezTo>
                <a:cubicBezTo>
                  <a:pt x="955" y="429"/>
                  <a:pt x="955" y="430"/>
                  <a:pt x="954" y="430"/>
                </a:cubicBezTo>
                <a:cubicBezTo>
                  <a:pt x="954" y="431"/>
                  <a:pt x="953" y="432"/>
                  <a:pt x="952" y="433"/>
                </a:cubicBezTo>
                <a:cubicBezTo>
                  <a:pt x="951" y="434"/>
                  <a:pt x="948" y="436"/>
                  <a:pt x="945" y="437"/>
                </a:cubicBezTo>
                <a:cubicBezTo>
                  <a:pt x="940" y="439"/>
                  <a:pt x="932" y="441"/>
                  <a:pt x="923" y="441"/>
                </a:cubicBezTo>
                <a:cubicBezTo>
                  <a:pt x="923" y="441"/>
                  <a:pt x="923" y="441"/>
                  <a:pt x="923" y="441"/>
                </a:cubicBezTo>
                <a:cubicBezTo>
                  <a:pt x="923" y="441"/>
                  <a:pt x="923" y="441"/>
                  <a:pt x="923" y="441"/>
                </a:cubicBezTo>
                <a:cubicBezTo>
                  <a:pt x="914" y="441"/>
                  <a:pt x="906" y="439"/>
                  <a:pt x="900" y="437"/>
                </a:cubicBezTo>
                <a:cubicBezTo>
                  <a:pt x="897" y="436"/>
                  <a:pt x="895" y="434"/>
                  <a:pt x="893" y="433"/>
                </a:cubicBezTo>
                <a:cubicBezTo>
                  <a:pt x="892" y="432"/>
                  <a:pt x="892" y="431"/>
                  <a:pt x="891" y="430"/>
                </a:cubicBezTo>
                <a:close/>
                <a:moveTo>
                  <a:pt x="896" y="376"/>
                </a:moveTo>
                <a:cubicBezTo>
                  <a:pt x="896" y="380"/>
                  <a:pt x="908" y="383"/>
                  <a:pt x="923" y="383"/>
                </a:cubicBezTo>
                <a:cubicBezTo>
                  <a:pt x="937" y="383"/>
                  <a:pt x="949" y="380"/>
                  <a:pt x="949" y="376"/>
                </a:cubicBezTo>
                <a:cubicBezTo>
                  <a:pt x="949" y="371"/>
                  <a:pt x="937" y="368"/>
                  <a:pt x="923" y="368"/>
                </a:cubicBezTo>
                <a:cubicBezTo>
                  <a:pt x="908" y="368"/>
                  <a:pt x="896" y="371"/>
                  <a:pt x="896" y="376"/>
                </a:cubicBezTo>
                <a:close/>
                <a:moveTo>
                  <a:pt x="684" y="198"/>
                </a:moveTo>
                <a:cubicBezTo>
                  <a:pt x="689" y="198"/>
                  <a:pt x="693" y="198"/>
                  <a:pt x="697" y="199"/>
                </a:cubicBezTo>
                <a:cubicBezTo>
                  <a:pt x="701" y="200"/>
                  <a:pt x="704" y="201"/>
                  <a:pt x="707" y="202"/>
                </a:cubicBezTo>
                <a:cubicBezTo>
                  <a:pt x="710" y="203"/>
                  <a:pt x="712" y="204"/>
                  <a:pt x="714" y="206"/>
                </a:cubicBezTo>
                <a:cubicBezTo>
                  <a:pt x="716" y="207"/>
                  <a:pt x="717" y="209"/>
                  <a:pt x="717" y="211"/>
                </a:cubicBezTo>
                <a:cubicBezTo>
                  <a:pt x="717" y="211"/>
                  <a:pt x="717" y="211"/>
                  <a:pt x="717" y="262"/>
                </a:cubicBezTo>
                <a:cubicBezTo>
                  <a:pt x="717" y="262"/>
                  <a:pt x="716" y="263"/>
                  <a:pt x="716" y="264"/>
                </a:cubicBezTo>
                <a:cubicBezTo>
                  <a:pt x="716" y="265"/>
                  <a:pt x="715" y="266"/>
                  <a:pt x="714" y="267"/>
                </a:cubicBezTo>
                <a:cubicBezTo>
                  <a:pt x="712" y="268"/>
                  <a:pt x="710" y="269"/>
                  <a:pt x="707" y="271"/>
                </a:cubicBezTo>
                <a:cubicBezTo>
                  <a:pt x="701" y="273"/>
                  <a:pt x="693" y="274"/>
                  <a:pt x="684" y="274"/>
                </a:cubicBezTo>
                <a:cubicBezTo>
                  <a:pt x="684" y="274"/>
                  <a:pt x="684" y="274"/>
                  <a:pt x="684" y="274"/>
                </a:cubicBezTo>
                <a:cubicBezTo>
                  <a:pt x="684" y="274"/>
                  <a:pt x="684" y="274"/>
                  <a:pt x="684" y="274"/>
                </a:cubicBezTo>
                <a:cubicBezTo>
                  <a:pt x="675" y="274"/>
                  <a:pt x="667" y="273"/>
                  <a:pt x="662" y="271"/>
                </a:cubicBezTo>
                <a:cubicBezTo>
                  <a:pt x="659" y="269"/>
                  <a:pt x="656" y="268"/>
                  <a:pt x="655" y="267"/>
                </a:cubicBezTo>
                <a:cubicBezTo>
                  <a:pt x="654" y="266"/>
                  <a:pt x="653" y="265"/>
                  <a:pt x="653" y="264"/>
                </a:cubicBezTo>
                <a:cubicBezTo>
                  <a:pt x="652" y="263"/>
                  <a:pt x="652" y="262"/>
                  <a:pt x="652" y="262"/>
                </a:cubicBezTo>
                <a:cubicBezTo>
                  <a:pt x="652" y="262"/>
                  <a:pt x="652" y="262"/>
                  <a:pt x="652" y="211"/>
                </a:cubicBezTo>
                <a:cubicBezTo>
                  <a:pt x="652" y="209"/>
                  <a:pt x="653" y="207"/>
                  <a:pt x="655" y="206"/>
                </a:cubicBezTo>
                <a:cubicBezTo>
                  <a:pt x="656" y="204"/>
                  <a:pt x="659" y="203"/>
                  <a:pt x="662" y="202"/>
                </a:cubicBezTo>
                <a:cubicBezTo>
                  <a:pt x="665" y="201"/>
                  <a:pt x="668" y="200"/>
                  <a:pt x="672" y="199"/>
                </a:cubicBezTo>
                <a:cubicBezTo>
                  <a:pt x="676" y="198"/>
                  <a:pt x="680" y="198"/>
                  <a:pt x="684" y="198"/>
                </a:cubicBezTo>
                <a:cubicBezTo>
                  <a:pt x="684" y="198"/>
                  <a:pt x="684" y="198"/>
                  <a:pt x="684" y="198"/>
                </a:cubicBezTo>
                <a:cubicBezTo>
                  <a:pt x="684" y="198"/>
                  <a:pt x="684" y="198"/>
                  <a:pt x="684" y="198"/>
                </a:cubicBezTo>
                <a:close/>
                <a:moveTo>
                  <a:pt x="684" y="202"/>
                </a:moveTo>
                <a:cubicBezTo>
                  <a:pt x="670" y="202"/>
                  <a:pt x="658" y="205"/>
                  <a:pt x="658" y="209"/>
                </a:cubicBezTo>
                <a:cubicBezTo>
                  <a:pt x="658" y="214"/>
                  <a:pt x="670" y="217"/>
                  <a:pt x="684" y="217"/>
                </a:cubicBezTo>
                <a:cubicBezTo>
                  <a:pt x="699" y="217"/>
                  <a:pt x="711" y="214"/>
                  <a:pt x="711" y="209"/>
                </a:cubicBezTo>
                <a:cubicBezTo>
                  <a:pt x="711" y="205"/>
                  <a:pt x="699" y="202"/>
                  <a:pt x="684" y="202"/>
                </a:cubicBezTo>
                <a:close/>
                <a:moveTo>
                  <a:pt x="852" y="347"/>
                </a:moveTo>
                <a:cubicBezTo>
                  <a:pt x="852" y="346"/>
                  <a:pt x="851" y="346"/>
                  <a:pt x="851" y="345"/>
                </a:cubicBezTo>
                <a:cubicBezTo>
                  <a:pt x="851" y="345"/>
                  <a:pt x="851" y="345"/>
                  <a:pt x="851" y="294"/>
                </a:cubicBezTo>
                <a:cubicBezTo>
                  <a:pt x="851" y="292"/>
                  <a:pt x="852" y="290"/>
                  <a:pt x="854" y="289"/>
                </a:cubicBezTo>
                <a:cubicBezTo>
                  <a:pt x="856" y="287"/>
                  <a:pt x="858" y="286"/>
                  <a:pt x="861" y="285"/>
                </a:cubicBezTo>
                <a:cubicBezTo>
                  <a:pt x="864" y="284"/>
                  <a:pt x="867" y="283"/>
                  <a:pt x="871" y="282"/>
                </a:cubicBezTo>
                <a:cubicBezTo>
                  <a:pt x="875" y="281"/>
                  <a:pt x="879" y="281"/>
                  <a:pt x="884" y="281"/>
                </a:cubicBezTo>
                <a:cubicBezTo>
                  <a:pt x="884" y="281"/>
                  <a:pt x="884" y="281"/>
                  <a:pt x="884" y="281"/>
                </a:cubicBezTo>
                <a:cubicBezTo>
                  <a:pt x="884" y="281"/>
                  <a:pt x="884" y="281"/>
                  <a:pt x="884" y="281"/>
                </a:cubicBezTo>
                <a:cubicBezTo>
                  <a:pt x="888" y="281"/>
                  <a:pt x="892" y="281"/>
                  <a:pt x="896" y="282"/>
                </a:cubicBezTo>
                <a:cubicBezTo>
                  <a:pt x="900" y="283"/>
                  <a:pt x="904" y="284"/>
                  <a:pt x="907" y="285"/>
                </a:cubicBezTo>
                <a:cubicBezTo>
                  <a:pt x="909" y="286"/>
                  <a:pt x="912" y="287"/>
                  <a:pt x="913" y="289"/>
                </a:cubicBezTo>
                <a:cubicBezTo>
                  <a:pt x="915" y="290"/>
                  <a:pt x="916" y="292"/>
                  <a:pt x="916" y="294"/>
                </a:cubicBezTo>
                <a:cubicBezTo>
                  <a:pt x="916" y="294"/>
                  <a:pt x="916" y="294"/>
                  <a:pt x="916" y="345"/>
                </a:cubicBezTo>
                <a:cubicBezTo>
                  <a:pt x="916" y="346"/>
                  <a:pt x="916" y="346"/>
                  <a:pt x="915" y="347"/>
                </a:cubicBezTo>
                <a:cubicBezTo>
                  <a:pt x="915" y="348"/>
                  <a:pt x="914" y="349"/>
                  <a:pt x="913" y="350"/>
                </a:cubicBezTo>
                <a:cubicBezTo>
                  <a:pt x="912" y="351"/>
                  <a:pt x="909" y="353"/>
                  <a:pt x="907" y="354"/>
                </a:cubicBezTo>
                <a:cubicBezTo>
                  <a:pt x="901" y="356"/>
                  <a:pt x="893" y="357"/>
                  <a:pt x="884" y="357"/>
                </a:cubicBezTo>
                <a:cubicBezTo>
                  <a:pt x="884" y="357"/>
                  <a:pt x="884" y="357"/>
                  <a:pt x="884" y="357"/>
                </a:cubicBezTo>
                <a:cubicBezTo>
                  <a:pt x="884" y="357"/>
                  <a:pt x="884" y="357"/>
                  <a:pt x="884" y="357"/>
                </a:cubicBezTo>
                <a:cubicBezTo>
                  <a:pt x="875" y="357"/>
                  <a:pt x="867" y="356"/>
                  <a:pt x="861" y="354"/>
                </a:cubicBezTo>
                <a:cubicBezTo>
                  <a:pt x="858" y="353"/>
                  <a:pt x="856" y="351"/>
                  <a:pt x="854" y="350"/>
                </a:cubicBezTo>
                <a:cubicBezTo>
                  <a:pt x="853" y="349"/>
                  <a:pt x="853" y="348"/>
                  <a:pt x="852" y="347"/>
                </a:cubicBezTo>
                <a:close/>
                <a:moveTo>
                  <a:pt x="857" y="293"/>
                </a:moveTo>
                <a:cubicBezTo>
                  <a:pt x="857" y="297"/>
                  <a:pt x="869" y="300"/>
                  <a:pt x="884" y="300"/>
                </a:cubicBezTo>
                <a:cubicBezTo>
                  <a:pt x="898" y="300"/>
                  <a:pt x="910" y="297"/>
                  <a:pt x="910" y="293"/>
                </a:cubicBezTo>
                <a:cubicBezTo>
                  <a:pt x="910" y="288"/>
                  <a:pt x="898" y="285"/>
                  <a:pt x="884" y="285"/>
                </a:cubicBezTo>
                <a:cubicBezTo>
                  <a:pt x="869" y="285"/>
                  <a:pt x="857" y="288"/>
                  <a:pt x="857" y="293"/>
                </a:cubicBezTo>
                <a:close/>
                <a:moveTo>
                  <a:pt x="748" y="119"/>
                </a:moveTo>
                <a:cubicBezTo>
                  <a:pt x="751" y="120"/>
                  <a:pt x="753" y="121"/>
                  <a:pt x="755" y="123"/>
                </a:cubicBezTo>
                <a:cubicBezTo>
                  <a:pt x="756" y="124"/>
                  <a:pt x="757" y="126"/>
                  <a:pt x="757" y="128"/>
                </a:cubicBezTo>
                <a:cubicBezTo>
                  <a:pt x="757" y="128"/>
                  <a:pt x="757" y="128"/>
                  <a:pt x="757" y="179"/>
                </a:cubicBezTo>
                <a:cubicBezTo>
                  <a:pt x="757" y="179"/>
                  <a:pt x="757" y="180"/>
                  <a:pt x="756" y="181"/>
                </a:cubicBezTo>
                <a:cubicBezTo>
                  <a:pt x="756" y="182"/>
                  <a:pt x="755" y="183"/>
                  <a:pt x="755" y="183"/>
                </a:cubicBezTo>
                <a:cubicBezTo>
                  <a:pt x="753" y="185"/>
                  <a:pt x="751" y="186"/>
                  <a:pt x="748" y="188"/>
                </a:cubicBezTo>
                <a:cubicBezTo>
                  <a:pt x="742" y="190"/>
                  <a:pt x="734" y="191"/>
                  <a:pt x="725" y="191"/>
                </a:cubicBezTo>
                <a:cubicBezTo>
                  <a:pt x="725" y="191"/>
                  <a:pt x="725" y="191"/>
                  <a:pt x="725" y="191"/>
                </a:cubicBezTo>
                <a:cubicBezTo>
                  <a:pt x="725" y="191"/>
                  <a:pt x="725" y="191"/>
                  <a:pt x="725" y="191"/>
                </a:cubicBezTo>
                <a:cubicBezTo>
                  <a:pt x="716" y="191"/>
                  <a:pt x="708" y="190"/>
                  <a:pt x="702" y="188"/>
                </a:cubicBezTo>
                <a:cubicBezTo>
                  <a:pt x="699" y="186"/>
                  <a:pt x="697" y="185"/>
                  <a:pt x="695" y="183"/>
                </a:cubicBezTo>
                <a:cubicBezTo>
                  <a:pt x="694" y="183"/>
                  <a:pt x="694" y="182"/>
                  <a:pt x="693" y="181"/>
                </a:cubicBezTo>
                <a:cubicBezTo>
                  <a:pt x="693" y="180"/>
                  <a:pt x="693" y="179"/>
                  <a:pt x="693" y="179"/>
                </a:cubicBezTo>
                <a:cubicBezTo>
                  <a:pt x="693" y="179"/>
                  <a:pt x="693" y="179"/>
                  <a:pt x="693" y="128"/>
                </a:cubicBezTo>
                <a:cubicBezTo>
                  <a:pt x="693" y="126"/>
                  <a:pt x="694" y="124"/>
                  <a:pt x="695" y="123"/>
                </a:cubicBezTo>
                <a:cubicBezTo>
                  <a:pt x="697" y="121"/>
                  <a:pt x="699" y="120"/>
                  <a:pt x="702" y="119"/>
                </a:cubicBezTo>
                <a:cubicBezTo>
                  <a:pt x="705" y="117"/>
                  <a:pt x="708" y="116"/>
                  <a:pt x="712" y="116"/>
                </a:cubicBezTo>
                <a:cubicBezTo>
                  <a:pt x="716" y="115"/>
                  <a:pt x="720" y="115"/>
                  <a:pt x="725" y="115"/>
                </a:cubicBezTo>
                <a:cubicBezTo>
                  <a:pt x="725" y="115"/>
                  <a:pt x="725" y="115"/>
                  <a:pt x="725" y="115"/>
                </a:cubicBezTo>
                <a:cubicBezTo>
                  <a:pt x="725" y="115"/>
                  <a:pt x="725" y="115"/>
                  <a:pt x="725" y="115"/>
                </a:cubicBezTo>
                <a:cubicBezTo>
                  <a:pt x="729" y="115"/>
                  <a:pt x="734" y="115"/>
                  <a:pt x="737" y="116"/>
                </a:cubicBezTo>
                <a:cubicBezTo>
                  <a:pt x="741" y="116"/>
                  <a:pt x="745" y="117"/>
                  <a:pt x="748" y="119"/>
                </a:cubicBezTo>
                <a:close/>
                <a:moveTo>
                  <a:pt x="725" y="119"/>
                </a:moveTo>
                <a:cubicBezTo>
                  <a:pt x="710" y="119"/>
                  <a:pt x="698" y="122"/>
                  <a:pt x="698" y="126"/>
                </a:cubicBezTo>
                <a:cubicBezTo>
                  <a:pt x="698" y="130"/>
                  <a:pt x="710" y="134"/>
                  <a:pt x="725" y="134"/>
                </a:cubicBezTo>
                <a:cubicBezTo>
                  <a:pt x="740" y="134"/>
                  <a:pt x="751" y="130"/>
                  <a:pt x="751" y="126"/>
                </a:cubicBezTo>
                <a:cubicBezTo>
                  <a:pt x="751" y="122"/>
                  <a:pt x="740" y="119"/>
                  <a:pt x="725" y="119"/>
                </a:cubicBezTo>
                <a:close/>
                <a:moveTo>
                  <a:pt x="890" y="211"/>
                </a:moveTo>
                <a:cubicBezTo>
                  <a:pt x="890" y="262"/>
                  <a:pt x="890" y="262"/>
                  <a:pt x="890" y="262"/>
                </a:cubicBezTo>
                <a:cubicBezTo>
                  <a:pt x="890" y="262"/>
                  <a:pt x="891" y="263"/>
                  <a:pt x="891" y="264"/>
                </a:cubicBezTo>
                <a:cubicBezTo>
                  <a:pt x="892" y="265"/>
                  <a:pt x="892" y="266"/>
                  <a:pt x="893" y="267"/>
                </a:cubicBezTo>
                <a:cubicBezTo>
                  <a:pt x="895" y="268"/>
                  <a:pt x="897" y="269"/>
                  <a:pt x="900" y="271"/>
                </a:cubicBezTo>
                <a:cubicBezTo>
                  <a:pt x="906" y="273"/>
                  <a:pt x="914" y="274"/>
                  <a:pt x="923" y="274"/>
                </a:cubicBezTo>
                <a:cubicBezTo>
                  <a:pt x="923" y="274"/>
                  <a:pt x="923" y="274"/>
                  <a:pt x="923" y="274"/>
                </a:cubicBezTo>
                <a:cubicBezTo>
                  <a:pt x="923" y="274"/>
                  <a:pt x="923" y="274"/>
                  <a:pt x="923" y="274"/>
                </a:cubicBezTo>
                <a:cubicBezTo>
                  <a:pt x="932" y="274"/>
                  <a:pt x="940" y="273"/>
                  <a:pt x="945" y="271"/>
                </a:cubicBezTo>
                <a:cubicBezTo>
                  <a:pt x="948" y="269"/>
                  <a:pt x="951" y="268"/>
                  <a:pt x="952" y="267"/>
                </a:cubicBezTo>
                <a:cubicBezTo>
                  <a:pt x="953" y="266"/>
                  <a:pt x="954" y="265"/>
                  <a:pt x="954" y="264"/>
                </a:cubicBezTo>
                <a:cubicBezTo>
                  <a:pt x="955" y="263"/>
                  <a:pt x="955" y="262"/>
                  <a:pt x="955" y="262"/>
                </a:cubicBezTo>
                <a:cubicBezTo>
                  <a:pt x="955" y="244"/>
                  <a:pt x="955" y="232"/>
                  <a:pt x="955" y="225"/>
                </a:cubicBezTo>
                <a:cubicBezTo>
                  <a:pt x="939" y="215"/>
                  <a:pt x="939" y="215"/>
                  <a:pt x="939" y="215"/>
                </a:cubicBezTo>
                <a:cubicBezTo>
                  <a:pt x="934" y="216"/>
                  <a:pt x="929" y="217"/>
                  <a:pt x="923" y="217"/>
                </a:cubicBezTo>
                <a:cubicBezTo>
                  <a:pt x="908" y="217"/>
                  <a:pt x="896" y="214"/>
                  <a:pt x="896" y="209"/>
                </a:cubicBezTo>
                <a:cubicBezTo>
                  <a:pt x="896" y="206"/>
                  <a:pt x="904" y="203"/>
                  <a:pt x="916" y="202"/>
                </a:cubicBezTo>
                <a:cubicBezTo>
                  <a:pt x="910" y="199"/>
                  <a:pt x="910" y="199"/>
                  <a:pt x="910" y="199"/>
                </a:cubicBezTo>
                <a:cubicBezTo>
                  <a:pt x="910" y="199"/>
                  <a:pt x="910" y="199"/>
                  <a:pt x="910" y="199"/>
                </a:cubicBezTo>
                <a:cubicBezTo>
                  <a:pt x="906" y="200"/>
                  <a:pt x="903" y="201"/>
                  <a:pt x="900" y="202"/>
                </a:cubicBezTo>
                <a:cubicBezTo>
                  <a:pt x="897" y="203"/>
                  <a:pt x="895" y="204"/>
                  <a:pt x="893" y="206"/>
                </a:cubicBezTo>
                <a:cubicBezTo>
                  <a:pt x="891" y="207"/>
                  <a:pt x="890" y="209"/>
                  <a:pt x="890" y="211"/>
                </a:cubicBezTo>
                <a:close/>
                <a:moveTo>
                  <a:pt x="971" y="430"/>
                </a:moveTo>
                <a:cubicBezTo>
                  <a:pt x="970" y="430"/>
                  <a:pt x="970" y="429"/>
                  <a:pt x="970" y="428"/>
                </a:cubicBezTo>
                <a:cubicBezTo>
                  <a:pt x="970" y="428"/>
                  <a:pt x="970" y="428"/>
                  <a:pt x="970" y="377"/>
                </a:cubicBezTo>
                <a:cubicBezTo>
                  <a:pt x="970" y="375"/>
                  <a:pt x="971" y="373"/>
                  <a:pt x="972" y="372"/>
                </a:cubicBezTo>
                <a:cubicBezTo>
                  <a:pt x="974" y="370"/>
                  <a:pt x="976" y="369"/>
                  <a:pt x="979" y="368"/>
                </a:cubicBezTo>
                <a:cubicBezTo>
                  <a:pt x="982" y="367"/>
                  <a:pt x="986" y="366"/>
                  <a:pt x="990" y="365"/>
                </a:cubicBezTo>
                <a:cubicBezTo>
                  <a:pt x="993" y="365"/>
                  <a:pt x="998" y="364"/>
                  <a:pt x="1002" y="364"/>
                </a:cubicBezTo>
                <a:cubicBezTo>
                  <a:pt x="1002" y="364"/>
                  <a:pt x="1002" y="364"/>
                  <a:pt x="1002" y="364"/>
                </a:cubicBezTo>
                <a:cubicBezTo>
                  <a:pt x="1002" y="364"/>
                  <a:pt x="1002" y="364"/>
                  <a:pt x="1002" y="364"/>
                </a:cubicBezTo>
                <a:cubicBezTo>
                  <a:pt x="1007" y="364"/>
                  <a:pt x="1011" y="365"/>
                  <a:pt x="1015" y="365"/>
                </a:cubicBezTo>
                <a:cubicBezTo>
                  <a:pt x="1018" y="366"/>
                  <a:pt x="1022" y="367"/>
                  <a:pt x="1025" y="368"/>
                </a:cubicBezTo>
                <a:cubicBezTo>
                  <a:pt x="1028" y="369"/>
                  <a:pt x="1030" y="370"/>
                  <a:pt x="1032" y="372"/>
                </a:cubicBezTo>
                <a:cubicBezTo>
                  <a:pt x="1033" y="373"/>
                  <a:pt x="1034" y="375"/>
                  <a:pt x="1034" y="377"/>
                </a:cubicBezTo>
                <a:cubicBezTo>
                  <a:pt x="1034" y="377"/>
                  <a:pt x="1034" y="377"/>
                  <a:pt x="1034" y="428"/>
                </a:cubicBezTo>
                <a:cubicBezTo>
                  <a:pt x="1034" y="429"/>
                  <a:pt x="1034" y="430"/>
                  <a:pt x="1034" y="430"/>
                </a:cubicBezTo>
                <a:cubicBezTo>
                  <a:pt x="1033" y="431"/>
                  <a:pt x="1033" y="432"/>
                  <a:pt x="1032" y="433"/>
                </a:cubicBezTo>
                <a:cubicBezTo>
                  <a:pt x="1030" y="434"/>
                  <a:pt x="1028" y="436"/>
                  <a:pt x="1025" y="437"/>
                </a:cubicBezTo>
                <a:cubicBezTo>
                  <a:pt x="1019" y="439"/>
                  <a:pt x="1011" y="441"/>
                  <a:pt x="1002" y="441"/>
                </a:cubicBezTo>
                <a:cubicBezTo>
                  <a:pt x="1002" y="441"/>
                  <a:pt x="1002" y="441"/>
                  <a:pt x="1002" y="441"/>
                </a:cubicBezTo>
                <a:cubicBezTo>
                  <a:pt x="1002" y="441"/>
                  <a:pt x="1002" y="441"/>
                  <a:pt x="1002" y="441"/>
                </a:cubicBezTo>
                <a:cubicBezTo>
                  <a:pt x="993" y="441"/>
                  <a:pt x="985" y="439"/>
                  <a:pt x="979" y="437"/>
                </a:cubicBezTo>
                <a:cubicBezTo>
                  <a:pt x="976" y="436"/>
                  <a:pt x="974" y="434"/>
                  <a:pt x="972" y="433"/>
                </a:cubicBezTo>
                <a:cubicBezTo>
                  <a:pt x="972" y="432"/>
                  <a:pt x="971" y="431"/>
                  <a:pt x="971" y="430"/>
                </a:cubicBezTo>
                <a:close/>
                <a:moveTo>
                  <a:pt x="976" y="376"/>
                </a:moveTo>
                <a:cubicBezTo>
                  <a:pt x="976" y="380"/>
                  <a:pt x="987" y="383"/>
                  <a:pt x="1002" y="383"/>
                </a:cubicBezTo>
                <a:cubicBezTo>
                  <a:pt x="1017" y="383"/>
                  <a:pt x="1029" y="380"/>
                  <a:pt x="1029" y="376"/>
                </a:cubicBezTo>
                <a:cubicBezTo>
                  <a:pt x="1029" y="371"/>
                  <a:pt x="1017" y="368"/>
                  <a:pt x="1002" y="368"/>
                </a:cubicBezTo>
                <a:cubicBezTo>
                  <a:pt x="987" y="368"/>
                  <a:pt x="976" y="371"/>
                  <a:pt x="976" y="376"/>
                </a:cubicBezTo>
                <a:close/>
                <a:moveTo>
                  <a:pt x="932" y="347"/>
                </a:moveTo>
                <a:cubicBezTo>
                  <a:pt x="931" y="346"/>
                  <a:pt x="931" y="346"/>
                  <a:pt x="931" y="345"/>
                </a:cubicBezTo>
                <a:cubicBezTo>
                  <a:pt x="931" y="345"/>
                  <a:pt x="931" y="345"/>
                  <a:pt x="931" y="294"/>
                </a:cubicBezTo>
                <a:cubicBezTo>
                  <a:pt x="931" y="292"/>
                  <a:pt x="932" y="290"/>
                  <a:pt x="933" y="289"/>
                </a:cubicBezTo>
                <a:cubicBezTo>
                  <a:pt x="935" y="287"/>
                  <a:pt x="937" y="286"/>
                  <a:pt x="940" y="285"/>
                </a:cubicBezTo>
                <a:cubicBezTo>
                  <a:pt x="943" y="284"/>
                  <a:pt x="947" y="283"/>
                  <a:pt x="951" y="282"/>
                </a:cubicBezTo>
                <a:cubicBezTo>
                  <a:pt x="954" y="281"/>
                  <a:pt x="959" y="281"/>
                  <a:pt x="963" y="281"/>
                </a:cubicBezTo>
                <a:cubicBezTo>
                  <a:pt x="963" y="281"/>
                  <a:pt x="963" y="281"/>
                  <a:pt x="963" y="281"/>
                </a:cubicBezTo>
                <a:cubicBezTo>
                  <a:pt x="963" y="281"/>
                  <a:pt x="963" y="281"/>
                  <a:pt x="963" y="281"/>
                </a:cubicBezTo>
                <a:cubicBezTo>
                  <a:pt x="968" y="281"/>
                  <a:pt x="972" y="281"/>
                  <a:pt x="976" y="282"/>
                </a:cubicBezTo>
                <a:cubicBezTo>
                  <a:pt x="980" y="283"/>
                  <a:pt x="983" y="284"/>
                  <a:pt x="986" y="285"/>
                </a:cubicBezTo>
                <a:cubicBezTo>
                  <a:pt x="989" y="286"/>
                  <a:pt x="991" y="287"/>
                  <a:pt x="993" y="289"/>
                </a:cubicBezTo>
                <a:cubicBezTo>
                  <a:pt x="995" y="290"/>
                  <a:pt x="995" y="292"/>
                  <a:pt x="995" y="294"/>
                </a:cubicBezTo>
                <a:cubicBezTo>
                  <a:pt x="995" y="294"/>
                  <a:pt x="995" y="294"/>
                  <a:pt x="995" y="345"/>
                </a:cubicBezTo>
                <a:cubicBezTo>
                  <a:pt x="995" y="346"/>
                  <a:pt x="995" y="346"/>
                  <a:pt x="995" y="347"/>
                </a:cubicBezTo>
                <a:cubicBezTo>
                  <a:pt x="994" y="348"/>
                  <a:pt x="994" y="349"/>
                  <a:pt x="993" y="350"/>
                </a:cubicBezTo>
                <a:cubicBezTo>
                  <a:pt x="991" y="351"/>
                  <a:pt x="989" y="353"/>
                  <a:pt x="986" y="354"/>
                </a:cubicBezTo>
                <a:cubicBezTo>
                  <a:pt x="980" y="356"/>
                  <a:pt x="972" y="357"/>
                  <a:pt x="963" y="357"/>
                </a:cubicBezTo>
                <a:cubicBezTo>
                  <a:pt x="963" y="357"/>
                  <a:pt x="963" y="357"/>
                  <a:pt x="963" y="357"/>
                </a:cubicBezTo>
                <a:cubicBezTo>
                  <a:pt x="963" y="357"/>
                  <a:pt x="963" y="357"/>
                  <a:pt x="963" y="357"/>
                </a:cubicBezTo>
                <a:cubicBezTo>
                  <a:pt x="954" y="357"/>
                  <a:pt x="946" y="356"/>
                  <a:pt x="940" y="354"/>
                </a:cubicBezTo>
                <a:cubicBezTo>
                  <a:pt x="937" y="353"/>
                  <a:pt x="935" y="351"/>
                  <a:pt x="933" y="350"/>
                </a:cubicBezTo>
                <a:cubicBezTo>
                  <a:pt x="933" y="349"/>
                  <a:pt x="932" y="348"/>
                  <a:pt x="932" y="347"/>
                </a:cubicBezTo>
                <a:close/>
                <a:moveTo>
                  <a:pt x="937" y="293"/>
                </a:moveTo>
                <a:cubicBezTo>
                  <a:pt x="937" y="297"/>
                  <a:pt x="948" y="300"/>
                  <a:pt x="963" y="300"/>
                </a:cubicBezTo>
                <a:cubicBezTo>
                  <a:pt x="978" y="300"/>
                  <a:pt x="990" y="297"/>
                  <a:pt x="990" y="293"/>
                </a:cubicBezTo>
                <a:cubicBezTo>
                  <a:pt x="990" y="288"/>
                  <a:pt x="978" y="285"/>
                  <a:pt x="963" y="285"/>
                </a:cubicBezTo>
                <a:cubicBezTo>
                  <a:pt x="948" y="285"/>
                  <a:pt x="937" y="288"/>
                  <a:pt x="937" y="293"/>
                </a:cubicBezTo>
                <a:close/>
                <a:moveTo>
                  <a:pt x="852" y="181"/>
                </a:moveTo>
                <a:cubicBezTo>
                  <a:pt x="853" y="182"/>
                  <a:pt x="853" y="183"/>
                  <a:pt x="854" y="183"/>
                </a:cubicBezTo>
                <a:cubicBezTo>
                  <a:pt x="856" y="185"/>
                  <a:pt x="858" y="186"/>
                  <a:pt x="861" y="188"/>
                </a:cubicBezTo>
                <a:cubicBezTo>
                  <a:pt x="867" y="190"/>
                  <a:pt x="875" y="191"/>
                  <a:pt x="884" y="191"/>
                </a:cubicBezTo>
                <a:cubicBezTo>
                  <a:pt x="884" y="191"/>
                  <a:pt x="884" y="191"/>
                  <a:pt x="884" y="191"/>
                </a:cubicBezTo>
                <a:cubicBezTo>
                  <a:pt x="884" y="191"/>
                  <a:pt x="884" y="191"/>
                  <a:pt x="884" y="191"/>
                </a:cubicBezTo>
                <a:cubicBezTo>
                  <a:pt x="888" y="191"/>
                  <a:pt x="892" y="191"/>
                  <a:pt x="896" y="190"/>
                </a:cubicBezTo>
                <a:cubicBezTo>
                  <a:pt x="851" y="165"/>
                  <a:pt x="851" y="165"/>
                  <a:pt x="851" y="165"/>
                </a:cubicBezTo>
                <a:cubicBezTo>
                  <a:pt x="851" y="178"/>
                  <a:pt x="851" y="179"/>
                  <a:pt x="851" y="179"/>
                </a:cubicBezTo>
                <a:cubicBezTo>
                  <a:pt x="851" y="179"/>
                  <a:pt x="852" y="180"/>
                  <a:pt x="852" y="181"/>
                </a:cubicBezTo>
                <a:close/>
                <a:moveTo>
                  <a:pt x="645" y="281"/>
                </a:moveTo>
                <a:cubicBezTo>
                  <a:pt x="650" y="281"/>
                  <a:pt x="654" y="281"/>
                  <a:pt x="658" y="282"/>
                </a:cubicBezTo>
                <a:cubicBezTo>
                  <a:pt x="662" y="283"/>
                  <a:pt x="665" y="284"/>
                  <a:pt x="668" y="285"/>
                </a:cubicBezTo>
                <a:cubicBezTo>
                  <a:pt x="671" y="286"/>
                  <a:pt x="673" y="287"/>
                  <a:pt x="675" y="289"/>
                </a:cubicBezTo>
                <a:cubicBezTo>
                  <a:pt x="677" y="290"/>
                  <a:pt x="678" y="292"/>
                  <a:pt x="678" y="294"/>
                </a:cubicBezTo>
                <a:cubicBezTo>
                  <a:pt x="678" y="294"/>
                  <a:pt x="678" y="294"/>
                  <a:pt x="678" y="345"/>
                </a:cubicBezTo>
                <a:cubicBezTo>
                  <a:pt x="678" y="346"/>
                  <a:pt x="677" y="346"/>
                  <a:pt x="677" y="347"/>
                </a:cubicBezTo>
                <a:cubicBezTo>
                  <a:pt x="677" y="348"/>
                  <a:pt x="676" y="349"/>
                  <a:pt x="675" y="350"/>
                </a:cubicBezTo>
                <a:cubicBezTo>
                  <a:pt x="673" y="351"/>
                  <a:pt x="671" y="353"/>
                  <a:pt x="668" y="354"/>
                </a:cubicBezTo>
                <a:cubicBezTo>
                  <a:pt x="662" y="356"/>
                  <a:pt x="654" y="357"/>
                  <a:pt x="645" y="357"/>
                </a:cubicBezTo>
                <a:cubicBezTo>
                  <a:pt x="645" y="357"/>
                  <a:pt x="645" y="357"/>
                  <a:pt x="645" y="357"/>
                </a:cubicBezTo>
                <a:cubicBezTo>
                  <a:pt x="645" y="357"/>
                  <a:pt x="645" y="357"/>
                  <a:pt x="645" y="357"/>
                </a:cubicBezTo>
                <a:cubicBezTo>
                  <a:pt x="636" y="357"/>
                  <a:pt x="628" y="356"/>
                  <a:pt x="623" y="354"/>
                </a:cubicBezTo>
                <a:cubicBezTo>
                  <a:pt x="620" y="353"/>
                  <a:pt x="617" y="351"/>
                  <a:pt x="616" y="350"/>
                </a:cubicBezTo>
                <a:cubicBezTo>
                  <a:pt x="615" y="349"/>
                  <a:pt x="614" y="348"/>
                  <a:pt x="614" y="347"/>
                </a:cubicBezTo>
                <a:cubicBezTo>
                  <a:pt x="613" y="346"/>
                  <a:pt x="613" y="346"/>
                  <a:pt x="613" y="345"/>
                </a:cubicBezTo>
                <a:cubicBezTo>
                  <a:pt x="613" y="345"/>
                  <a:pt x="613" y="345"/>
                  <a:pt x="613" y="294"/>
                </a:cubicBezTo>
                <a:cubicBezTo>
                  <a:pt x="613" y="292"/>
                  <a:pt x="614" y="290"/>
                  <a:pt x="616" y="289"/>
                </a:cubicBezTo>
                <a:cubicBezTo>
                  <a:pt x="617" y="287"/>
                  <a:pt x="620" y="286"/>
                  <a:pt x="623" y="285"/>
                </a:cubicBezTo>
                <a:cubicBezTo>
                  <a:pt x="626" y="284"/>
                  <a:pt x="629" y="283"/>
                  <a:pt x="633" y="282"/>
                </a:cubicBezTo>
                <a:cubicBezTo>
                  <a:pt x="637" y="281"/>
                  <a:pt x="641" y="281"/>
                  <a:pt x="645" y="281"/>
                </a:cubicBezTo>
                <a:cubicBezTo>
                  <a:pt x="645" y="281"/>
                  <a:pt x="645" y="281"/>
                  <a:pt x="645" y="281"/>
                </a:cubicBezTo>
                <a:cubicBezTo>
                  <a:pt x="645" y="281"/>
                  <a:pt x="645" y="281"/>
                  <a:pt x="645" y="281"/>
                </a:cubicBezTo>
                <a:close/>
                <a:moveTo>
                  <a:pt x="645" y="285"/>
                </a:moveTo>
                <a:cubicBezTo>
                  <a:pt x="631" y="285"/>
                  <a:pt x="619" y="288"/>
                  <a:pt x="619" y="293"/>
                </a:cubicBezTo>
                <a:cubicBezTo>
                  <a:pt x="619" y="297"/>
                  <a:pt x="631" y="300"/>
                  <a:pt x="645" y="300"/>
                </a:cubicBezTo>
                <a:cubicBezTo>
                  <a:pt x="660" y="300"/>
                  <a:pt x="672" y="297"/>
                  <a:pt x="672" y="293"/>
                </a:cubicBezTo>
                <a:cubicBezTo>
                  <a:pt x="672" y="288"/>
                  <a:pt x="660" y="285"/>
                  <a:pt x="645" y="285"/>
                </a:cubicBezTo>
                <a:close/>
                <a:moveTo>
                  <a:pt x="271" y="520"/>
                </a:moveTo>
                <a:cubicBezTo>
                  <a:pt x="265" y="522"/>
                  <a:pt x="257" y="524"/>
                  <a:pt x="248" y="524"/>
                </a:cubicBezTo>
                <a:cubicBezTo>
                  <a:pt x="248" y="524"/>
                  <a:pt x="248" y="524"/>
                  <a:pt x="248" y="524"/>
                </a:cubicBezTo>
                <a:cubicBezTo>
                  <a:pt x="248" y="524"/>
                  <a:pt x="248" y="524"/>
                  <a:pt x="248" y="524"/>
                </a:cubicBezTo>
                <a:cubicBezTo>
                  <a:pt x="239" y="524"/>
                  <a:pt x="231" y="522"/>
                  <a:pt x="225" y="520"/>
                </a:cubicBezTo>
                <a:cubicBezTo>
                  <a:pt x="223" y="519"/>
                  <a:pt x="220" y="517"/>
                  <a:pt x="219" y="516"/>
                </a:cubicBezTo>
                <a:cubicBezTo>
                  <a:pt x="218" y="515"/>
                  <a:pt x="217" y="514"/>
                  <a:pt x="217" y="514"/>
                </a:cubicBezTo>
                <a:cubicBezTo>
                  <a:pt x="216" y="513"/>
                  <a:pt x="216" y="512"/>
                  <a:pt x="216" y="511"/>
                </a:cubicBezTo>
                <a:cubicBezTo>
                  <a:pt x="216" y="511"/>
                  <a:pt x="216" y="511"/>
                  <a:pt x="216" y="460"/>
                </a:cubicBezTo>
                <a:cubicBezTo>
                  <a:pt x="216" y="458"/>
                  <a:pt x="217" y="457"/>
                  <a:pt x="219" y="455"/>
                </a:cubicBezTo>
                <a:cubicBezTo>
                  <a:pt x="220" y="454"/>
                  <a:pt x="223" y="452"/>
                  <a:pt x="225" y="451"/>
                </a:cubicBezTo>
                <a:cubicBezTo>
                  <a:pt x="228" y="450"/>
                  <a:pt x="232" y="449"/>
                  <a:pt x="236" y="448"/>
                </a:cubicBezTo>
                <a:cubicBezTo>
                  <a:pt x="240" y="448"/>
                  <a:pt x="244" y="447"/>
                  <a:pt x="248" y="447"/>
                </a:cubicBezTo>
                <a:cubicBezTo>
                  <a:pt x="248" y="447"/>
                  <a:pt x="248" y="447"/>
                  <a:pt x="248" y="447"/>
                </a:cubicBezTo>
                <a:cubicBezTo>
                  <a:pt x="248" y="447"/>
                  <a:pt x="248" y="447"/>
                  <a:pt x="248" y="447"/>
                </a:cubicBezTo>
                <a:cubicBezTo>
                  <a:pt x="253" y="447"/>
                  <a:pt x="257" y="448"/>
                  <a:pt x="261" y="448"/>
                </a:cubicBezTo>
                <a:cubicBezTo>
                  <a:pt x="265" y="449"/>
                  <a:pt x="268" y="450"/>
                  <a:pt x="271" y="451"/>
                </a:cubicBezTo>
                <a:cubicBezTo>
                  <a:pt x="274" y="452"/>
                  <a:pt x="276" y="454"/>
                  <a:pt x="278" y="455"/>
                </a:cubicBezTo>
                <a:cubicBezTo>
                  <a:pt x="280" y="457"/>
                  <a:pt x="280" y="458"/>
                  <a:pt x="280" y="460"/>
                </a:cubicBezTo>
                <a:cubicBezTo>
                  <a:pt x="280" y="460"/>
                  <a:pt x="280" y="460"/>
                  <a:pt x="280" y="511"/>
                </a:cubicBezTo>
                <a:cubicBezTo>
                  <a:pt x="280" y="512"/>
                  <a:pt x="280" y="513"/>
                  <a:pt x="280" y="514"/>
                </a:cubicBezTo>
                <a:cubicBezTo>
                  <a:pt x="279" y="514"/>
                  <a:pt x="279" y="515"/>
                  <a:pt x="278" y="516"/>
                </a:cubicBezTo>
                <a:cubicBezTo>
                  <a:pt x="276" y="517"/>
                  <a:pt x="274" y="519"/>
                  <a:pt x="271" y="520"/>
                </a:cubicBezTo>
                <a:close/>
                <a:moveTo>
                  <a:pt x="275" y="459"/>
                </a:moveTo>
                <a:cubicBezTo>
                  <a:pt x="275" y="455"/>
                  <a:pt x="263" y="451"/>
                  <a:pt x="248" y="451"/>
                </a:cubicBezTo>
                <a:cubicBezTo>
                  <a:pt x="234" y="451"/>
                  <a:pt x="222" y="455"/>
                  <a:pt x="222" y="459"/>
                </a:cubicBezTo>
                <a:cubicBezTo>
                  <a:pt x="222" y="463"/>
                  <a:pt x="234" y="466"/>
                  <a:pt x="248" y="466"/>
                </a:cubicBezTo>
                <a:cubicBezTo>
                  <a:pt x="263" y="466"/>
                  <a:pt x="275" y="463"/>
                  <a:pt x="275" y="459"/>
                </a:cubicBezTo>
                <a:close/>
                <a:moveTo>
                  <a:pt x="734" y="100"/>
                </a:moveTo>
                <a:cubicBezTo>
                  <a:pt x="736" y="102"/>
                  <a:pt x="738" y="103"/>
                  <a:pt x="741" y="104"/>
                </a:cubicBezTo>
                <a:cubicBezTo>
                  <a:pt x="744" y="106"/>
                  <a:pt x="748" y="106"/>
                  <a:pt x="751" y="107"/>
                </a:cubicBezTo>
                <a:cubicBezTo>
                  <a:pt x="732" y="96"/>
                  <a:pt x="732" y="96"/>
                  <a:pt x="732" y="96"/>
                </a:cubicBezTo>
                <a:cubicBezTo>
                  <a:pt x="732" y="96"/>
                  <a:pt x="732" y="97"/>
                  <a:pt x="732" y="98"/>
                </a:cubicBezTo>
                <a:cubicBezTo>
                  <a:pt x="733" y="99"/>
                  <a:pt x="733" y="100"/>
                  <a:pt x="734" y="100"/>
                </a:cubicBezTo>
                <a:close/>
                <a:moveTo>
                  <a:pt x="605" y="198"/>
                </a:moveTo>
                <a:cubicBezTo>
                  <a:pt x="609" y="198"/>
                  <a:pt x="614" y="198"/>
                  <a:pt x="617" y="199"/>
                </a:cubicBezTo>
                <a:cubicBezTo>
                  <a:pt x="621" y="200"/>
                  <a:pt x="625" y="201"/>
                  <a:pt x="628" y="202"/>
                </a:cubicBezTo>
                <a:cubicBezTo>
                  <a:pt x="631" y="203"/>
                  <a:pt x="633" y="204"/>
                  <a:pt x="635" y="206"/>
                </a:cubicBezTo>
                <a:cubicBezTo>
                  <a:pt x="636" y="207"/>
                  <a:pt x="637" y="209"/>
                  <a:pt x="637" y="211"/>
                </a:cubicBezTo>
                <a:cubicBezTo>
                  <a:pt x="637" y="211"/>
                  <a:pt x="637" y="211"/>
                  <a:pt x="637" y="262"/>
                </a:cubicBezTo>
                <a:cubicBezTo>
                  <a:pt x="637" y="262"/>
                  <a:pt x="637" y="263"/>
                  <a:pt x="637" y="264"/>
                </a:cubicBezTo>
                <a:cubicBezTo>
                  <a:pt x="636" y="265"/>
                  <a:pt x="635" y="266"/>
                  <a:pt x="635" y="267"/>
                </a:cubicBezTo>
                <a:cubicBezTo>
                  <a:pt x="633" y="268"/>
                  <a:pt x="631" y="269"/>
                  <a:pt x="628" y="271"/>
                </a:cubicBezTo>
                <a:cubicBezTo>
                  <a:pt x="622" y="273"/>
                  <a:pt x="614" y="274"/>
                  <a:pt x="605" y="274"/>
                </a:cubicBezTo>
                <a:cubicBezTo>
                  <a:pt x="605" y="274"/>
                  <a:pt x="605" y="274"/>
                  <a:pt x="605" y="274"/>
                </a:cubicBezTo>
                <a:cubicBezTo>
                  <a:pt x="605" y="274"/>
                  <a:pt x="605" y="274"/>
                  <a:pt x="605" y="274"/>
                </a:cubicBezTo>
                <a:cubicBezTo>
                  <a:pt x="596" y="274"/>
                  <a:pt x="588" y="273"/>
                  <a:pt x="582" y="271"/>
                </a:cubicBezTo>
                <a:cubicBezTo>
                  <a:pt x="579" y="269"/>
                  <a:pt x="577" y="268"/>
                  <a:pt x="575" y="267"/>
                </a:cubicBezTo>
                <a:cubicBezTo>
                  <a:pt x="574" y="266"/>
                  <a:pt x="574" y="265"/>
                  <a:pt x="573" y="264"/>
                </a:cubicBezTo>
                <a:cubicBezTo>
                  <a:pt x="573" y="263"/>
                  <a:pt x="573" y="262"/>
                  <a:pt x="573" y="262"/>
                </a:cubicBezTo>
                <a:cubicBezTo>
                  <a:pt x="573" y="262"/>
                  <a:pt x="573" y="262"/>
                  <a:pt x="573" y="211"/>
                </a:cubicBezTo>
                <a:cubicBezTo>
                  <a:pt x="573" y="209"/>
                  <a:pt x="574" y="207"/>
                  <a:pt x="575" y="206"/>
                </a:cubicBezTo>
                <a:cubicBezTo>
                  <a:pt x="577" y="204"/>
                  <a:pt x="579" y="203"/>
                  <a:pt x="582" y="202"/>
                </a:cubicBezTo>
                <a:cubicBezTo>
                  <a:pt x="585" y="201"/>
                  <a:pt x="589" y="200"/>
                  <a:pt x="592" y="199"/>
                </a:cubicBezTo>
                <a:cubicBezTo>
                  <a:pt x="596" y="198"/>
                  <a:pt x="600" y="198"/>
                  <a:pt x="605" y="198"/>
                </a:cubicBezTo>
                <a:cubicBezTo>
                  <a:pt x="605" y="198"/>
                  <a:pt x="605" y="198"/>
                  <a:pt x="605" y="198"/>
                </a:cubicBezTo>
                <a:cubicBezTo>
                  <a:pt x="605" y="198"/>
                  <a:pt x="605" y="198"/>
                  <a:pt x="605" y="198"/>
                </a:cubicBezTo>
                <a:close/>
                <a:moveTo>
                  <a:pt x="605" y="202"/>
                </a:moveTo>
                <a:cubicBezTo>
                  <a:pt x="590" y="202"/>
                  <a:pt x="578" y="205"/>
                  <a:pt x="578" y="209"/>
                </a:cubicBezTo>
                <a:cubicBezTo>
                  <a:pt x="578" y="214"/>
                  <a:pt x="590" y="217"/>
                  <a:pt x="605" y="217"/>
                </a:cubicBezTo>
                <a:cubicBezTo>
                  <a:pt x="620" y="217"/>
                  <a:pt x="631" y="214"/>
                  <a:pt x="631" y="209"/>
                </a:cubicBezTo>
                <a:cubicBezTo>
                  <a:pt x="631" y="205"/>
                  <a:pt x="620" y="202"/>
                  <a:pt x="605" y="202"/>
                </a:cubicBezTo>
                <a:close/>
                <a:moveTo>
                  <a:pt x="653" y="98"/>
                </a:moveTo>
                <a:cubicBezTo>
                  <a:pt x="653" y="99"/>
                  <a:pt x="654" y="100"/>
                  <a:pt x="655" y="100"/>
                </a:cubicBezTo>
                <a:cubicBezTo>
                  <a:pt x="656" y="102"/>
                  <a:pt x="659" y="103"/>
                  <a:pt x="662" y="104"/>
                </a:cubicBezTo>
                <a:cubicBezTo>
                  <a:pt x="667" y="107"/>
                  <a:pt x="675" y="108"/>
                  <a:pt x="684" y="108"/>
                </a:cubicBezTo>
                <a:cubicBezTo>
                  <a:pt x="684" y="108"/>
                  <a:pt x="684" y="108"/>
                  <a:pt x="684" y="108"/>
                </a:cubicBezTo>
                <a:cubicBezTo>
                  <a:pt x="684" y="108"/>
                  <a:pt x="684" y="108"/>
                  <a:pt x="684" y="108"/>
                </a:cubicBezTo>
                <a:cubicBezTo>
                  <a:pt x="693" y="108"/>
                  <a:pt x="701" y="107"/>
                  <a:pt x="707" y="104"/>
                </a:cubicBezTo>
                <a:cubicBezTo>
                  <a:pt x="710" y="103"/>
                  <a:pt x="712" y="102"/>
                  <a:pt x="714" y="100"/>
                </a:cubicBezTo>
                <a:cubicBezTo>
                  <a:pt x="715" y="100"/>
                  <a:pt x="716" y="99"/>
                  <a:pt x="716" y="98"/>
                </a:cubicBezTo>
                <a:cubicBezTo>
                  <a:pt x="716" y="97"/>
                  <a:pt x="717" y="96"/>
                  <a:pt x="717" y="95"/>
                </a:cubicBezTo>
                <a:cubicBezTo>
                  <a:pt x="717" y="92"/>
                  <a:pt x="717" y="90"/>
                  <a:pt x="717" y="87"/>
                </a:cubicBezTo>
                <a:cubicBezTo>
                  <a:pt x="652" y="50"/>
                  <a:pt x="652" y="50"/>
                  <a:pt x="652" y="50"/>
                </a:cubicBezTo>
                <a:cubicBezTo>
                  <a:pt x="652" y="95"/>
                  <a:pt x="652" y="95"/>
                  <a:pt x="652" y="95"/>
                </a:cubicBezTo>
                <a:cubicBezTo>
                  <a:pt x="652" y="96"/>
                  <a:pt x="652" y="97"/>
                  <a:pt x="653" y="98"/>
                </a:cubicBezTo>
                <a:close/>
                <a:moveTo>
                  <a:pt x="516" y="123"/>
                </a:moveTo>
                <a:cubicBezTo>
                  <a:pt x="518" y="124"/>
                  <a:pt x="519" y="126"/>
                  <a:pt x="519" y="128"/>
                </a:cubicBezTo>
                <a:cubicBezTo>
                  <a:pt x="519" y="128"/>
                  <a:pt x="519" y="128"/>
                  <a:pt x="519" y="179"/>
                </a:cubicBezTo>
                <a:cubicBezTo>
                  <a:pt x="519" y="179"/>
                  <a:pt x="519" y="180"/>
                  <a:pt x="518" y="181"/>
                </a:cubicBezTo>
                <a:cubicBezTo>
                  <a:pt x="518" y="182"/>
                  <a:pt x="517" y="183"/>
                  <a:pt x="516" y="183"/>
                </a:cubicBezTo>
                <a:cubicBezTo>
                  <a:pt x="515" y="185"/>
                  <a:pt x="512" y="186"/>
                  <a:pt x="509" y="188"/>
                </a:cubicBezTo>
                <a:cubicBezTo>
                  <a:pt x="503" y="190"/>
                  <a:pt x="495" y="191"/>
                  <a:pt x="487" y="191"/>
                </a:cubicBezTo>
                <a:cubicBezTo>
                  <a:pt x="487" y="191"/>
                  <a:pt x="487" y="191"/>
                  <a:pt x="487" y="191"/>
                </a:cubicBezTo>
                <a:cubicBezTo>
                  <a:pt x="487" y="191"/>
                  <a:pt x="486" y="191"/>
                  <a:pt x="486" y="191"/>
                </a:cubicBezTo>
                <a:cubicBezTo>
                  <a:pt x="478" y="191"/>
                  <a:pt x="470" y="190"/>
                  <a:pt x="464" y="188"/>
                </a:cubicBezTo>
                <a:cubicBezTo>
                  <a:pt x="461" y="186"/>
                  <a:pt x="458" y="185"/>
                  <a:pt x="457" y="183"/>
                </a:cubicBezTo>
                <a:cubicBezTo>
                  <a:pt x="456" y="183"/>
                  <a:pt x="455" y="182"/>
                  <a:pt x="455" y="181"/>
                </a:cubicBezTo>
                <a:cubicBezTo>
                  <a:pt x="455" y="180"/>
                  <a:pt x="454" y="179"/>
                  <a:pt x="454" y="179"/>
                </a:cubicBezTo>
                <a:cubicBezTo>
                  <a:pt x="454" y="179"/>
                  <a:pt x="454" y="179"/>
                  <a:pt x="454" y="128"/>
                </a:cubicBezTo>
                <a:cubicBezTo>
                  <a:pt x="454" y="126"/>
                  <a:pt x="455" y="124"/>
                  <a:pt x="457" y="123"/>
                </a:cubicBezTo>
                <a:cubicBezTo>
                  <a:pt x="458" y="121"/>
                  <a:pt x="461" y="120"/>
                  <a:pt x="464" y="119"/>
                </a:cubicBezTo>
                <a:cubicBezTo>
                  <a:pt x="467" y="117"/>
                  <a:pt x="470" y="116"/>
                  <a:pt x="474" y="116"/>
                </a:cubicBezTo>
                <a:cubicBezTo>
                  <a:pt x="478" y="115"/>
                  <a:pt x="482" y="115"/>
                  <a:pt x="486" y="115"/>
                </a:cubicBezTo>
                <a:cubicBezTo>
                  <a:pt x="486" y="115"/>
                  <a:pt x="487" y="115"/>
                  <a:pt x="487" y="115"/>
                </a:cubicBezTo>
                <a:cubicBezTo>
                  <a:pt x="487" y="115"/>
                  <a:pt x="487" y="115"/>
                  <a:pt x="487" y="115"/>
                </a:cubicBezTo>
                <a:cubicBezTo>
                  <a:pt x="491" y="115"/>
                  <a:pt x="495" y="115"/>
                  <a:pt x="499" y="116"/>
                </a:cubicBezTo>
                <a:cubicBezTo>
                  <a:pt x="503" y="116"/>
                  <a:pt x="506" y="117"/>
                  <a:pt x="509" y="119"/>
                </a:cubicBezTo>
                <a:cubicBezTo>
                  <a:pt x="512" y="120"/>
                  <a:pt x="515" y="121"/>
                  <a:pt x="516" y="123"/>
                </a:cubicBezTo>
                <a:close/>
                <a:moveTo>
                  <a:pt x="513" y="126"/>
                </a:moveTo>
                <a:cubicBezTo>
                  <a:pt x="513" y="122"/>
                  <a:pt x="501" y="119"/>
                  <a:pt x="487" y="119"/>
                </a:cubicBezTo>
                <a:cubicBezTo>
                  <a:pt x="472" y="119"/>
                  <a:pt x="460" y="122"/>
                  <a:pt x="460" y="126"/>
                </a:cubicBezTo>
                <a:cubicBezTo>
                  <a:pt x="460" y="130"/>
                  <a:pt x="472" y="134"/>
                  <a:pt x="487" y="134"/>
                </a:cubicBezTo>
                <a:cubicBezTo>
                  <a:pt x="501" y="134"/>
                  <a:pt x="513" y="130"/>
                  <a:pt x="513" y="126"/>
                </a:cubicBezTo>
                <a:close/>
                <a:moveTo>
                  <a:pt x="526" y="198"/>
                </a:moveTo>
                <a:cubicBezTo>
                  <a:pt x="530" y="198"/>
                  <a:pt x="534" y="198"/>
                  <a:pt x="538" y="199"/>
                </a:cubicBezTo>
                <a:cubicBezTo>
                  <a:pt x="542" y="200"/>
                  <a:pt x="545" y="201"/>
                  <a:pt x="548" y="202"/>
                </a:cubicBezTo>
                <a:cubicBezTo>
                  <a:pt x="551" y="203"/>
                  <a:pt x="554" y="204"/>
                  <a:pt x="555" y="206"/>
                </a:cubicBezTo>
                <a:cubicBezTo>
                  <a:pt x="557" y="207"/>
                  <a:pt x="558" y="209"/>
                  <a:pt x="558" y="211"/>
                </a:cubicBezTo>
                <a:cubicBezTo>
                  <a:pt x="558" y="211"/>
                  <a:pt x="558" y="211"/>
                  <a:pt x="558" y="262"/>
                </a:cubicBezTo>
                <a:cubicBezTo>
                  <a:pt x="558" y="262"/>
                  <a:pt x="558" y="263"/>
                  <a:pt x="557" y="264"/>
                </a:cubicBezTo>
                <a:cubicBezTo>
                  <a:pt x="557" y="265"/>
                  <a:pt x="556" y="266"/>
                  <a:pt x="555" y="267"/>
                </a:cubicBezTo>
                <a:cubicBezTo>
                  <a:pt x="554" y="268"/>
                  <a:pt x="551" y="269"/>
                  <a:pt x="548" y="271"/>
                </a:cubicBezTo>
                <a:cubicBezTo>
                  <a:pt x="542" y="273"/>
                  <a:pt x="534" y="274"/>
                  <a:pt x="526" y="274"/>
                </a:cubicBezTo>
                <a:cubicBezTo>
                  <a:pt x="526" y="274"/>
                  <a:pt x="526" y="274"/>
                  <a:pt x="525" y="274"/>
                </a:cubicBezTo>
                <a:cubicBezTo>
                  <a:pt x="525" y="274"/>
                  <a:pt x="525" y="274"/>
                  <a:pt x="525" y="274"/>
                </a:cubicBezTo>
                <a:cubicBezTo>
                  <a:pt x="517" y="274"/>
                  <a:pt x="509" y="273"/>
                  <a:pt x="503" y="271"/>
                </a:cubicBezTo>
                <a:cubicBezTo>
                  <a:pt x="500" y="269"/>
                  <a:pt x="497" y="268"/>
                  <a:pt x="496" y="267"/>
                </a:cubicBezTo>
                <a:cubicBezTo>
                  <a:pt x="495" y="266"/>
                  <a:pt x="494" y="265"/>
                  <a:pt x="494" y="264"/>
                </a:cubicBezTo>
                <a:cubicBezTo>
                  <a:pt x="493" y="263"/>
                  <a:pt x="493" y="262"/>
                  <a:pt x="493" y="262"/>
                </a:cubicBezTo>
                <a:cubicBezTo>
                  <a:pt x="493" y="262"/>
                  <a:pt x="493" y="262"/>
                  <a:pt x="493" y="211"/>
                </a:cubicBezTo>
                <a:cubicBezTo>
                  <a:pt x="493" y="209"/>
                  <a:pt x="494" y="207"/>
                  <a:pt x="496" y="206"/>
                </a:cubicBezTo>
                <a:cubicBezTo>
                  <a:pt x="497" y="204"/>
                  <a:pt x="500" y="203"/>
                  <a:pt x="503" y="202"/>
                </a:cubicBezTo>
                <a:cubicBezTo>
                  <a:pt x="506" y="201"/>
                  <a:pt x="509" y="200"/>
                  <a:pt x="513" y="199"/>
                </a:cubicBezTo>
                <a:cubicBezTo>
                  <a:pt x="517" y="198"/>
                  <a:pt x="521" y="198"/>
                  <a:pt x="525" y="198"/>
                </a:cubicBezTo>
                <a:cubicBezTo>
                  <a:pt x="525" y="198"/>
                  <a:pt x="525" y="198"/>
                  <a:pt x="525" y="198"/>
                </a:cubicBezTo>
                <a:cubicBezTo>
                  <a:pt x="526" y="198"/>
                  <a:pt x="526" y="198"/>
                  <a:pt x="526" y="198"/>
                </a:cubicBezTo>
                <a:close/>
                <a:moveTo>
                  <a:pt x="525" y="202"/>
                </a:moveTo>
                <a:cubicBezTo>
                  <a:pt x="511" y="202"/>
                  <a:pt x="499" y="205"/>
                  <a:pt x="499" y="209"/>
                </a:cubicBezTo>
                <a:cubicBezTo>
                  <a:pt x="499" y="214"/>
                  <a:pt x="511" y="217"/>
                  <a:pt x="525" y="217"/>
                </a:cubicBezTo>
                <a:cubicBezTo>
                  <a:pt x="540" y="217"/>
                  <a:pt x="552" y="214"/>
                  <a:pt x="552" y="209"/>
                </a:cubicBezTo>
                <a:cubicBezTo>
                  <a:pt x="552" y="205"/>
                  <a:pt x="540" y="202"/>
                  <a:pt x="525" y="202"/>
                </a:cubicBezTo>
                <a:close/>
                <a:moveTo>
                  <a:pt x="596" y="123"/>
                </a:moveTo>
                <a:cubicBezTo>
                  <a:pt x="597" y="124"/>
                  <a:pt x="598" y="126"/>
                  <a:pt x="598" y="128"/>
                </a:cubicBezTo>
                <a:cubicBezTo>
                  <a:pt x="598" y="128"/>
                  <a:pt x="598" y="128"/>
                  <a:pt x="598" y="179"/>
                </a:cubicBezTo>
                <a:cubicBezTo>
                  <a:pt x="598" y="179"/>
                  <a:pt x="598" y="180"/>
                  <a:pt x="598" y="181"/>
                </a:cubicBezTo>
                <a:cubicBezTo>
                  <a:pt x="597" y="182"/>
                  <a:pt x="597" y="183"/>
                  <a:pt x="596" y="183"/>
                </a:cubicBezTo>
                <a:cubicBezTo>
                  <a:pt x="594" y="185"/>
                  <a:pt x="592" y="186"/>
                  <a:pt x="589" y="188"/>
                </a:cubicBezTo>
                <a:cubicBezTo>
                  <a:pt x="583" y="190"/>
                  <a:pt x="575" y="191"/>
                  <a:pt x="566" y="191"/>
                </a:cubicBezTo>
                <a:cubicBezTo>
                  <a:pt x="566" y="191"/>
                  <a:pt x="566" y="191"/>
                  <a:pt x="566" y="191"/>
                </a:cubicBezTo>
                <a:cubicBezTo>
                  <a:pt x="566" y="191"/>
                  <a:pt x="566" y="191"/>
                  <a:pt x="566" y="191"/>
                </a:cubicBezTo>
                <a:cubicBezTo>
                  <a:pt x="557" y="191"/>
                  <a:pt x="549" y="190"/>
                  <a:pt x="543" y="188"/>
                </a:cubicBezTo>
                <a:cubicBezTo>
                  <a:pt x="540" y="186"/>
                  <a:pt x="538" y="185"/>
                  <a:pt x="536" y="183"/>
                </a:cubicBezTo>
                <a:cubicBezTo>
                  <a:pt x="535" y="183"/>
                  <a:pt x="535" y="182"/>
                  <a:pt x="534" y="181"/>
                </a:cubicBezTo>
                <a:cubicBezTo>
                  <a:pt x="534" y="180"/>
                  <a:pt x="534" y="179"/>
                  <a:pt x="534" y="179"/>
                </a:cubicBezTo>
                <a:cubicBezTo>
                  <a:pt x="534" y="179"/>
                  <a:pt x="534" y="179"/>
                  <a:pt x="534" y="128"/>
                </a:cubicBezTo>
                <a:cubicBezTo>
                  <a:pt x="534" y="126"/>
                  <a:pt x="535" y="124"/>
                  <a:pt x="536" y="123"/>
                </a:cubicBezTo>
                <a:cubicBezTo>
                  <a:pt x="538" y="121"/>
                  <a:pt x="540" y="120"/>
                  <a:pt x="543" y="119"/>
                </a:cubicBezTo>
                <a:cubicBezTo>
                  <a:pt x="546" y="117"/>
                  <a:pt x="550" y="116"/>
                  <a:pt x="553" y="116"/>
                </a:cubicBezTo>
                <a:cubicBezTo>
                  <a:pt x="557" y="115"/>
                  <a:pt x="561" y="115"/>
                  <a:pt x="566" y="115"/>
                </a:cubicBezTo>
                <a:cubicBezTo>
                  <a:pt x="566" y="115"/>
                  <a:pt x="566" y="115"/>
                  <a:pt x="566" y="115"/>
                </a:cubicBezTo>
                <a:cubicBezTo>
                  <a:pt x="566" y="115"/>
                  <a:pt x="566" y="115"/>
                  <a:pt x="566" y="115"/>
                </a:cubicBezTo>
                <a:cubicBezTo>
                  <a:pt x="570" y="115"/>
                  <a:pt x="575" y="115"/>
                  <a:pt x="578" y="116"/>
                </a:cubicBezTo>
                <a:cubicBezTo>
                  <a:pt x="582" y="116"/>
                  <a:pt x="586" y="117"/>
                  <a:pt x="589" y="119"/>
                </a:cubicBezTo>
                <a:cubicBezTo>
                  <a:pt x="592" y="120"/>
                  <a:pt x="594" y="121"/>
                  <a:pt x="596" y="123"/>
                </a:cubicBezTo>
                <a:close/>
                <a:moveTo>
                  <a:pt x="593" y="126"/>
                </a:moveTo>
                <a:cubicBezTo>
                  <a:pt x="593" y="122"/>
                  <a:pt x="581" y="119"/>
                  <a:pt x="566" y="119"/>
                </a:cubicBezTo>
                <a:cubicBezTo>
                  <a:pt x="551" y="119"/>
                  <a:pt x="539" y="122"/>
                  <a:pt x="539" y="126"/>
                </a:cubicBezTo>
                <a:cubicBezTo>
                  <a:pt x="539" y="130"/>
                  <a:pt x="551" y="134"/>
                  <a:pt x="566" y="134"/>
                </a:cubicBezTo>
                <a:cubicBezTo>
                  <a:pt x="581" y="134"/>
                  <a:pt x="593" y="130"/>
                  <a:pt x="593" y="126"/>
                </a:cubicBezTo>
                <a:close/>
                <a:moveTo>
                  <a:pt x="633" y="116"/>
                </a:moveTo>
                <a:cubicBezTo>
                  <a:pt x="637" y="115"/>
                  <a:pt x="641" y="115"/>
                  <a:pt x="645" y="115"/>
                </a:cubicBezTo>
                <a:cubicBezTo>
                  <a:pt x="645" y="115"/>
                  <a:pt x="645" y="115"/>
                  <a:pt x="645" y="115"/>
                </a:cubicBezTo>
                <a:cubicBezTo>
                  <a:pt x="645" y="115"/>
                  <a:pt x="645" y="115"/>
                  <a:pt x="645" y="115"/>
                </a:cubicBezTo>
                <a:cubicBezTo>
                  <a:pt x="650" y="115"/>
                  <a:pt x="654" y="115"/>
                  <a:pt x="658" y="116"/>
                </a:cubicBezTo>
                <a:cubicBezTo>
                  <a:pt x="662" y="116"/>
                  <a:pt x="665" y="117"/>
                  <a:pt x="668" y="119"/>
                </a:cubicBezTo>
                <a:cubicBezTo>
                  <a:pt x="671" y="120"/>
                  <a:pt x="673" y="121"/>
                  <a:pt x="675" y="123"/>
                </a:cubicBezTo>
                <a:cubicBezTo>
                  <a:pt x="677" y="124"/>
                  <a:pt x="678" y="126"/>
                  <a:pt x="678" y="128"/>
                </a:cubicBezTo>
                <a:cubicBezTo>
                  <a:pt x="678" y="128"/>
                  <a:pt x="678" y="128"/>
                  <a:pt x="678" y="179"/>
                </a:cubicBezTo>
                <a:cubicBezTo>
                  <a:pt x="678" y="179"/>
                  <a:pt x="677" y="180"/>
                  <a:pt x="677" y="181"/>
                </a:cubicBezTo>
                <a:cubicBezTo>
                  <a:pt x="677" y="182"/>
                  <a:pt x="676" y="183"/>
                  <a:pt x="675" y="183"/>
                </a:cubicBezTo>
                <a:cubicBezTo>
                  <a:pt x="673" y="185"/>
                  <a:pt x="671" y="186"/>
                  <a:pt x="668" y="188"/>
                </a:cubicBezTo>
                <a:cubicBezTo>
                  <a:pt x="662" y="190"/>
                  <a:pt x="654" y="191"/>
                  <a:pt x="645" y="191"/>
                </a:cubicBezTo>
                <a:cubicBezTo>
                  <a:pt x="645" y="191"/>
                  <a:pt x="645" y="191"/>
                  <a:pt x="645" y="191"/>
                </a:cubicBezTo>
                <a:cubicBezTo>
                  <a:pt x="645" y="191"/>
                  <a:pt x="645" y="191"/>
                  <a:pt x="645" y="191"/>
                </a:cubicBezTo>
                <a:cubicBezTo>
                  <a:pt x="636" y="191"/>
                  <a:pt x="628" y="190"/>
                  <a:pt x="623" y="188"/>
                </a:cubicBezTo>
                <a:cubicBezTo>
                  <a:pt x="620" y="186"/>
                  <a:pt x="617" y="185"/>
                  <a:pt x="616" y="183"/>
                </a:cubicBezTo>
                <a:cubicBezTo>
                  <a:pt x="615" y="183"/>
                  <a:pt x="614" y="182"/>
                  <a:pt x="614" y="181"/>
                </a:cubicBezTo>
                <a:cubicBezTo>
                  <a:pt x="613" y="180"/>
                  <a:pt x="613" y="179"/>
                  <a:pt x="613" y="179"/>
                </a:cubicBezTo>
                <a:cubicBezTo>
                  <a:pt x="613" y="179"/>
                  <a:pt x="613" y="179"/>
                  <a:pt x="613" y="128"/>
                </a:cubicBezTo>
                <a:cubicBezTo>
                  <a:pt x="613" y="126"/>
                  <a:pt x="614" y="124"/>
                  <a:pt x="616" y="123"/>
                </a:cubicBezTo>
                <a:cubicBezTo>
                  <a:pt x="617" y="121"/>
                  <a:pt x="620" y="120"/>
                  <a:pt x="623" y="119"/>
                </a:cubicBezTo>
                <a:cubicBezTo>
                  <a:pt x="626" y="117"/>
                  <a:pt x="629" y="116"/>
                  <a:pt x="633" y="116"/>
                </a:cubicBezTo>
                <a:close/>
                <a:moveTo>
                  <a:pt x="619" y="126"/>
                </a:moveTo>
                <a:cubicBezTo>
                  <a:pt x="619" y="130"/>
                  <a:pt x="631" y="134"/>
                  <a:pt x="645" y="134"/>
                </a:cubicBezTo>
                <a:cubicBezTo>
                  <a:pt x="660" y="134"/>
                  <a:pt x="672" y="130"/>
                  <a:pt x="672" y="126"/>
                </a:cubicBezTo>
                <a:cubicBezTo>
                  <a:pt x="672" y="122"/>
                  <a:pt x="660" y="119"/>
                  <a:pt x="645" y="119"/>
                </a:cubicBezTo>
                <a:cubicBezTo>
                  <a:pt x="631" y="119"/>
                  <a:pt x="619" y="122"/>
                  <a:pt x="619" y="126"/>
                </a:cubicBezTo>
                <a:close/>
                <a:moveTo>
                  <a:pt x="732" y="597"/>
                </a:moveTo>
                <a:cubicBezTo>
                  <a:pt x="732" y="596"/>
                  <a:pt x="732" y="595"/>
                  <a:pt x="732" y="594"/>
                </a:cubicBezTo>
                <a:cubicBezTo>
                  <a:pt x="732" y="594"/>
                  <a:pt x="732" y="594"/>
                  <a:pt x="732" y="543"/>
                </a:cubicBezTo>
                <a:cubicBezTo>
                  <a:pt x="732" y="541"/>
                  <a:pt x="732" y="540"/>
                  <a:pt x="734" y="538"/>
                </a:cubicBezTo>
                <a:cubicBezTo>
                  <a:pt x="736" y="537"/>
                  <a:pt x="738" y="535"/>
                  <a:pt x="741" y="534"/>
                </a:cubicBezTo>
                <a:cubicBezTo>
                  <a:pt x="744" y="533"/>
                  <a:pt x="747" y="532"/>
                  <a:pt x="751" y="531"/>
                </a:cubicBezTo>
                <a:cubicBezTo>
                  <a:pt x="755" y="531"/>
                  <a:pt x="759" y="530"/>
                  <a:pt x="764" y="530"/>
                </a:cubicBezTo>
                <a:cubicBezTo>
                  <a:pt x="764" y="530"/>
                  <a:pt x="764" y="530"/>
                  <a:pt x="764" y="530"/>
                </a:cubicBezTo>
                <a:cubicBezTo>
                  <a:pt x="764" y="530"/>
                  <a:pt x="764" y="530"/>
                  <a:pt x="764" y="530"/>
                </a:cubicBezTo>
                <a:cubicBezTo>
                  <a:pt x="768" y="530"/>
                  <a:pt x="772" y="531"/>
                  <a:pt x="776" y="531"/>
                </a:cubicBezTo>
                <a:cubicBezTo>
                  <a:pt x="780" y="532"/>
                  <a:pt x="784" y="533"/>
                  <a:pt x="787" y="534"/>
                </a:cubicBezTo>
                <a:cubicBezTo>
                  <a:pt x="790" y="535"/>
                  <a:pt x="792" y="537"/>
                  <a:pt x="794" y="538"/>
                </a:cubicBezTo>
                <a:cubicBezTo>
                  <a:pt x="795" y="540"/>
                  <a:pt x="796" y="541"/>
                  <a:pt x="796" y="543"/>
                </a:cubicBezTo>
                <a:cubicBezTo>
                  <a:pt x="796" y="543"/>
                  <a:pt x="796" y="543"/>
                  <a:pt x="796" y="594"/>
                </a:cubicBezTo>
                <a:cubicBezTo>
                  <a:pt x="796" y="595"/>
                  <a:pt x="796" y="596"/>
                  <a:pt x="795" y="597"/>
                </a:cubicBezTo>
                <a:cubicBezTo>
                  <a:pt x="795" y="597"/>
                  <a:pt x="794" y="598"/>
                  <a:pt x="794" y="599"/>
                </a:cubicBezTo>
                <a:cubicBezTo>
                  <a:pt x="792" y="601"/>
                  <a:pt x="790" y="602"/>
                  <a:pt x="787" y="603"/>
                </a:cubicBezTo>
                <a:cubicBezTo>
                  <a:pt x="781" y="605"/>
                  <a:pt x="773" y="607"/>
                  <a:pt x="764" y="607"/>
                </a:cubicBezTo>
                <a:cubicBezTo>
                  <a:pt x="764" y="607"/>
                  <a:pt x="764" y="607"/>
                  <a:pt x="764" y="607"/>
                </a:cubicBezTo>
                <a:cubicBezTo>
                  <a:pt x="764" y="607"/>
                  <a:pt x="764" y="607"/>
                  <a:pt x="764" y="607"/>
                </a:cubicBezTo>
                <a:cubicBezTo>
                  <a:pt x="755" y="607"/>
                  <a:pt x="747" y="605"/>
                  <a:pt x="741" y="603"/>
                </a:cubicBezTo>
                <a:cubicBezTo>
                  <a:pt x="738" y="602"/>
                  <a:pt x="736" y="601"/>
                  <a:pt x="734" y="599"/>
                </a:cubicBezTo>
                <a:cubicBezTo>
                  <a:pt x="733" y="598"/>
                  <a:pt x="733" y="597"/>
                  <a:pt x="732" y="597"/>
                </a:cubicBezTo>
                <a:close/>
                <a:moveTo>
                  <a:pt x="737" y="542"/>
                </a:moveTo>
                <a:cubicBezTo>
                  <a:pt x="737" y="546"/>
                  <a:pt x="749" y="549"/>
                  <a:pt x="764" y="550"/>
                </a:cubicBezTo>
                <a:cubicBezTo>
                  <a:pt x="779" y="549"/>
                  <a:pt x="790" y="546"/>
                  <a:pt x="790" y="542"/>
                </a:cubicBezTo>
                <a:cubicBezTo>
                  <a:pt x="790" y="538"/>
                  <a:pt x="779" y="534"/>
                  <a:pt x="764" y="534"/>
                </a:cubicBezTo>
                <a:cubicBezTo>
                  <a:pt x="749" y="534"/>
                  <a:pt x="737" y="538"/>
                  <a:pt x="737" y="542"/>
                </a:cubicBezTo>
                <a:close/>
                <a:moveTo>
                  <a:pt x="725" y="524"/>
                </a:moveTo>
                <a:cubicBezTo>
                  <a:pt x="716" y="524"/>
                  <a:pt x="708" y="522"/>
                  <a:pt x="702" y="520"/>
                </a:cubicBezTo>
                <a:cubicBezTo>
                  <a:pt x="699" y="519"/>
                  <a:pt x="697" y="517"/>
                  <a:pt x="695" y="516"/>
                </a:cubicBezTo>
                <a:cubicBezTo>
                  <a:pt x="694" y="515"/>
                  <a:pt x="694" y="514"/>
                  <a:pt x="693" y="514"/>
                </a:cubicBezTo>
                <a:cubicBezTo>
                  <a:pt x="693" y="513"/>
                  <a:pt x="693" y="512"/>
                  <a:pt x="693" y="511"/>
                </a:cubicBezTo>
                <a:cubicBezTo>
                  <a:pt x="693" y="511"/>
                  <a:pt x="693" y="511"/>
                  <a:pt x="693" y="460"/>
                </a:cubicBezTo>
                <a:cubicBezTo>
                  <a:pt x="693" y="458"/>
                  <a:pt x="694" y="457"/>
                  <a:pt x="695" y="455"/>
                </a:cubicBezTo>
                <a:cubicBezTo>
                  <a:pt x="697" y="454"/>
                  <a:pt x="699" y="452"/>
                  <a:pt x="702" y="451"/>
                </a:cubicBezTo>
                <a:cubicBezTo>
                  <a:pt x="705" y="450"/>
                  <a:pt x="708" y="449"/>
                  <a:pt x="712" y="448"/>
                </a:cubicBezTo>
                <a:cubicBezTo>
                  <a:pt x="716" y="448"/>
                  <a:pt x="720" y="447"/>
                  <a:pt x="725" y="447"/>
                </a:cubicBezTo>
                <a:cubicBezTo>
                  <a:pt x="725" y="447"/>
                  <a:pt x="725" y="447"/>
                  <a:pt x="725" y="447"/>
                </a:cubicBezTo>
                <a:cubicBezTo>
                  <a:pt x="725" y="447"/>
                  <a:pt x="725" y="447"/>
                  <a:pt x="725" y="447"/>
                </a:cubicBezTo>
                <a:cubicBezTo>
                  <a:pt x="729" y="447"/>
                  <a:pt x="734" y="448"/>
                  <a:pt x="737" y="448"/>
                </a:cubicBezTo>
                <a:cubicBezTo>
                  <a:pt x="741" y="449"/>
                  <a:pt x="745" y="450"/>
                  <a:pt x="748" y="451"/>
                </a:cubicBezTo>
                <a:cubicBezTo>
                  <a:pt x="751" y="452"/>
                  <a:pt x="753" y="454"/>
                  <a:pt x="755" y="455"/>
                </a:cubicBezTo>
                <a:cubicBezTo>
                  <a:pt x="756" y="457"/>
                  <a:pt x="757" y="458"/>
                  <a:pt x="757" y="460"/>
                </a:cubicBezTo>
                <a:cubicBezTo>
                  <a:pt x="757" y="460"/>
                  <a:pt x="757" y="460"/>
                  <a:pt x="757" y="511"/>
                </a:cubicBezTo>
                <a:cubicBezTo>
                  <a:pt x="757" y="512"/>
                  <a:pt x="757" y="513"/>
                  <a:pt x="756" y="514"/>
                </a:cubicBezTo>
                <a:cubicBezTo>
                  <a:pt x="756" y="514"/>
                  <a:pt x="755" y="515"/>
                  <a:pt x="755" y="516"/>
                </a:cubicBezTo>
                <a:cubicBezTo>
                  <a:pt x="753" y="517"/>
                  <a:pt x="751" y="519"/>
                  <a:pt x="748" y="520"/>
                </a:cubicBezTo>
                <a:cubicBezTo>
                  <a:pt x="742" y="522"/>
                  <a:pt x="734" y="524"/>
                  <a:pt x="725" y="524"/>
                </a:cubicBezTo>
                <a:cubicBezTo>
                  <a:pt x="725" y="524"/>
                  <a:pt x="725" y="524"/>
                  <a:pt x="725" y="524"/>
                </a:cubicBezTo>
                <a:cubicBezTo>
                  <a:pt x="725" y="524"/>
                  <a:pt x="725" y="524"/>
                  <a:pt x="725" y="524"/>
                </a:cubicBezTo>
                <a:close/>
                <a:moveTo>
                  <a:pt x="725" y="466"/>
                </a:moveTo>
                <a:cubicBezTo>
                  <a:pt x="740" y="466"/>
                  <a:pt x="751" y="463"/>
                  <a:pt x="751" y="459"/>
                </a:cubicBezTo>
                <a:cubicBezTo>
                  <a:pt x="751" y="455"/>
                  <a:pt x="740" y="451"/>
                  <a:pt x="725" y="451"/>
                </a:cubicBezTo>
                <a:cubicBezTo>
                  <a:pt x="710" y="451"/>
                  <a:pt x="698" y="455"/>
                  <a:pt x="698" y="459"/>
                </a:cubicBezTo>
                <a:cubicBezTo>
                  <a:pt x="698" y="463"/>
                  <a:pt x="710" y="466"/>
                  <a:pt x="725" y="466"/>
                </a:cubicBezTo>
                <a:close/>
                <a:moveTo>
                  <a:pt x="804" y="524"/>
                </a:moveTo>
                <a:cubicBezTo>
                  <a:pt x="795" y="524"/>
                  <a:pt x="787" y="522"/>
                  <a:pt x="782" y="520"/>
                </a:cubicBezTo>
                <a:cubicBezTo>
                  <a:pt x="779" y="519"/>
                  <a:pt x="776" y="517"/>
                  <a:pt x="775" y="516"/>
                </a:cubicBezTo>
                <a:cubicBezTo>
                  <a:pt x="774" y="515"/>
                  <a:pt x="773" y="514"/>
                  <a:pt x="773" y="514"/>
                </a:cubicBezTo>
                <a:cubicBezTo>
                  <a:pt x="772" y="513"/>
                  <a:pt x="772" y="512"/>
                  <a:pt x="772" y="511"/>
                </a:cubicBezTo>
                <a:cubicBezTo>
                  <a:pt x="772" y="511"/>
                  <a:pt x="772" y="511"/>
                  <a:pt x="772" y="460"/>
                </a:cubicBezTo>
                <a:cubicBezTo>
                  <a:pt x="772" y="458"/>
                  <a:pt x="773" y="457"/>
                  <a:pt x="775" y="455"/>
                </a:cubicBezTo>
                <a:cubicBezTo>
                  <a:pt x="776" y="454"/>
                  <a:pt x="779" y="452"/>
                  <a:pt x="782" y="451"/>
                </a:cubicBezTo>
                <a:cubicBezTo>
                  <a:pt x="784" y="450"/>
                  <a:pt x="788" y="449"/>
                  <a:pt x="792" y="448"/>
                </a:cubicBezTo>
                <a:cubicBezTo>
                  <a:pt x="796" y="448"/>
                  <a:pt x="800" y="447"/>
                  <a:pt x="804" y="447"/>
                </a:cubicBezTo>
                <a:cubicBezTo>
                  <a:pt x="804" y="447"/>
                  <a:pt x="804" y="447"/>
                  <a:pt x="804" y="447"/>
                </a:cubicBezTo>
                <a:cubicBezTo>
                  <a:pt x="804" y="447"/>
                  <a:pt x="804" y="447"/>
                  <a:pt x="804" y="447"/>
                </a:cubicBezTo>
                <a:cubicBezTo>
                  <a:pt x="809" y="447"/>
                  <a:pt x="813" y="448"/>
                  <a:pt x="817" y="448"/>
                </a:cubicBezTo>
                <a:cubicBezTo>
                  <a:pt x="821" y="449"/>
                  <a:pt x="824" y="450"/>
                  <a:pt x="827" y="451"/>
                </a:cubicBezTo>
                <a:cubicBezTo>
                  <a:pt x="830" y="452"/>
                  <a:pt x="832" y="454"/>
                  <a:pt x="834" y="455"/>
                </a:cubicBezTo>
                <a:cubicBezTo>
                  <a:pt x="836" y="457"/>
                  <a:pt x="837" y="458"/>
                  <a:pt x="837" y="460"/>
                </a:cubicBezTo>
                <a:cubicBezTo>
                  <a:pt x="837" y="460"/>
                  <a:pt x="837" y="460"/>
                  <a:pt x="837" y="511"/>
                </a:cubicBezTo>
                <a:cubicBezTo>
                  <a:pt x="837" y="512"/>
                  <a:pt x="836" y="513"/>
                  <a:pt x="836" y="514"/>
                </a:cubicBezTo>
                <a:cubicBezTo>
                  <a:pt x="835" y="514"/>
                  <a:pt x="835" y="515"/>
                  <a:pt x="834" y="516"/>
                </a:cubicBezTo>
                <a:cubicBezTo>
                  <a:pt x="832" y="517"/>
                  <a:pt x="830" y="519"/>
                  <a:pt x="827" y="520"/>
                </a:cubicBezTo>
                <a:cubicBezTo>
                  <a:pt x="821" y="522"/>
                  <a:pt x="813" y="524"/>
                  <a:pt x="804" y="524"/>
                </a:cubicBezTo>
                <a:cubicBezTo>
                  <a:pt x="804" y="524"/>
                  <a:pt x="804" y="524"/>
                  <a:pt x="804" y="524"/>
                </a:cubicBezTo>
                <a:cubicBezTo>
                  <a:pt x="804" y="524"/>
                  <a:pt x="804" y="524"/>
                  <a:pt x="804" y="524"/>
                </a:cubicBezTo>
                <a:close/>
                <a:moveTo>
                  <a:pt x="804" y="466"/>
                </a:moveTo>
                <a:cubicBezTo>
                  <a:pt x="819" y="466"/>
                  <a:pt x="831" y="463"/>
                  <a:pt x="831" y="459"/>
                </a:cubicBezTo>
                <a:cubicBezTo>
                  <a:pt x="831" y="455"/>
                  <a:pt x="819" y="451"/>
                  <a:pt x="804" y="451"/>
                </a:cubicBezTo>
                <a:cubicBezTo>
                  <a:pt x="790" y="451"/>
                  <a:pt x="778" y="455"/>
                  <a:pt x="778" y="459"/>
                </a:cubicBezTo>
                <a:cubicBezTo>
                  <a:pt x="778" y="463"/>
                  <a:pt x="790" y="466"/>
                  <a:pt x="804" y="466"/>
                </a:cubicBezTo>
                <a:close/>
                <a:moveTo>
                  <a:pt x="896" y="542"/>
                </a:moveTo>
                <a:cubicBezTo>
                  <a:pt x="896" y="538"/>
                  <a:pt x="908" y="534"/>
                  <a:pt x="923" y="534"/>
                </a:cubicBezTo>
                <a:cubicBezTo>
                  <a:pt x="927" y="534"/>
                  <a:pt x="930" y="535"/>
                  <a:pt x="934" y="535"/>
                </a:cubicBezTo>
                <a:cubicBezTo>
                  <a:pt x="935" y="534"/>
                  <a:pt x="937" y="533"/>
                  <a:pt x="938" y="532"/>
                </a:cubicBezTo>
                <a:cubicBezTo>
                  <a:pt x="937" y="532"/>
                  <a:pt x="936" y="532"/>
                  <a:pt x="935" y="531"/>
                </a:cubicBezTo>
                <a:cubicBezTo>
                  <a:pt x="931" y="531"/>
                  <a:pt x="927" y="530"/>
                  <a:pt x="923" y="530"/>
                </a:cubicBezTo>
                <a:cubicBezTo>
                  <a:pt x="923" y="530"/>
                  <a:pt x="923" y="530"/>
                  <a:pt x="923" y="530"/>
                </a:cubicBezTo>
                <a:cubicBezTo>
                  <a:pt x="923" y="530"/>
                  <a:pt x="923" y="530"/>
                  <a:pt x="923" y="530"/>
                </a:cubicBezTo>
                <a:cubicBezTo>
                  <a:pt x="918" y="530"/>
                  <a:pt x="914" y="531"/>
                  <a:pt x="910" y="531"/>
                </a:cubicBezTo>
                <a:cubicBezTo>
                  <a:pt x="906" y="532"/>
                  <a:pt x="903" y="533"/>
                  <a:pt x="900" y="534"/>
                </a:cubicBezTo>
                <a:cubicBezTo>
                  <a:pt x="897" y="535"/>
                  <a:pt x="895" y="537"/>
                  <a:pt x="893" y="538"/>
                </a:cubicBezTo>
                <a:cubicBezTo>
                  <a:pt x="891" y="540"/>
                  <a:pt x="890" y="541"/>
                  <a:pt x="890" y="543"/>
                </a:cubicBezTo>
                <a:cubicBezTo>
                  <a:pt x="890" y="550"/>
                  <a:pt x="890" y="556"/>
                  <a:pt x="890" y="562"/>
                </a:cubicBezTo>
                <a:cubicBezTo>
                  <a:pt x="898" y="558"/>
                  <a:pt x="905" y="553"/>
                  <a:pt x="912" y="549"/>
                </a:cubicBezTo>
                <a:cubicBezTo>
                  <a:pt x="903" y="548"/>
                  <a:pt x="896" y="545"/>
                  <a:pt x="896" y="542"/>
                </a:cubicBezTo>
                <a:close/>
                <a:moveTo>
                  <a:pt x="843" y="441"/>
                </a:moveTo>
                <a:cubicBezTo>
                  <a:pt x="834" y="441"/>
                  <a:pt x="826" y="439"/>
                  <a:pt x="820" y="437"/>
                </a:cubicBezTo>
                <a:cubicBezTo>
                  <a:pt x="818" y="436"/>
                  <a:pt x="815" y="434"/>
                  <a:pt x="814" y="433"/>
                </a:cubicBezTo>
                <a:cubicBezTo>
                  <a:pt x="813" y="432"/>
                  <a:pt x="812" y="431"/>
                  <a:pt x="812" y="430"/>
                </a:cubicBezTo>
                <a:cubicBezTo>
                  <a:pt x="811" y="430"/>
                  <a:pt x="811" y="429"/>
                  <a:pt x="811" y="428"/>
                </a:cubicBezTo>
                <a:cubicBezTo>
                  <a:pt x="811" y="428"/>
                  <a:pt x="811" y="428"/>
                  <a:pt x="811" y="377"/>
                </a:cubicBezTo>
                <a:cubicBezTo>
                  <a:pt x="811" y="375"/>
                  <a:pt x="812" y="373"/>
                  <a:pt x="814" y="372"/>
                </a:cubicBezTo>
                <a:cubicBezTo>
                  <a:pt x="815" y="370"/>
                  <a:pt x="818" y="369"/>
                  <a:pt x="820" y="368"/>
                </a:cubicBezTo>
                <a:cubicBezTo>
                  <a:pt x="823" y="367"/>
                  <a:pt x="827" y="366"/>
                  <a:pt x="831" y="365"/>
                </a:cubicBezTo>
                <a:cubicBezTo>
                  <a:pt x="835" y="365"/>
                  <a:pt x="839" y="364"/>
                  <a:pt x="843" y="364"/>
                </a:cubicBezTo>
                <a:cubicBezTo>
                  <a:pt x="843" y="364"/>
                  <a:pt x="843" y="364"/>
                  <a:pt x="843" y="364"/>
                </a:cubicBezTo>
                <a:cubicBezTo>
                  <a:pt x="843" y="364"/>
                  <a:pt x="843" y="364"/>
                  <a:pt x="843" y="364"/>
                </a:cubicBezTo>
                <a:cubicBezTo>
                  <a:pt x="848" y="364"/>
                  <a:pt x="852" y="365"/>
                  <a:pt x="856" y="365"/>
                </a:cubicBezTo>
                <a:cubicBezTo>
                  <a:pt x="860" y="366"/>
                  <a:pt x="863" y="367"/>
                  <a:pt x="866" y="368"/>
                </a:cubicBezTo>
                <a:cubicBezTo>
                  <a:pt x="869" y="369"/>
                  <a:pt x="871" y="370"/>
                  <a:pt x="873" y="372"/>
                </a:cubicBezTo>
                <a:cubicBezTo>
                  <a:pt x="875" y="373"/>
                  <a:pt x="875" y="375"/>
                  <a:pt x="875" y="377"/>
                </a:cubicBezTo>
                <a:cubicBezTo>
                  <a:pt x="875" y="377"/>
                  <a:pt x="875" y="377"/>
                  <a:pt x="875" y="428"/>
                </a:cubicBezTo>
                <a:cubicBezTo>
                  <a:pt x="875" y="429"/>
                  <a:pt x="875" y="430"/>
                  <a:pt x="875" y="430"/>
                </a:cubicBezTo>
                <a:cubicBezTo>
                  <a:pt x="874" y="431"/>
                  <a:pt x="874" y="432"/>
                  <a:pt x="873" y="433"/>
                </a:cubicBezTo>
                <a:cubicBezTo>
                  <a:pt x="871" y="434"/>
                  <a:pt x="869" y="436"/>
                  <a:pt x="866" y="437"/>
                </a:cubicBezTo>
                <a:cubicBezTo>
                  <a:pt x="860" y="439"/>
                  <a:pt x="852" y="441"/>
                  <a:pt x="843" y="441"/>
                </a:cubicBezTo>
                <a:cubicBezTo>
                  <a:pt x="843" y="441"/>
                  <a:pt x="843" y="441"/>
                  <a:pt x="843" y="441"/>
                </a:cubicBezTo>
                <a:cubicBezTo>
                  <a:pt x="843" y="441"/>
                  <a:pt x="843" y="441"/>
                  <a:pt x="843" y="441"/>
                </a:cubicBezTo>
                <a:close/>
                <a:moveTo>
                  <a:pt x="843" y="383"/>
                </a:moveTo>
                <a:cubicBezTo>
                  <a:pt x="858" y="383"/>
                  <a:pt x="870" y="380"/>
                  <a:pt x="870" y="376"/>
                </a:cubicBezTo>
                <a:cubicBezTo>
                  <a:pt x="870" y="371"/>
                  <a:pt x="858" y="368"/>
                  <a:pt x="843" y="368"/>
                </a:cubicBezTo>
                <a:cubicBezTo>
                  <a:pt x="829" y="368"/>
                  <a:pt x="817" y="371"/>
                  <a:pt x="817" y="376"/>
                </a:cubicBezTo>
                <a:cubicBezTo>
                  <a:pt x="817" y="380"/>
                  <a:pt x="829" y="383"/>
                  <a:pt x="843" y="383"/>
                </a:cubicBezTo>
                <a:close/>
                <a:moveTo>
                  <a:pt x="852" y="514"/>
                </a:moveTo>
                <a:cubicBezTo>
                  <a:pt x="852" y="513"/>
                  <a:pt x="851" y="512"/>
                  <a:pt x="851" y="511"/>
                </a:cubicBezTo>
                <a:cubicBezTo>
                  <a:pt x="851" y="511"/>
                  <a:pt x="851" y="511"/>
                  <a:pt x="851" y="460"/>
                </a:cubicBezTo>
                <a:cubicBezTo>
                  <a:pt x="851" y="458"/>
                  <a:pt x="852" y="457"/>
                  <a:pt x="854" y="455"/>
                </a:cubicBezTo>
                <a:cubicBezTo>
                  <a:pt x="856" y="454"/>
                  <a:pt x="858" y="452"/>
                  <a:pt x="861" y="451"/>
                </a:cubicBezTo>
                <a:cubicBezTo>
                  <a:pt x="864" y="450"/>
                  <a:pt x="867" y="449"/>
                  <a:pt x="871" y="448"/>
                </a:cubicBezTo>
                <a:cubicBezTo>
                  <a:pt x="875" y="448"/>
                  <a:pt x="879" y="447"/>
                  <a:pt x="884" y="447"/>
                </a:cubicBezTo>
                <a:cubicBezTo>
                  <a:pt x="884" y="447"/>
                  <a:pt x="884" y="447"/>
                  <a:pt x="884" y="447"/>
                </a:cubicBezTo>
                <a:cubicBezTo>
                  <a:pt x="884" y="447"/>
                  <a:pt x="884" y="447"/>
                  <a:pt x="884" y="447"/>
                </a:cubicBezTo>
                <a:cubicBezTo>
                  <a:pt x="888" y="447"/>
                  <a:pt x="892" y="448"/>
                  <a:pt x="896" y="448"/>
                </a:cubicBezTo>
                <a:cubicBezTo>
                  <a:pt x="900" y="449"/>
                  <a:pt x="904" y="450"/>
                  <a:pt x="907" y="451"/>
                </a:cubicBezTo>
                <a:cubicBezTo>
                  <a:pt x="909" y="452"/>
                  <a:pt x="912" y="454"/>
                  <a:pt x="913" y="455"/>
                </a:cubicBezTo>
                <a:cubicBezTo>
                  <a:pt x="915" y="457"/>
                  <a:pt x="916" y="458"/>
                  <a:pt x="916" y="460"/>
                </a:cubicBezTo>
                <a:cubicBezTo>
                  <a:pt x="916" y="460"/>
                  <a:pt x="916" y="460"/>
                  <a:pt x="916" y="511"/>
                </a:cubicBezTo>
                <a:cubicBezTo>
                  <a:pt x="916" y="512"/>
                  <a:pt x="916" y="513"/>
                  <a:pt x="915" y="514"/>
                </a:cubicBezTo>
                <a:cubicBezTo>
                  <a:pt x="915" y="514"/>
                  <a:pt x="914" y="515"/>
                  <a:pt x="913" y="516"/>
                </a:cubicBezTo>
                <a:cubicBezTo>
                  <a:pt x="912" y="517"/>
                  <a:pt x="909" y="519"/>
                  <a:pt x="907" y="520"/>
                </a:cubicBezTo>
                <a:cubicBezTo>
                  <a:pt x="901" y="522"/>
                  <a:pt x="893" y="524"/>
                  <a:pt x="884" y="524"/>
                </a:cubicBezTo>
                <a:cubicBezTo>
                  <a:pt x="884" y="524"/>
                  <a:pt x="884" y="524"/>
                  <a:pt x="884" y="524"/>
                </a:cubicBezTo>
                <a:cubicBezTo>
                  <a:pt x="884" y="524"/>
                  <a:pt x="884" y="524"/>
                  <a:pt x="884" y="524"/>
                </a:cubicBezTo>
                <a:cubicBezTo>
                  <a:pt x="875" y="524"/>
                  <a:pt x="867" y="522"/>
                  <a:pt x="861" y="520"/>
                </a:cubicBezTo>
                <a:cubicBezTo>
                  <a:pt x="858" y="519"/>
                  <a:pt x="856" y="517"/>
                  <a:pt x="854" y="516"/>
                </a:cubicBezTo>
                <a:cubicBezTo>
                  <a:pt x="853" y="515"/>
                  <a:pt x="853" y="514"/>
                  <a:pt x="852" y="514"/>
                </a:cubicBezTo>
                <a:close/>
                <a:moveTo>
                  <a:pt x="857" y="459"/>
                </a:moveTo>
                <a:cubicBezTo>
                  <a:pt x="857" y="463"/>
                  <a:pt x="869" y="466"/>
                  <a:pt x="884" y="466"/>
                </a:cubicBezTo>
                <a:cubicBezTo>
                  <a:pt x="898" y="466"/>
                  <a:pt x="910" y="463"/>
                  <a:pt x="910" y="459"/>
                </a:cubicBezTo>
                <a:cubicBezTo>
                  <a:pt x="910" y="455"/>
                  <a:pt x="898" y="451"/>
                  <a:pt x="884" y="451"/>
                </a:cubicBezTo>
                <a:cubicBezTo>
                  <a:pt x="869" y="451"/>
                  <a:pt x="857" y="455"/>
                  <a:pt x="857" y="459"/>
                </a:cubicBezTo>
                <a:close/>
                <a:moveTo>
                  <a:pt x="737" y="615"/>
                </a:moveTo>
                <a:cubicBezTo>
                  <a:pt x="734" y="614"/>
                  <a:pt x="729" y="614"/>
                  <a:pt x="725" y="614"/>
                </a:cubicBezTo>
                <a:cubicBezTo>
                  <a:pt x="725" y="614"/>
                  <a:pt x="725" y="614"/>
                  <a:pt x="725" y="614"/>
                </a:cubicBezTo>
                <a:cubicBezTo>
                  <a:pt x="725" y="614"/>
                  <a:pt x="725" y="614"/>
                  <a:pt x="725" y="614"/>
                </a:cubicBezTo>
                <a:cubicBezTo>
                  <a:pt x="720" y="614"/>
                  <a:pt x="716" y="614"/>
                  <a:pt x="712" y="615"/>
                </a:cubicBezTo>
                <a:cubicBezTo>
                  <a:pt x="708" y="615"/>
                  <a:pt x="705" y="616"/>
                  <a:pt x="702" y="617"/>
                </a:cubicBezTo>
                <a:cubicBezTo>
                  <a:pt x="699" y="618"/>
                  <a:pt x="697" y="620"/>
                  <a:pt x="695" y="621"/>
                </a:cubicBezTo>
                <a:cubicBezTo>
                  <a:pt x="694" y="623"/>
                  <a:pt x="693" y="625"/>
                  <a:pt x="693" y="626"/>
                </a:cubicBezTo>
                <a:cubicBezTo>
                  <a:pt x="693" y="629"/>
                  <a:pt x="693" y="632"/>
                  <a:pt x="693" y="635"/>
                </a:cubicBezTo>
                <a:cubicBezTo>
                  <a:pt x="698" y="634"/>
                  <a:pt x="704" y="633"/>
                  <a:pt x="710" y="631"/>
                </a:cubicBezTo>
                <a:cubicBezTo>
                  <a:pt x="703" y="630"/>
                  <a:pt x="698" y="628"/>
                  <a:pt x="698" y="625"/>
                </a:cubicBezTo>
                <a:cubicBezTo>
                  <a:pt x="698" y="621"/>
                  <a:pt x="710" y="617"/>
                  <a:pt x="725" y="617"/>
                </a:cubicBezTo>
                <a:cubicBezTo>
                  <a:pt x="735" y="617"/>
                  <a:pt x="744" y="619"/>
                  <a:pt x="748" y="621"/>
                </a:cubicBezTo>
                <a:cubicBezTo>
                  <a:pt x="750" y="621"/>
                  <a:pt x="752" y="621"/>
                  <a:pt x="753" y="620"/>
                </a:cubicBezTo>
                <a:cubicBezTo>
                  <a:pt x="752" y="619"/>
                  <a:pt x="750" y="618"/>
                  <a:pt x="748" y="617"/>
                </a:cubicBezTo>
                <a:cubicBezTo>
                  <a:pt x="745" y="616"/>
                  <a:pt x="741" y="615"/>
                  <a:pt x="737" y="615"/>
                </a:cubicBezTo>
                <a:close/>
                <a:moveTo>
                  <a:pt x="678" y="626"/>
                </a:moveTo>
                <a:cubicBezTo>
                  <a:pt x="678" y="626"/>
                  <a:pt x="678" y="626"/>
                  <a:pt x="678" y="638"/>
                </a:cubicBezTo>
                <a:cubicBezTo>
                  <a:pt x="656" y="642"/>
                  <a:pt x="635" y="644"/>
                  <a:pt x="613" y="646"/>
                </a:cubicBezTo>
                <a:cubicBezTo>
                  <a:pt x="613" y="640"/>
                  <a:pt x="613" y="634"/>
                  <a:pt x="613" y="626"/>
                </a:cubicBezTo>
                <a:cubicBezTo>
                  <a:pt x="613" y="625"/>
                  <a:pt x="614" y="623"/>
                  <a:pt x="616" y="621"/>
                </a:cubicBezTo>
                <a:cubicBezTo>
                  <a:pt x="617" y="620"/>
                  <a:pt x="620" y="618"/>
                  <a:pt x="623" y="617"/>
                </a:cubicBezTo>
                <a:cubicBezTo>
                  <a:pt x="626" y="616"/>
                  <a:pt x="629" y="615"/>
                  <a:pt x="633" y="615"/>
                </a:cubicBezTo>
                <a:cubicBezTo>
                  <a:pt x="637" y="614"/>
                  <a:pt x="641" y="614"/>
                  <a:pt x="645" y="614"/>
                </a:cubicBezTo>
                <a:cubicBezTo>
                  <a:pt x="645" y="614"/>
                  <a:pt x="645" y="614"/>
                  <a:pt x="645" y="614"/>
                </a:cubicBezTo>
                <a:cubicBezTo>
                  <a:pt x="645" y="614"/>
                  <a:pt x="645" y="614"/>
                  <a:pt x="645" y="614"/>
                </a:cubicBezTo>
                <a:cubicBezTo>
                  <a:pt x="650" y="614"/>
                  <a:pt x="654" y="614"/>
                  <a:pt x="658" y="615"/>
                </a:cubicBezTo>
                <a:cubicBezTo>
                  <a:pt x="662" y="615"/>
                  <a:pt x="665" y="616"/>
                  <a:pt x="668" y="617"/>
                </a:cubicBezTo>
                <a:cubicBezTo>
                  <a:pt x="671" y="618"/>
                  <a:pt x="673" y="620"/>
                  <a:pt x="675" y="621"/>
                </a:cubicBezTo>
                <a:cubicBezTo>
                  <a:pt x="677" y="623"/>
                  <a:pt x="678" y="625"/>
                  <a:pt x="678" y="626"/>
                </a:cubicBezTo>
                <a:close/>
                <a:moveTo>
                  <a:pt x="672" y="625"/>
                </a:moveTo>
                <a:cubicBezTo>
                  <a:pt x="672" y="621"/>
                  <a:pt x="660" y="617"/>
                  <a:pt x="645" y="617"/>
                </a:cubicBezTo>
                <a:cubicBezTo>
                  <a:pt x="631" y="617"/>
                  <a:pt x="619" y="621"/>
                  <a:pt x="619" y="625"/>
                </a:cubicBezTo>
                <a:cubicBezTo>
                  <a:pt x="619" y="629"/>
                  <a:pt x="631" y="633"/>
                  <a:pt x="645" y="633"/>
                </a:cubicBezTo>
                <a:cubicBezTo>
                  <a:pt x="660" y="633"/>
                  <a:pt x="672" y="629"/>
                  <a:pt x="672" y="625"/>
                </a:cubicBezTo>
                <a:close/>
                <a:moveTo>
                  <a:pt x="617" y="33"/>
                </a:moveTo>
                <a:cubicBezTo>
                  <a:pt x="621" y="33"/>
                  <a:pt x="624" y="34"/>
                  <a:pt x="627" y="35"/>
                </a:cubicBezTo>
                <a:cubicBezTo>
                  <a:pt x="635" y="40"/>
                  <a:pt x="635" y="40"/>
                  <a:pt x="635" y="40"/>
                </a:cubicBezTo>
                <a:cubicBezTo>
                  <a:pt x="636" y="41"/>
                  <a:pt x="637" y="43"/>
                  <a:pt x="637" y="44"/>
                </a:cubicBezTo>
                <a:cubicBezTo>
                  <a:pt x="637" y="44"/>
                  <a:pt x="637" y="44"/>
                  <a:pt x="637" y="95"/>
                </a:cubicBezTo>
                <a:cubicBezTo>
                  <a:pt x="637" y="96"/>
                  <a:pt x="637" y="97"/>
                  <a:pt x="637" y="98"/>
                </a:cubicBezTo>
                <a:cubicBezTo>
                  <a:pt x="636" y="99"/>
                  <a:pt x="635" y="100"/>
                  <a:pt x="635" y="100"/>
                </a:cubicBezTo>
                <a:cubicBezTo>
                  <a:pt x="633" y="102"/>
                  <a:pt x="631" y="103"/>
                  <a:pt x="628" y="104"/>
                </a:cubicBezTo>
                <a:cubicBezTo>
                  <a:pt x="622" y="107"/>
                  <a:pt x="614" y="108"/>
                  <a:pt x="605" y="108"/>
                </a:cubicBezTo>
                <a:cubicBezTo>
                  <a:pt x="605" y="108"/>
                  <a:pt x="605" y="108"/>
                  <a:pt x="605" y="108"/>
                </a:cubicBezTo>
                <a:cubicBezTo>
                  <a:pt x="605" y="108"/>
                  <a:pt x="605" y="108"/>
                  <a:pt x="605" y="108"/>
                </a:cubicBezTo>
                <a:cubicBezTo>
                  <a:pt x="596" y="108"/>
                  <a:pt x="588" y="107"/>
                  <a:pt x="582" y="104"/>
                </a:cubicBezTo>
                <a:cubicBezTo>
                  <a:pt x="579" y="103"/>
                  <a:pt x="577" y="102"/>
                  <a:pt x="575" y="100"/>
                </a:cubicBezTo>
                <a:cubicBezTo>
                  <a:pt x="574" y="100"/>
                  <a:pt x="574" y="99"/>
                  <a:pt x="573" y="98"/>
                </a:cubicBezTo>
                <a:cubicBezTo>
                  <a:pt x="573" y="97"/>
                  <a:pt x="573" y="96"/>
                  <a:pt x="573" y="95"/>
                </a:cubicBezTo>
                <a:cubicBezTo>
                  <a:pt x="573" y="95"/>
                  <a:pt x="573" y="95"/>
                  <a:pt x="573" y="44"/>
                </a:cubicBezTo>
                <a:cubicBezTo>
                  <a:pt x="573" y="43"/>
                  <a:pt x="574" y="41"/>
                  <a:pt x="575" y="39"/>
                </a:cubicBezTo>
                <a:cubicBezTo>
                  <a:pt x="577" y="38"/>
                  <a:pt x="579" y="37"/>
                  <a:pt x="582" y="35"/>
                </a:cubicBezTo>
                <a:cubicBezTo>
                  <a:pt x="585" y="34"/>
                  <a:pt x="589" y="33"/>
                  <a:pt x="592" y="33"/>
                </a:cubicBezTo>
                <a:cubicBezTo>
                  <a:pt x="596" y="32"/>
                  <a:pt x="600" y="32"/>
                  <a:pt x="605" y="32"/>
                </a:cubicBezTo>
                <a:cubicBezTo>
                  <a:pt x="605" y="32"/>
                  <a:pt x="605" y="32"/>
                  <a:pt x="605" y="32"/>
                </a:cubicBezTo>
                <a:cubicBezTo>
                  <a:pt x="605" y="32"/>
                  <a:pt x="605" y="32"/>
                  <a:pt x="605" y="32"/>
                </a:cubicBezTo>
                <a:cubicBezTo>
                  <a:pt x="609" y="32"/>
                  <a:pt x="614" y="32"/>
                  <a:pt x="617" y="33"/>
                </a:cubicBezTo>
                <a:close/>
                <a:moveTo>
                  <a:pt x="605" y="36"/>
                </a:moveTo>
                <a:cubicBezTo>
                  <a:pt x="590" y="36"/>
                  <a:pt x="578" y="39"/>
                  <a:pt x="578" y="43"/>
                </a:cubicBezTo>
                <a:cubicBezTo>
                  <a:pt x="578" y="47"/>
                  <a:pt x="590" y="51"/>
                  <a:pt x="605" y="51"/>
                </a:cubicBezTo>
                <a:cubicBezTo>
                  <a:pt x="620" y="51"/>
                  <a:pt x="631" y="47"/>
                  <a:pt x="631" y="43"/>
                </a:cubicBezTo>
                <a:cubicBezTo>
                  <a:pt x="631" y="39"/>
                  <a:pt x="620" y="36"/>
                  <a:pt x="605" y="36"/>
                </a:cubicBezTo>
                <a:close/>
                <a:moveTo>
                  <a:pt x="414" y="98"/>
                </a:moveTo>
                <a:cubicBezTo>
                  <a:pt x="415" y="99"/>
                  <a:pt x="416" y="100"/>
                  <a:pt x="416" y="100"/>
                </a:cubicBezTo>
                <a:cubicBezTo>
                  <a:pt x="418" y="102"/>
                  <a:pt x="420" y="103"/>
                  <a:pt x="423" y="104"/>
                </a:cubicBezTo>
                <a:cubicBezTo>
                  <a:pt x="429" y="107"/>
                  <a:pt x="437" y="108"/>
                  <a:pt x="446" y="108"/>
                </a:cubicBezTo>
                <a:cubicBezTo>
                  <a:pt x="446" y="108"/>
                  <a:pt x="446" y="108"/>
                  <a:pt x="446" y="108"/>
                </a:cubicBezTo>
                <a:cubicBezTo>
                  <a:pt x="446" y="108"/>
                  <a:pt x="446" y="108"/>
                  <a:pt x="446" y="108"/>
                </a:cubicBezTo>
                <a:cubicBezTo>
                  <a:pt x="455" y="108"/>
                  <a:pt x="463" y="107"/>
                  <a:pt x="469" y="104"/>
                </a:cubicBezTo>
                <a:cubicBezTo>
                  <a:pt x="472" y="103"/>
                  <a:pt x="474" y="102"/>
                  <a:pt x="476" y="100"/>
                </a:cubicBezTo>
                <a:cubicBezTo>
                  <a:pt x="477" y="100"/>
                  <a:pt x="477" y="99"/>
                  <a:pt x="478" y="98"/>
                </a:cubicBezTo>
                <a:cubicBezTo>
                  <a:pt x="478" y="97"/>
                  <a:pt x="478" y="96"/>
                  <a:pt x="478" y="95"/>
                </a:cubicBezTo>
                <a:cubicBezTo>
                  <a:pt x="478" y="70"/>
                  <a:pt x="478" y="57"/>
                  <a:pt x="478" y="51"/>
                </a:cubicBezTo>
                <a:cubicBezTo>
                  <a:pt x="414" y="88"/>
                  <a:pt x="414" y="88"/>
                  <a:pt x="414" y="88"/>
                </a:cubicBezTo>
                <a:cubicBezTo>
                  <a:pt x="414" y="95"/>
                  <a:pt x="414" y="95"/>
                  <a:pt x="414" y="95"/>
                </a:cubicBezTo>
                <a:cubicBezTo>
                  <a:pt x="414" y="96"/>
                  <a:pt x="414" y="97"/>
                  <a:pt x="414" y="98"/>
                </a:cubicBezTo>
                <a:close/>
                <a:moveTo>
                  <a:pt x="875" y="570"/>
                </a:moveTo>
                <a:cubicBezTo>
                  <a:pt x="855" y="581"/>
                  <a:pt x="835" y="590"/>
                  <a:pt x="813" y="599"/>
                </a:cubicBezTo>
                <a:cubicBezTo>
                  <a:pt x="813" y="598"/>
                  <a:pt x="812" y="597"/>
                  <a:pt x="812" y="597"/>
                </a:cubicBezTo>
                <a:cubicBezTo>
                  <a:pt x="811" y="596"/>
                  <a:pt x="811" y="595"/>
                  <a:pt x="811" y="594"/>
                </a:cubicBezTo>
                <a:cubicBezTo>
                  <a:pt x="811" y="594"/>
                  <a:pt x="811" y="594"/>
                  <a:pt x="811" y="543"/>
                </a:cubicBezTo>
                <a:cubicBezTo>
                  <a:pt x="811" y="541"/>
                  <a:pt x="812" y="540"/>
                  <a:pt x="814" y="538"/>
                </a:cubicBezTo>
                <a:cubicBezTo>
                  <a:pt x="815" y="537"/>
                  <a:pt x="818" y="535"/>
                  <a:pt x="820" y="534"/>
                </a:cubicBezTo>
                <a:cubicBezTo>
                  <a:pt x="823" y="533"/>
                  <a:pt x="827" y="532"/>
                  <a:pt x="831" y="531"/>
                </a:cubicBezTo>
                <a:cubicBezTo>
                  <a:pt x="835" y="531"/>
                  <a:pt x="839" y="530"/>
                  <a:pt x="843" y="530"/>
                </a:cubicBezTo>
                <a:cubicBezTo>
                  <a:pt x="843" y="530"/>
                  <a:pt x="843" y="530"/>
                  <a:pt x="843" y="530"/>
                </a:cubicBezTo>
                <a:cubicBezTo>
                  <a:pt x="843" y="530"/>
                  <a:pt x="843" y="530"/>
                  <a:pt x="843" y="530"/>
                </a:cubicBezTo>
                <a:cubicBezTo>
                  <a:pt x="848" y="530"/>
                  <a:pt x="852" y="531"/>
                  <a:pt x="856" y="531"/>
                </a:cubicBezTo>
                <a:cubicBezTo>
                  <a:pt x="860" y="532"/>
                  <a:pt x="863" y="533"/>
                  <a:pt x="866" y="534"/>
                </a:cubicBezTo>
                <a:cubicBezTo>
                  <a:pt x="869" y="535"/>
                  <a:pt x="871" y="537"/>
                  <a:pt x="873" y="538"/>
                </a:cubicBezTo>
                <a:cubicBezTo>
                  <a:pt x="875" y="540"/>
                  <a:pt x="875" y="541"/>
                  <a:pt x="875" y="543"/>
                </a:cubicBezTo>
                <a:cubicBezTo>
                  <a:pt x="875" y="543"/>
                  <a:pt x="875" y="543"/>
                  <a:pt x="875" y="570"/>
                </a:cubicBezTo>
                <a:close/>
                <a:moveTo>
                  <a:pt x="870" y="542"/>
                </a:moveTo>
                <a:cubicBezTo>
                  <a:pt x="870" y="538"/>
                  <a:pt x="858" y="534"/>
                  <a:pt x="843" y="534"/>
                </a:cubicBezTo>
                <a:cubicBezTo>
                  <a:pt x="829" y="534"/>
                  <a:pt x="817" y="538"/>
                  <a:pt x="817" y="542"/>
                </a:cubicBezTo>
                <a:cubicBezTo>
                  <a:pt x="817" y="546"/>
                  <a:pt x="829" y="549"/>
                  <a:pt x="843" y="550"/>
                </a:cubicBezTo>
                <a:cubicBezTo>
                  <a:pt x="858" y="549"/>
                  <a:pt x="870" y="546"/>
                  <a:pt x="870" y="542"/>
                </a:cubicBezTo>
                <a:close/>
                <a:moveTo>
                  <a:pt x="555" y="7"/>
                </a:moveTo>
                <a:cubicBezTo>
                  <a:pt x="536" y="17"/>
                  <a:pt x="536" y="17"/>
                  <a:pt x="536" y="17"/>
                </a:cubicBezTo>
                <a:cubicBezTo>
                  <a:pt x="538" y="19"/>
                  <a:pt x="540" y="20"/>
                  <a:pt x="543" y="21"/>
                </a:cubicBezTo>
                <a:cubicBezTo>
                  <a:pt x="549" y="24"/>
                  <a:pt x="557" y="25"/>
                  <a:pt x="566" y="25"/>
                </a:cubicBezTo>
                <a:cubicBezTo>
                  <a:pt x="566" y="25"/>
                  <a:pt x="566" y="25"/>
                  <a:pt x="566" y="25"/>
                </a:cubicBezTo>
                <a:cubicBezTo>
                  <a:pt x="566" y="25"/>
                  <a:pt x="566" y="25"/>
                  <a:pt x="566" y="25"/>
                </a:cubicBezTo>
                <a:cubicBezTo>
                  <a:pt x="575" y="25"/>
                  <a:pt x="583" y="24"/>
                  <a:pt x="589" y="21"/>
                </a:cubicBezTo>
                <a:cubicBezTo>
                  <a:pt x="592" y="20"/>
                  <a:pt x="594" y="19"/>
                  <a:pt x="596" y="17"/>
                </a:cubicBezTo>
                <a:cubicBezTo>
                  <a:pt x="596" y="17"/>
                  <a:pt x="596" y="17"/>
                  <a:pt x="596" y="17"/>
                </a:cubicBezTo>
                <a:cubicBezTo>
                  <a:pt x="566" y="0"/>
                  <a:pt x="566" y="0"/>
                  <a:pt x="566" y="0"/>
                </a:cubicBezTo>
                <a:lnTo>
                  <a:pt x="555" y="7"/>
                </a:lnTo>
                <a:close/>
                <a:moveTo>
                  <a:pt x="494" y="42"/>
                </a:moveTo>
                <a:cubicBezTo>
                  <a:pt x="508" y="34"/>
                  <a:pt x="508" y="34"/>
                  <a:pt x="508" y="34"/>
                </a:cubicBezTo>
                <a:cubicBezTo>
                  <a:pt x="509" y="33"/>
                  <a:pt x="511" y="33"/>
                  <a:pt x="513" y="33"/>
                </a:cubicBezTo>
                <a:cubicBezTo>
                  <a:pt x="517" y="32"/>
                  <a:pt x="521" y="32"/>
                  <a:pt x="525" y="32"/>
                </a:cubicBezTo>
                <a:cubicBezTo>
                  <a:pt x="525" y="32"/>
                  <a:pt x="525" y="32"/>
                  <a:pt x="525" y="32"/>
                </a:cubicBezTo>
                <a:cubicBezTo>
                  <a:pt x="526" y="32"/>
                  <a:pt x="526" y="32"/>
                  <a:pt x="526" y="32"/>
                </a:cubicBezTo>
                <a:cubicBezTo>
                  <a:pt x="530" y="32"/>
                  <a:pt x="534" y="32"/>
                  <a:pt x="538" y="33"/>
                </a:cubicBezTo>
                <a:cubicBezTo>
                  <a:pt x="542" y="33"/>
                  <a:pt x="545" y="34"/>
                  <a:pt x="548" y="35"/>
                </a:cubicBezTo>
                <a:cubicBezTo>
                  <a:pt x="551" y="37"/>
                  <a:pt x="554" y="38"/>
                  <a:pt x="555" y="39"/>
                </a:cubicBezTo>
                <a:cubicBezTo>
                  <a:pt x="557" y="41"/>
                  <a:pt x="558" y="43"/>
                  <a:pt x="558" y="44"/>
                </a:cubicBezTo>
                <a:cubicBezTo>
                  <a:pt x="558" y="44"/>
                  <a:pt x="558" y="44"/>
                  <a:pt x="558" y="95"/>
                </a:cubicBezTo>
                <a:cubicBezTo>
                  <a:pt x="558" y="96"/>
                  <a:pt x="558" y="97"/>
                  <a:pt x="557" y="98"/>
                </a:cubicBezTo>
                <a:cubicBezTo>
                  <a:pt x="557" y="99"/>
                  <a:pt x="556" y="100"/>
                  <a:pt x="555" y="100"/>
                </a:cubicBezTo>
                <a:cubicBezTo>
                  <a:pt x="554" y="102"/>
                  <a:pt x="551" y="103"/>
                  <a:pt x="548" y="104"/>
                </a:cubicBezTo>
                <a:cubicBezTo>
                  <a:pt x="542" y="107"/>
                  <a:pt x="534" y="108"/>
                  <a:pt x="526" y="108"/>
                </a:cubicBezTo>
                <a:cubicBezTo>
                  <a:pt x="526" y="108"/>
                  <a:pt x="526" y="108"/>
                  <a:pt x="525" y="108"/>
                </a:cubicBezTo>
                <a:cubicBezTo>
                  <a:pt x="525" y="108"/>
                  <a:pt x="525" y="108"/>
                  <a:pt x="525" y="108"/>
                </a:cubicBezTo>
                <a:cubicBezTo>
                  <a:pt x="517" y="108"/>
                  <a:pt x="509" y="107"/>
                  <a:pt x="503" y="104"/>
                </a:cubicBezTo>
                <a:cubicBezTo>
                  <a:pt x="500" y="103"/>
                  <a:pt x="497" y="102"/>
                  <a:pt x="496" y="100"/>
                </a:cubicBezTo>
                <a:cubicBezTo>
                  <a:pt x="495" y="100"/>
                  <a:pt x="494" y="99"/>
                  <a:pt x="494" y="98"/>
                </a:cubicBezTo>
                <a:cubicBezTo>
                  <a:pt x="493" y="97"/>
                  <a:pt x="493" y="96"/>
                  <a:pt x="493" y="95"/>
                </a:cubicBezTo>
                <a:cubicBezTo>
                  <a:pt x="493" y="95"/>
                  <a:pt x="493" y="95"/>
                  <a:pt x="493" y="44"/>
                </a:cubicBezTo>
                <a:cubicBezTo>
                  <a:pt x="493" y="43"/>
                  <a:pt x="494" y="43"/>
                  <a:pt x="494" y="42"/>
                </a:cubicBezTo>
                <a:close/>
                <a:moveTo>
                  <a:pt x="499" y="43"/>
                </a:moveTo>
                <a:cubicBezTo>
                  <a:pt x="499" y="47"/>
                  <a:pt x="511" y="51"/>
                  <a:pt x="525" y="51"/>
                </a:cubicBezTo>
                <a:cubicBezTo>
                  <a:pt x="540" y="51"/>
                  <a:pt x="552" y="47"/>
                  <a:pt x="552" y="43"/>
                </a:cubicBezTo>
                <a:cubicBezTo>
                  <a:pt x="552" y="39"/>
                  <a:pt x="540" y="36"/>
                  <a:pt x="525" y="36"/>
                </a:cubicBezTo>
                <a:cubicBezTo>
                  <a:pt x="511" y="36"/>
                  <a:pt x="499" y="39"/>
                  <a:pt x="499" y="43"/>
                </a:cubicBezTo>
                <a:close/>
                <a:moveTo>
                  <a:pt x="653" y="597"/>
                </a:moveTo>
                <a:cubicBezTo>
                  <a:pt x="652" y="596"/>
                  <a:pt x="652" y="595"/>
                  <a:pt x="652" y="594"/>
                </a:cubicBezTo>
                <a:cubicBezTo>
                  <a:pt x="652" y="594"/>
                  <a:pt x="652" y="594"/>
                  <a:pt x="652" y="543"/>
                </a:cubicBezTo>
                <a:cubicBezTo>
                  <a:pt x="652" y="541"/>
                  <a:pt x="653" y="540"/>
                  <a:pt x="655" y="538"/>
                </a:cubicBezTo>
                <a:cubicBezTo>
                  <a:pt x="656" y="537"/>
                  <a:pt x="659" y="535"/>
                  <a:pt x="662" y="534"/>
                </a:cubicBezTo>
                <a:cubicBezTo>
                  <a:pt x="665" y="533"/>
                  <a:pt x="668" y="532"/>
                  <a:pt x="672" y="531"/>
                </a:cubicBezTo>
                <a:cubicBezTo>
                  <a:pt x="676" y="531"/>
                  <a:pt x="680" y="530"/>
                  <a:pt x="684" y="530"/>
                </a:cubicBezTo>
                <a:cubicBezTo>
                  <a:pt x="684" y="530"/>
                  <a:pt x="684" y="530"/>
                  <a:pt x="684" y="530"/>
                </a:cubicBezTo>
                <a:cubicBezTo>
                  <a:pt x="684" y="530"/>
                  <a:pt x="684" y="530"/>
                  <a:pt x="684" y="530"/>
                </a:cubicBezTo>
                <a:cubicBezTo>
                  <a:pt x="689" y="530"/>
                  <a:pt x="693" y="531"/>
                  <a:pt x="697" y="531"/>
                </a:cubicBezTo>
                <a:cubicBezTo>
                  <a:pt x="701" y="532"/>
                  <a:pt x="704" y="533"/>
                  <a:pt x="707" y="534"/>
                </a:cubicBezTo>
                <a:cubicBezTo>
                  <a:pt x="710" y="535"/>
                  <a:pt x="712" y="537"/>
                  <a:pt x="714" y="538"/>
                </a:cubicBezTo>
                <a:cubicBezTo>
                  <a:pt x="716" y="540"/>
                  <a:pt x="717" y="541"/>
                  <a:pt x="717" y="543"/>
                </a:cubicBezTo>
                <a:cubicBezTo>
                  <a:pt x="717" y="543"/>
                  <a:pt x="717" y="543"/>
                  <a:pt x="717" y="594"/>
                </a:cubicBezTo>
                <a:cubicBezTo>
                  <a:pt x="717" y="595"/>
                  <a:pt x="716" y="596"/>
                  <a:pt x="716" y="597"/>
                </a:cubicBezTo>
                <a:cubicBezTo>
                  <a:pt x="716" y="597"/>
                  <a:pt x="715" y="598"/>
                  <a:pt x="714" y="599"/>
                </a:cubicBezTo>
                <a:cubicBezTo>
                  <a:pt x="712" y="601"/>
                  <a:pt x="710" y="602"/>
                  <a:pt x="707" y="603"/>
                </a:cubicBezTo>
                <a:cubicBezTo>
                  <a:pt x="701" y="605"/>
                  <a:pt x="693" y="607"/>
                  <a:pt x="684" y="607"/>
                </a:cubicBezTo>
                <a:cubicBezTo>
                  <a:pt x="684" y="607"/>
                  <a:pt x="684" y="607"/>
                  <a:pt x="684" y="607"/>
                </a:cubicBezTo>
                <a:cubicBezTo>
                  <a:pt x="684" y="607"/>
                  <a:pt x="684" y="607"/>
                  <a:pt x="684" y="607"/>
                </a:cubicBezTo>
                <a:cubicBezTo>
                  <a:pt x="675" y="607"/>
                  <a:pt x="667" y="605"/>
                  <a:pt x="662" y="603"/>
                </a:cubicBezTo>
                <a:cubicBezTo>
                  <a:pt x="659" y="602"/>
                  <a:pt x="656" y="601"/>
                  <a:pt x="655" y="599"/>
                </a:cubicBezTo>
                <a:cubicBezTo>
                  <a:pt x="654" y="598"/>
                  <a:pt x="653" y="597"/>
                  <a:pt x="653" y="597"/>
                </a:cubicBezTo>
                <a:close/>
                <a:moveTo>
                  <a:pt x="658" y="542"/>
                </a:moveTo>
                <a:cubicBezTo>
                  <a:pt x="658" y="546"/>
                  <a:pt x="670" y="549"/>
                  <a:pt x="684" y="550"/>
                </a:cubicBezTo>
                <a:cubicBezTo>
                  <a:pt x="699" y="549"/>
                  <a:pt x="711" y="546"/>
                  <a:pt x="711" y="542"/>
                </a:cubicBezTo>
                <a:cubicBezTo>
                  <a:pt x="711" y="538"/>
                  <a:pt x="699" y="534"/>
                  <a:pt x="684" y="534"/>
                </a:cubicBezTo>
                <a:cubicBezTo>
                  <a:pt x="670" y="534"/>
                  <a:pt x="658" y="538"/>
                  <a:pt x="658" y="542"/>
                </a:cubicBezTo>
                <a:close/>
                <a:moveTo>
                  <a:pt x="598" y="626"/>
                </a:moveTo>
                <a:cubicBezTo>
                  <a:pt x="598" y="626"/>
                  <a:pt x="598" y="626"/>
                  <a:pt x="598" y="647"/>
                </a:cubicBezTo>
                <a:cubicBezTo>
                  <a:pt x="587" y="647"/>
                  <a:pt x="576" y="648"/>
                  <a:pt x="565" y="648"/>
                </a:cubicBezTo>
                <a:cubicBezTo>
                  <a:pt x="555" y="648"/>
                  <a:pt x="544" y="647"/>
                  <a:pt x="534" y="647"/>
                </a:cubicBezTo>
                <a:cubicBezTo>
                  <a:pt x="534" y="641"/>
                  <a:pt x="534" y="634"/>
                  <a:pt x="534" y="626"/>
                </a:cubicBezTo>
                <a:cubicBezTo>
                  <a:pt x="534" y="625"/>
                  <a:pt x="535" y="623"/>
                  <a:pt x="536" y="621"/>
                </a:cubicBezTo>
                <a:cubicBezTo>
                  <a:pt x="538" y="620"/>
                  <a:pt x="540" y="618"/>
                  <a:pt x="543" y="617"/>
                </a:cubicBezTo>
                <a:cubicBezTo>
                  <a:pt x="546" y="616"/>
                  <a:pt x="550" y="615"/>
                  <a:pt x="553" y="615"/>
                </a:cubicBezTo>
                <a:cubicBezTo>
                  <a:pt x="557" y="614"/>
                  <a:pt x="561" y="614"/>
                  <a:pt x="566" y="614"/>
                </a:cubicBezTo>
                <a:cubicBezTo>
                  <a:pt x="566" y="614"/>
                  <a:pt x="566" y="614"/>
                  <a:pt x="566" y="614"/>
                </a:cubicBezTo>
                <a:cubicBezTo>
                  <a:pt x="566" y="614"/>
                  <a:pt x="566" y="614"/>
                  <a:pt x="566" y="614"/>
                </a:cubicBezTo>
                <a:cubicBezTo>
                  <a:pt x="570" y="614"/>
                  <a:pt x="575" y="614"/>
                  <a:pt x="578" y="615"/>
                </a:cubicBezTo>
                <a:cubicBezTo>
                  <a:pt x="582" y="615"/>
                  <a:pt x="586" y="616"/>
                  <a:pt x="589" y="617"/>
                </a:cubicBezTo>
                <a:cubicBezTo>
                  <a:pt x="592" y="618"/>
                  <a:pt x="594" y="620"/>
                  <a:pt x="596" y="621"/>
                </a:cubicBezTo>
                <a:cubicBezTo>
                  <a:pt x="597" y="623"/>
                  <a:pt x="598" y="625"/>
                  <a:pt x="598" y="626"/>
                </a:cubicBezTo>
                <a:close/>
                <a:moveTo>
                  <a:pt x="593" y="625"/>
                </a:moveTo>
                <a:cubicBezTo>
                  <a:pt x="593" y="621"/>
                  <a:pt x="581" y="617"/>
                  <a:pt x="566" y="617"/>
                </a:cubicBezTo>
                <a:cubicBezTo>
                  <a:pt x="551" y="617"/>
                  <a:pt x="539" y="621"/>
                  <a:pt x="539" y="625"/>
                </a:cubicBezTo>
                <a:cubicBezTo>
                  <a:pt x="539" y="629"/>
                  <a:pt x="551" y="633"/>
                  <a:pt x="566" y="633"/>
                </a:cubicBezTo>
                <a:cubicBezTo>
                  <a:pt x="581" y="633"/>
                  <a:pt x="593" y="629"/>
                  <a:pt x="593" y="625"/>
                </a:cubicBezTo>
                <a:close/>
                <a:moveTo>
                  <a:pt x="319" y="597"/>
                </a:moveTo>
                <a:cubicBezTo>
                  <a:pt x="318" y="597"/>
                  <a:pt x="318" y="598"/>
                  <a:pt x="317" y="599"/>
                </a:cubicBezTo>
                <a:cubicBezTo>
                  <a:pt x="296" y="590"/>
                  <a:pt x="275" y="580"/>
                  <a:pt x="255" y="569"/>
                </a:cubicBezTo>
                <a:cubicBezTo>
                  <a:pt x="255" y="563"/>
                  <a:pt x="255" y="554"/>
                  <a:pt x="255" y="543"/>
                </a:cubicBezTo>
                <a:cubicBezTo>
                  <a:pt x="255" y="541"/>
                  <a:pt x="256" y="540"/>
                  <a:pt x="257" y="538"/>
                </a:cubicBezTo>
                <a:cubicBezTo>
                  <a:pt x="259" y="537"/>
                  <a:pt x="261" y="535"/>
                  <a:pt x="264" y="534"/>
                </a:cubicBezTo>
                <a:cubicBezTo>
                  <a:pt x="267" y="533"/>
                  <a:pt x="271" y="532"/>
                  <a:pt x="275" y="531"/>
                </a:cubicBezTo>
                <a:cubicBezTo>
                  <a:pt x="278" y="531"/>
                  <a:pt x="283" y="530"/>
                  <a:pt x="287" y="530"/>
                </a:cubicBezTo>
                <a:cubicBezTo>
                  <a:pt x="287" y="530"/>
                  <a:pt x="287" y="530"/>
                  <a:pt x="287" y="530"/>
                </a:cubicBezTo>
                <a:cubicBezTo>
                  <a:pt x="287" y="530"/>
                  <a:pt x="287" y="530"/>
                  <a:pt x="287" y="530"/>
                </a:cubicBezTo>
                <a:cubicBezTo>
                  <a:pt x="292" y="530"/>
                  <a:pt x="296" y="531"/>
                  <a:pt x="300" y="531"/>
                </a:cubicBezTo>
                <a:cubicBezTo>
                  <a:pt x="304" y="532"/>
                  <a:pt x="307" y="533"/>
                  <a:pt x="310" y="534"/>
                </a:cubicBezTo>
                <a:cubicBezTo>
                  <a:pt x="313" y="535"/>
                  <a:pt x="315" y="537"/>
                  <a:pt x="317" y="538"/>
                </a:cubicBezTo>
                <a:cubicBezTo>
                  <a:pt x="319" y="540"/>
                  <a:pt x="319" y="541"/>
                  <a:pt x="319" y="543"/>
                </a:cubicBezTo>
                <a:cubicBezTo>
                  <a:pt x="319" y="543"/>
                  <a:pt x="319" y="543"/>
                  <a:pt x="319" y="594"/>
                </a:cubicBezTo>
                <a:cubicBezTo>
                  <a:pt x="319" y="595"/>
                  <a:pt x="319" y="596"/>
                  <a:pt x="319" y="597"/>
                </a:cubicBezTo>
                <a:close/>
                <a:moveTo>
                  <a:pt x="314" y="542"/>
                </a:moveTo>
                <a:cubicBezTo>
                  <a:pt x="314" y="538"/>
                  <a:pt x="302" y="534"/>
                  <a:pt x="287" y="534"/>
                </a:cubicBezTo>
                <a:cubicBezTo>
                  <a:pt x="272" y="534"/>
                  <a:pt x="261" y="538"/>
                  <a:pt x="261" y="542"/>
                </a:cubicBezTo>
                <a:cubicBezTo>
                  <a:pt x="261" y="546"/>
                  <a:pt x="272" y="549"/>
                  <a:pt x="287" y="550"/>
                </a:cubicBezTo>
                <a:cubicBezTo>
                  <a:pt x="302" y="549"/>
                  <a:pt x="314" y="546"/>
                  <a:pt x="314" y="542"/>
                </a:cubicBezTo>
                <a:close/>
                <a:moveTo>
                  <a:pt x="389" y="104"/>
                </a:moveTo>
                <a:cubicBezTo>
                  <a:pt x="392" y="103"/>
                  <a:pt x="395" y="102"/>
                  <a:pt x="396" y="100"/>
                </a:cubicBezTo>
                <a:cubicBezTo>
                  <a:pt x="397" y="100"/>
                  <a:pt x="398" y="99"/>
                  <a:pt x="398" y="98"/>
                </a:cubicBezTo>
                <a:cubicBezTo>
                  <a:pt x="398" y="98"/>
                  <a:pt x="399" y="97"/>
                  <a:pt x="399" y="97"/>
                </a:cubicBezTo>
                <a:cubicBezTo>
                  <a:pt x="382" y="107"/>
                  <a:pt x="382" y="107"/>
                  <a:pt x="382" y="107"/>
                </a:cubicBezTo>
                <a:cubicBezTo>
                  <a:pt x="384" y="106"/>
                  <a:pt x="387" y="105"/>
                  <a:pt x="389" y="104"/>
                </a:cubicBezTo>
                <a:close/>
                <a:moveTo>
                  <a:pt x="519" y="626"/>
                </a:moveTo>
                <a:cubicBezTo>
                  <a:pt x="519" y="626"/>
                  <a:pt x="519" y="626"/>
                  <a:pt x="519" y="646"/>
                </a:cubicBezTo>
                <a:cubicBezTo>
                  <a:pt x="497" y="644"/>
                  <a:pt x="476" y="642"/>
                  <a:pt x="454" y="638"/>
                </a:cubicBezTo>
                <a:cubicBezTo>
                  <a:pt x="454" y="634"/>
                  <a:pt x="454" y="631"/>
                  <a:pt x="454" y="626"/>
                </a:cubicBezTo>
                <a:cubicBezTo>
                  <a:pt x="454" y="625"/>
                  <a:pt x="455" y="623"/>
                  <a:pt x="457" y="621"/>
                </a:cubicBezTo>
                <a:cubicBezTo>
                  <a:pt x="458" y="620"/>
                  <a:pt x="461" y="618"/>
                  <a:pt x="464" y="617"/>
                </a:cubicBezTo>
                <a:cubicBezTo>
                  <a:pt x="467" y="616"/>
                  <a:pt x="470" y="615"/>
                  <a:pt x="474" y="615"/>
                </a:cubicBezTo>
                <a:cubicBezTo>
                  <a:pt x="478" y="614"/>
                  <a:pt x="482" y="614"/>
                  <a:pt x="486" y="614"/>
                </a:cubicBezTo>
                <a:cubicBezTo>
                  <a:pt x="486" y="614"/>
                  <a:pt x="487" y="614"/>
                  <a:pt x="487" y="614"/>
                </a:cubicBezTo>
                <a:cubicBezTo>
                  <a:pt x="487" y="614"/>
                  <a:pt x="487" y="614"/>
                  <a:pt x="487" y="614"/>
                </a:cubicBezTo>
                <a:cubicBezTo>
                  <a:pt x="491" y="614"/>
                  <a:pt x="495" y="614"/>
                  <a:pt x="499" y="615"/>
                </a:cubicBezTo>
                <a:cubicBezTo>
                  <a:pt x="503" y="615"/>
                  <a:pt x="506" y="616"/>
                  <a:pt x="509" y="617"/>
                </a:cubicBezTo>
                <a:cubicBezTo>
                  <a:pt x="512" y="618"/>
                  <a:pt x="515" y="620"/>
                  <a:pt x="516" y="621"/>
                </a:cubicBezTo>
                <a:cubicBezTo>
                  <a:pt x="518" y="623"/>
                  <a:pt x="519" y="625"/>
                  <a:pt x="519" y="626"/>
                </a:cubicBezTo>
                <a:close/>
                <a:moveTo>
                  <a:pt x="513" y="625"/>
                </a:moveTo>
                <a:cubicBezTo>
                  <a:pt x="513" y="621"/>
                  <a:pt x="501" y="617"/>
                  <a:pt x="487" y="617"/>
                </a:cubicBezTo>
                <a:cubicBezTo>
                  <a:pt x="472" y="617"/>
                  <a:pt x="460" y="621"/>
                  <a:pt x="460" y="625"/>
                </a:cubicBezTo>
                <a:cubicBezTo>
                  <a:pt x="460" y="629"/>
                  <a:pt x="472" y="633"/>
                  <a:pt x="487" y="633"/>
                </a:cubicBezTo>
                <a:cubicBezTo>
                  <a:pt x="501" y="633"/>
                  <a:pt x="513" y="629"/>
                  <a:pt x="513" y="625"/>
                </a:cubicBezTo>
                <a:close/>
                <a:moveTo>
                  <a:pt x="151" y="437"/>
                </a:moveTo>
                <a:cubicBezTo>
                  <a:pt x="145" y="439"/>
                  <a:pt x="137" y="441"/>
                  <a:pt x="128" y="441"/>
                </a:cubicBezTo>
                <a:cubicBezTo>
                  <a:pt x="128" y="441"/>
                  <a:pt x="128" y="441"/>
                  <a:pt x="128" y="441"/>
                </a:cubicBezTo>
                <a:cubicBezTo>
                  <a:pt x="128" y="441"/>
                  <a:pt x="128" y="441"/>
                  <a:pt x="128" y="441"/>
                </a:cubicBezTo>
                <a:cubicBezTo>
                  <a:pt x="119" y="441"/>
                  <a:pt x="111" y="439"/>
                  <a:pt x="106" y="437"/>
                </a:cubicBezTo>
                <a:cubicBezTo>
                  <a:pt x="103" y="436"/>
                  <a:pt x="100" y="434"/>
                  <a:pt x="99" y="433"/>
                </a:cubicBezTo>
                <a:cubicBezTo>
                  <a:pt x="98" y="432"/>
                  <a:pt x="97" y="431"/>
                  <a:pt x="97" y="430"/>
                </a:cubicBezTo>
                <a:cubicBezTo>
                  <a:pt x="96" y="430"/>
                  <a:pt x="96" y="429"/>
                  <a:pt x="96" y="428"/>
                </a:cubicBezTo>
                <a:cubicBezTo>
                  <a:pt x="96" y="428"/>
                  <a:pt x="96" y="428"/>
                  <a:pt x="96" y="377"/>
                </a:cubicBezTo>
                <a:cubicBezTo>
                  <a:pt x="96" y="375"/>
                  <a:pt x="97" y="373"/>
                  <a:pt x="99" y="372"/>
                </a:cubicBezTo>
                <a:cubicBezTo>
                  <a:pt x="100" y="370"/>
                  <a:pt x="103" y="369"/>
                  <a:pt x="106" y="368"/>
                </a:cubicBezTo>
                <a:cubicBezTo>
                  <a:pt x="108" y="367"/>
                  <a:pt x="112" y="366"/>
                  <a:pt x="116" y="365"/>
                </a:cubicBezTo>
                <a:cubicBezTo>
                  <a:pt x="120" y="365"/>
                  <a:pt x="124" y="364"/>
                  <a:pt x="128" y="364"/>
                </a:cubicBezTo>
                <a:cubicBezTo>
                  <a:pt x="128" y="364"/>
                  <a:pt x="128" y="364"/>
                  <a:pt x="128" y="364"/>
                </a:cubicBezTo>
                <a:cubicBezTo>
                  <a:pt x="128" y="364"/>
                  <a:pt x="128" y="364"/>
                  <a:pt x="128" y="364"/>
                </a:cubicBezTo>
                <a:cubicBezTo>
                  <a:pt x="133" y="364"/>
                  <a:pt x="137" y="365"/>
                  <a:pt x="141" y="365"/>
                </a:cubicBezTo>
                <a:cubicBezTo>
                  <a:pt x="145" y="366"/>
                  <a:pt x="148" y="367"/>
                  <a:pt x="151" y="368"/>
                </a:cubicBezTo>
                <a:cubicBezTo>
                  <a:pt x="154" y="369"/>
                  <a:pt x="156" y="370"/>
                  <a:pt x="158" y="372"/>
                </a:cubicBezTo>
                <a:cubicBezTo>
                  <a:pt x="160" y="373"/>
                  <a:pt x="161" y="375"/>
                  <a:pt x="161" y="377"/>
                </a:cubicBezTo>
                <a:cubicBezTo>
                  <a:pt x="161" y="377"/>
                  <a:pt x="161" y="377"/>
                  <a:pt x="161" y="428"/>
                </a:cubicBezTo>
                <a:cubicBezTo>
                  <a:pt x="161" y="429"/>
                  <a:pt x="160" y="430"/>
                  <a:pt x="160" y="430"/>
                </a:cubicBezTo>
                <a:cubicBezTo>
                  <a:pt x="159" y="431"/>
                  <a:pt x="159" y="432"/>
                  <a:pt x="158" y="433"/>
                </a:cubicBezTo>
                <a:cubicBezTo>
                  <a:pt x="156" y="434"/>
                  <a:pt x="154" y="436"/>
                  <a:pt x="151" y="437"/>
                </a:cubicBezTo>
                <a:close/>
                <a:moveTo>
                  <a:pt x="155" y="376"/>
                </a:moveTo>
                <a:cubicBezTo>
                  <a:pt x="155" y="371"/>
                  <a:pt x="143" y="368"/>
                  <a:pt x="128" y="368"/>
                </a:cubicBezTo>
                <a:cubicBezTo>
                  <a:pt x="114" y="368"/>
                  <a:pt x="102" y="371"/>
                  <a:pt x="102" y="376"/>
                </a:cubicBezTo>
                <a:cubicBezTo>
                  <a:pt x="102" y="380"/>
                  <a:pt x="114" y="383"/>
                  <a:pt x="128" y="383"/>
                </a:cubicBezTo>
                <a:cubicBezTo>
                  <a:pt x="143" y="383"/>
                  <a:pt x="155" y="380"/>
                  <a:pt x="155" y="376"/>
                </a:cubicBezTo>
                <a:close/>
                <a:moveTo>
                  <a:pt x="437" y="621"/>
                </a:moveTo>
                <a:cubicBezTo>
                  <a:pt x="435" y="620"/>
                  <a:pt x="433" y="618"/>
                  <a:pt x="430" y="617"/>
                </a:cubicBezTo>
                <a:cubicBezTo>
                  <a:pt x="427" y="616"/>
                  <a:pt x="423" y="615"/>
                  <a:pt x="420" y="615"/>
                </a:cubicBezTo>
                <a:cubicBezTo>
                  <a:pt x="416" y="614"/>
                  <a:pt x="412" y="614"/>
                  <a:pt x="407" y="614"/>
                </a:cubicBezTo>
                <a:cubicBezTo>
                  <a:pt x="407" y="614"/>
                  <a:pt x="407" y="614"/>
                  <a:pt x="407" y="614"/>
                </a:cubicBezTo>
                <a:cubicBezTo>
                  <a:pt x="407" y="614"/>
                  <a:pt x="407" y="614"/>
                  <a:pt x="407" y="614"/>
                </a:cubicBezTo>
                <a:cubicBezTo>
                  <a:pt x="403" y="614"/>
                  <a:pt x="398" y="614"/>
                  <a:pt x="395" y="615"/>
                </a:cubicBezTo>
                <a:cubicBezTo>
                  <a:pt x="391" y="615"/>
                  <a:pt x="387" y="616"/>
                  <a:pt x="384" y="617"/>
                </a:cubicBezTo>
                <a:cubicBezTo>
                  <a:pt x="382" y="618"/>
                  <a:pt x="380" y="619"/>
                  <a:pt x="379" y="620"/>
                </a:cubicBezTo>
                <a:cubicBezTo>
                  <a:pt x="380" y="621"/>
                  <a:pt x="382" y="621"/>
                  <a:pt x="383" y="622"/>
                </a:cubicBezTo>
                <a:cubicBezTo>
                  <a:pt x="388" y="619"/>
                  <a:pt x="397" y="617"/>
                  <a:pt x="407" y="617"/>
                </a:cubicBezTo>
                <a:cubicBezTo>
                  <a:pt x="422" y="617"/>
                  <a:pt x="434" y="621"/>
                  <a:pt x="434" y="625"/>
                </a:cubicBezTo>
                <a:cubicBezTo>
                  <a:pt x="434" y="628"/>
                  <a:pt x="429" y="630"/>
                  <a:pt x="421" y="631"/>
                </a:cubicBezTo>
                <a:cubicBezTo>
                  <a:pt x="427" y="633"/>
                  <a:pt x="433" y="634"/>
                  <a:pt x="439" y="635"/>
                </a:cubicBezTo>
                <a:cubicBezTo>
                  <a:pt x="439" y="626"/>
                  <a:pt x="439" y="626"/>
                  <a:pt x="439" y="626"/>
                </a:cubicBezTo>
                <a:cubicBezTo>
                  <a:pt x="439" y="625"/>
                  <a:pt x="438" y="623"/>
                  <a:pt x="437" y="621"/>
                </a:cubicBezTo>
                <a:close/>
                <a:moveTo>
                  <a:pt x="296" y="347"/>
                </a:moveTo>
                <a:cubicBezTo>
                  <a:pt x="296" y="346"/>
                  <a:pt x="295" y="346"/>
                  <a:pt x="295" y="345"/>
                </a:cubicBezTo>
                <a:cubicBezTo>
                  <a:pt x="295" y="345"/>
                  <a:pt x="295" y="345"/>
                  <a:pt x="295" y="294"/>
                </a:cubicBezTo>
                <a:cubicBezTo>
                  <a:pt x="295" y="292"/>
                  <a:pt x="296" y="290"/>
                  <a:pt x="298" y="289"/>
                </a:cubicBezTo>
                <a:cubicBezTo>
                  <a:pt x="300" y="287"/>
                  <a:pt x="302" y="286"/>
                  <a:pt x="305" y="285"/>
                </a:cubicBezTo>
                <a:cubicBezTo>
                  <a:pt x="308" y="284"/>
                  <a:pt x="311" y="283"/>
                  <a:pt x="315" y="282"/>
                </a:cubicBezTo>
                <a:cubicBezTo>
                  <a:pt x="319" y="281"/>
                  <a:pt x="323" y="281"/>
                  <a:pt x="328" y="281"/>
                </a:cubicBezTo>
                <a:cubicBezTo>
                  <a:pt x="328" y="281"/>
                  <a:pt x="328" y="281"/>
                  <a:pt x="328" y="281"/>
                </a:cubicBezTo>
                <a:cubicBezTo>
                  <a:pt x="328" y="281"/>
                  <a:pt x="328" y="281"/>
                  <a:pt x="328" y="281"/>
                </a:cubicBezTo>
                <a:cubicBezTo>
                  <a:pt x="332" y="281"/>
                  <a:pt x="336" y="281"/>
                  <a:pt x="340" y="282"/>
                </a:cubicBezTo>
                <a:cubicBezTo>
                  <a:pt x="344" y="283"/>
                  <a:pt x="348" y="284"/>
                  <a:pt x="350" y="285"/>
                </a:cubicBezTo>
                <a:cubicBezTo>
                  <a:pt x="353" y="286"/>
                  <a:pt x="356" y="287"/>
                  <a:pt x="357" y="289"/>
                </a:cubicBezTo>
                <a:cubicBezTo>
                  <a:pt x="359" y="290"/>
                  <a:pt x="360" y="292"/>
                  <a:pt x="360" y="294"/>
                </a:cubicBezTo>
                <a:cubicBezTo>
                  <a:pt x="360" y="294"/>
                  <a:pt x="360" y="294"/>
                  <a:pt x="360" y="345"/>
                </a:cubicBezTo>
                <a:cubicBezTo>
                  <a:pt x="360" y="346"/>
                  <a:pt x="360" y="346"/>
                  <a:pt x="359" y="347"/>
                </a:cubicBezTo>
                <a:cubicBezTo>
                  <a:pt x="359" y="348"/>
                  <a:pt x="358" y="349"/>
                  <a:pt x="357" y="350"/>
                </a:cubicBezTo>
                <a:cubicBezTo>
                  <a:pt x="356" y="351"/>
                  <a:pt x="353" y="353"/>
                  <a:pt x="350" y="354"/>
                </a:cubicBezTo>
                <a:cubicBezTo>
                  <a:pt x="345" y="356"/>
                  <a:pt x="337" y="357"/>
                  <a:pt x="328" y="357"/>
                </a:cubicBezTo>
                <a:cubicBezTo>
                  <a:pt x="328" y="357"/>
                  <a:pt x="328" y="357"/>
                  <a:pt x="328" y="357"/>
                </a:cubicBezTo>
                <a:cubicBezTo>
                  <a:pt x="328" y="357"/>
                  <a:pt x="328" y="357"/>
                  <a:pt x="328" y="357"/>
                </a:cubicBezTo>
                <a:cubicBezTo>
                  <a:pt x="319" y="357"/>
                  <a:pt x="311" y="356"/>
                  <a:pt x="305" y="354"/>
                </a:cubicBezTo>
                <a:cubicBezTo>
                  <a:pt x="302" y="353"/>
                  <a:pt x="300" y="351"/>
                  <a:pt x="298" y="350"/>
                </a:cubicBezTo>
                <a:cubicBezTo>
                  <a:pt x="297" y="349"/>
                  <a:pt x="297" y="348"/>
                  <a:pt x="296" y="347"/>
                </a:cubicBezTo>
                <a:close/>
                <a:moveTo>
                  <a:pt x="301" y="293"/>
                </a:moveTo>
                <a:cubicBezTo>
                  <a:pt x="301" y="297"/>
                  <a:pt x="313" y="300"/>
                  <a:pt x="328" y="300"/>
                </a:cubicBezTo>
                <a:cubicBezTo>
                  <a:pt x="342" y="300"/>
                  <a:pt x="354" y="297"/>
                  <a:pt x="354" y="293"/>
                </a:cubicBezTo>
                <a:cubicBezTo>
                  <a:pt x="354" y="288"/>
                  <a:pt x="342" y="285"/>
                  <a:pt x="328" y="285"/>
                </a:cubicBezTo>
                <a:cubicBezTo>
                  <a:pt x="313" y="285"/>
                  <a:pt x="301" y="288"/>
                  <a:pt x="301" y="293"/>
                </a:cubicBezTo>
                <a:close/>
                <a:moveTo>
                  <a:pt x="337" y="267"/>
                </a:moveTo>
                <a:cubicBezTo>
                  <a:pt x="336" y="266"/>
                  <a:pt x="335" y="265"/>
                  <a:pt x="335" y="264"/>
                </a:cubicBezTo>
                <a:cubicBezTo>
                  <a:pt x="335" y="263"/>
                  <a:pt x="334" y="262"/>
                  <a:pt x="334" y="262"/>
                </a:cubicBezTo>
                <a:cubicBezTo>
                  <a:pt x="334" y="262"/>
                  <a:pt x="334" y="262"/>
                  <a:pt x="334" y="211"/>
                </a:cubicBezTo>
                <a:cubicBezTo>
                  <a:pt x="334" y="209"/>
                  <a:pt x="335" y="207"/>
                  <a:pt x="337" y="206"/>
                </a:cubicBezTo>
                <a:cubicBezTo>
                  <a:pt x="339" y="204"/>
                  <a:pt x="341" y="203"/>
                  <a:pt x="344" y="202"/>
                </a:cubicBezTo>
                <a:cubicBezTo>
                  <a:pt x="347" y="201"/>
                  <a:pt x="350" y="200"/>
                  <a:pt x="354" y="199"/>
                </a:cubicBezTo>
                <a:cubicBezTo>
                  <a:pt x="358" y="198"/>
                  <a:pt x="362" y="198"/>
                  <a:pt x="367" y="198"/>
                </a:cubicBezTo>
                <a:cubicBezTo>
                  <a:pt x="367" y="198"/>
                  <a:pt x="367" y="198"/>
                  <a:pt x="367" y="198"/>
                </a:cubicBezTo>
                <a:cubicBezTo>
                  <a:pt x="367" y="198"/>
                  <a:pt x="367" y="198"/>
                  <a:pt x="367" y="198"/>
                </a:cubicBezTo>
                <a:cubicBezTo>
                  <a:pt x="371" y="198"/>
                  <a:pt x="375" y="198"/>
                  <a:pt x="379" y="199"/>
                </a:cubicBezTo>
                <a:cubicBezTo>
                  <a:pt x="383" y="200"/>
                  <a:pt x="386" y="201"/>
                  <a:pt x="389" y="202"/>
                </a:cubicBezTo>
                <a:cubicBezTo>
                  <a:pt x="392" y="203"/>
                  <a:pt x="395" y="204"/>
                  <a:pt x="396" y="206"/>
                </a:cubicBezTo>
                <a:cubicBezTo>
                  <a:pt x="398" y="207"/>
                  <a:pt x="399" y="209"/>
                  <a:pt x="399" y="211"/>
                </a:cubicBezTo>
                <a:cubicBezTo>
                  <a:pt x="399" y="211"/>
                  <a:pt x="399" y="211"/>
                  <a:pt x="399" y="262"/>
                </a:cubicBezTo>
                <a:cubicBezTo>
                  <a:pt x="399" y="262"/>
                  <a:pt x="399" y="263"/>
                  <a:pt x="398" y="264"/>
                </a:cubicBezTo>
                <a:cubicBezTo>
                  <a:pt x="398" y="265"/>
                  <a:pt x="397" y="266"/>
                  <a:pt x="396" y="267"/>
                </a:cubicBezTo>
                <a:cubicBezTo>
                  <a:pt x="395" y="268"/>
                  <a:pt x="392" y="269"/>
                  <a:pt x="389" y="271"/>
                </a:cubicBezTo>
                <a:cubicBezTo>
                  <a:pt x="384" y="273"/>
                  <a:pt x="376" y="274"/>
                  <a:pt x="367" y="274"/>
                </a:cubicBezTo>
                <a:cubicBezTo>
                  <a:pt x="367" y="274"/>
                  <a:pt x="367" y="274"/>
                  <a:pt x="367" y="274"/>
                </a:cubicBezTo>
                <a:cubicBezTo>
                  <a:pt x="367" y="274"/>
                  <a:pt x="367" y="274"/>
                  <a:pt x="367" y="274"/>
                </a:cubicBezTo>
                <a:cubicBezTo>
                  <a:pt x="358" y="274"/>
                  <a:pt x="350" y="273"/>
                  <a:pt x="344" y="271"/>
                </a:cubicBezTo>
                <a:cubicBezTo>
                  <a:pt x="341" y="269"/>
                  <a:pt x="339" y="268"/>
                  <a:pt x="337" y="267"/>
                </a:cubicBezTo>
                <a:close/>
                <a:moveTo>
                  <a:pt x="340" y="209"/>
                </a:moveTo>
                <a:cubicBezTo>
                  <a:pt x="340" y="214"/>
                  <a:pt x="352" y="217"/>
                  <a:pt x="367" y="217"/>
                </a:cubicBezTo>
                <a:cubicBezTo>
                  <a:pt x="381" y="217"/>
                  <a:pt x="393" y="214"/>
                  <a:pt x="393" y="209"/>
                </a:cubicBezTo>
                <a:cubicBezTo>
                  <a:pt x="393" y="205"/>
                  <a:pt x="381" y="202"/>
                  <a:pt x="367" y="202"/>
                </a:cubicBezTo>
                <a:cubicBezTo>
                  <a:pt x="352" y="202"/>
                  <a:pt x="340" y="205"/>
                  <a:pt x="340" y="209"/>
                </a:cubicBezTo>
                <a:close/>
                <a:moveTo>
                  <a:pt x="287" y="274"/>
                </a:moveTo>
                <a:cubicBezTo>
                  <a:pt x="278" y="274"/>
                  <a:pt x="270" y="273"/>
                  <a:pt x="264" y="271"/>
                </a:cubicBezTo>
                <a:cubicBezTo>
                  <a:pt x="261" y="269"/>
                  <a:pt x="259" y="268"/>
                  <a:pt x="257" y="267"/>
                </a:cubicBezTo>
                <a:cubicBezTo>
                  <a:pt x="257" y="266"/>
                  <a:pt x="256" y="265"/>
                  <a:pt x="256" y="264"/>
                </a:cubicBezTo>
                <a:cubicBezTo>
                  <a:pt x="255" y="263"/>
                  <a:pt x="255" y="262"/>
                  <a:pt x="255" y="262"/>
                </a:cubicBezTo>
                <a:cubicBezTo>
                  <a:pt x="255" y="262"/>
                  <a:pt x="255" y="262"/>
                  <a:pt x="255" y="211"/>
                </a:cubicBezTo>
                <a:cubicBezTo>
                  <a:pt x="255" y="209"/>
                  <a:pt x="256" y="207"/>
                  <a:pt x="257" y="206"/>
                </a:cubicBezTo>
                <a:cubicBezTo>
                  <a:pt x="259" y="204"/>
                  <a:pt x="261" y="203"/>
                  <a:pt x="264" y="202"/>
                </a:cubicBezTo>
                <a:cubicBezTo>
                  <a:pt x="267" y="201"/>
                  <a:pt x="271" y="200"/>
                  <a:pt x="275" y="199"/>
                </a:cubicBezTo>
                <a:cubicBezTo>
                  <a:pt x="278" y="198"/>
                  <a:pt x="283" y="198"/>
                  <a:pt x="287" y="198"/>
                </a:cubicBezTo>
                <a:cubicBezTo>
                  <a:pt x="287" y="198"/>
                  <a:pt x="287" y="198"/>
                  <a:pt x="287" y="198"/>
                </a:cubicBezTo>
                <a:cubicBezTo>
                  <a:pt x="287" y="198"/>
                  <a:pt x="287" y="198"/>
                  <a:pt x="287" y="198"/>
                </a:cubicBezTo>
                <a:cubicBezTo>
                  <a:pt x="292" y="198"/>
                  <a:pt x="296" y="198"/>
                  <a:pt x="300" y="199"/>
                </a:cubicBezTo>
                <a:cubicBezTo>
                  <a:pt x="304" y="200"/>
                  <a:pt x="307" y="201"/>
                  <a:pt x="310" y="202"/>
                </a:cubicBezTo>
                <a:cubicBezTo>
                  <a:pt x="313" y="203"/>
                  <a:pt x="315" y="204"/>
                  <a:pt x="317" y="206"/>
                </a:cubicBezTo>
                <a:cubicBezTo>
                  <a:pt x="319" y="207"/>
                  <a:pt x="319" y="209"/>
                  <a:pt x="319" y="211"/>
                </a:cubicBezTo>
                <a:cubicBezTo>
                  <a:pt x="319" y="211"/>
                  <a:pt x="319" y="211"/>
                  <a:pt x="319" y="262"/>
                </a:cubicBezTo>
                <a:cubicBezTo>
                  <a:pt x="319" y="262"/>
                  <a:pt x="319" y="263"/>
                  <a:pt x="319" y="264"/>
                </a:cubicBezTo>
                <a:cubicBezTo>
                  <a:pt x="318" y="265"/>
                  <a:pt x="318" y="266"/>
                  <a:pt x="317" y="267"/>
                </a:cubicBezTo>
                <a:cubicBezTo>
                  <a:pt x="315" y="268"/>
                  <a:pt x="313" y="269"/>
                  <a:pt x="310" y="271"/>
                </a:cubicBezTo>
                <a:cubicBezTo>
                  <a:pt x="304" y="273"/>
                  <a:pt x="296" y="274"/>
                  <a:pt x="287" y="274"/>
                </a:cubicBezTo>
                <a:cubicBezTo>
                  <a:pt x="287" y="274"/>
                  <a:pt x="287" y="274"/>
                  <a:pt x="287" y="274"/>
                </a:cubicBezTo>
                <a:cubicBezTo>
                  <a:pt x="287" y="274"/>
                  <a:pt x="287" y="274"/>
                  <a:pt x="287" y="274"/>
                </a:cubicBezTo>
                <a:close/>
                <a:moveTo>
                  <a:pt x="287" y="217"/>
                </a:moveTo>
                <a:cubicBezTo>
                  <a:pt x="302" y="217"/>
                  <a:pt x="314" y="214"/>
                  <a:pt x="314" y="209"/>
                </a:cubicBezTo>
                <a:cubicBezTo>
                  <a:pt x="314" y="205"/>
                  <a:pt x="302" y="202"/>
                  <a:pt x="287" y="202"/>
                </a:cubicBezTo>
                <a:cubicBezTo>
                  <a:pt x="272" y="202"/>
                  <a:pt x="261" y="205"/>
                  <a:pt x="261" y="209"/>
                </a:cubicBezTo>
                <a:cubicBezTo>
                  <a:pt x="261" y="214"/>
                  <a:pt x="272" y="217"/>
                  <a:pt x="287" y="217"/>
                </a:cubicBezTo>
                <a:close/>
                <a:moveTo>
                  <a:pt x="407" y="357"/>
                </a:moveTo>
                <a:cubicBezTo>
                  <a:pt x="398" y="357"/>
                  <a:pt x="390" y="356"/>
                  <a:pt x="384" y="354"/>
                </a:cubicBezTo>
                <a:cubicBezTo>
                  <a:pt x="381" y="353"/>
                  <a:pt x="379" y="351"/>
                  <a:pt x="377" y="350"/>
                </a:cubicBezTo>
                <a:cubicBezTo>
                  <a:pt x="377" y="349"/>
                  <a:pt x="376" y="348"/>
                  <a:pt x="376" y="347"/>
                </a:cubicBezTo>
                <a:cubicBezTo>
                  <a:pt x="375" y="346"/>
                  <a:pt x="375" y="346"/>
                  <a:pt x="375" y="345"/>
                </a:cubicBezTo>
                <a:cubicBezTo>
                  <a:pt x="375" y="345"/>
                  <a:pt x="375" y="345"/>
                  <a:pt x="375" y="294"/>
                </a:cubicBezTo>
                <a:cubicBezTo>
                  <a:pt x="375" y="292"/>
                  <a:pt x="376" y="290"/>
                  <a:pt x="377" y="289"/>
                </a:cubicBezTo>
                <a:cubicBezTo>
                  <a:pt x="379" y="287"/>
                  <a:pt x="381" y="286"/>
                  <a:pt x="384" y="285"/>
                </a:cubicBezTo>
                <a:cubicBezTo>
                  <a:pt x="387" y="284"/>
                  <a:pt x="391" y="283"/>
                  <a:pt x="395" y="282"/>
                </a:cubicBezTo>
                <a:cubicBezTo>
                  <a:pt x="398" y="281"/>
                  <a:pt x="403" y="281"/>
                  <a:pt x="407" y="281"/>
                </a:cubicBezTo>
                <a:cubicBezTo>
                  <a:pt x="407" y="281"/>
                  <a:pt x="407" y="281"/>
                  <a:pt x="407" y="281"/>
                </a:cubicBezTo>
                <a:cubicBezTo>
                  <a:pt x="407" y="281"/>
                  <a:pt x="407" y="281"/>
                  <a:pt x="407" y="281"/>
                </a:cubicBezTo>
                <a:cubicBezTo>
                  <a:pt x="412" y="281"/>
                  <a:pt x="416" y="281"/>
                  <a:pt x="420" y="282"/>
                </a:cubicBezTo>
                <a:cubicBezTo>
                  <a:pt x="423" y="283"/>
                  <a:pt x="427" y="284"/>
                  <a:pt x="430" y="285"/>
                </a:cubicBezTo>
                <a:cubicBezTo>
                  <a:pt x="433" y="286"/>
                  <a:pt x="435" y="287"/>
                  <a:pt x="437" y="289"/>
                </a:cubicBezTo>
                <a:cubicBezTo>
                  <a:pt x="438" y="290"/>
                  <a:pt x="439" y="292"/>
                  <a:pt x="439" y="294"/>
                </a:cubicBezTo>
                <a:cubicBezTo>
                  <a:pt x="439" y="294"/>
                  <a:pt x="439" y="294"/>
                  <a:pt x="439" y="345"/>
                </a:cubicBezTo>
                <a:cubicBezTo>
                  <a:pt x="439" y="346"/>
                  <a:pt x="439" y="346"/>
                  <a:pt x="439" y="347"/>
                </a:cubicBezTo>
                <a:cubicBezTo>
                  <a:pt x="438" y="348"/>
                  <a:pt x="438" y="349"/>
                  <a:pt x="437" y="350"/>
                </a:cubicBezTo>
                <a:cubicBezTo>
                  <a:pt x="435" y="351"/>
                  <a:pt x="433" y="353"/>
                  <a:pt x="430" y="354"/>
                </a:cubicBezTo>
                <a:cubicBezTo>
                  <a:pt x="424" y="356"/>
                  <a:pt x="416" y="357"/>
                  <a:pt x="407" y="357"/>
                </a:cubicBezTo>
                <a:cubicBezTo>
                  <a:pt x="407" y="357"/>
                  <a:pt x="407" y="357"/>
                  <a:pt x="407" y="357"/>
                </a:cubicBezTo>
                <a:cubicBezTo>
                  <a:pt x="407" y="357"/>
                  <a:pt x="407" y="357"/>
                  <a:pt x="407" y="357"/>
                </a:cubicBezTo>
                <a:close/>
                <a:moveTo>
                  <a:pt x="407" y="300"/>
                </a:moveTo>
                <a:cubicBezTo>
                  <a:pt x="422" y="300"/>
                  <a:pt x="434" y="297"/>
                  <a:pt x="434" y="293"/>
                </a:cubicBezTo>
                <a:cubicBezTo>
                  <a:pt x="434" y="288"/>
                  <a:pt x="422" y="285"/>
                  <a:pt x="407" y="285"/>
                </a:cubicBezTo>
                <a:cubicBezTo>
                  <a:pt x="392" y="285"/>
                  <a:pt x="381" y="288"/>
                  <a:pt x="381" y="293"/>
                </a:cubicBezTo>
                <a:cubicBezTo>
                  <a:pt x="381" y="297"/>
                  <a:pt x="392" y="300"/>
                  <a:pt x="407" y="300"/>
                </a:cubicBezTo>
                <a:close/>
                <a:moveTo>
                  <a:pt x="335" y="430"/>
                </a:moveTo>
                <a:cubicBezTo>
                  <a:pt x="335" y="430"/>
                  <a:pt x="334" y="429"/>
                  <a:pt x="334" y="428"/>
                </a:cubicBezTo>
                <a:cubicBezTo>
                  <a:pt x="334" y="428"/>
                  <a:pt x="334" y="428"/>
                  <a:pt x="334" y="377"/>
                </a:cubicBezTo>
                <a:cubicBezTo>
                  <a:pt x="334" y="375"/>
                  <a:pt x="335" y="373"/>
                  <a:pt x="337" y="372"/>
                </a:cubicBezTo>
                <a:cubicBezTo>
                  <a:pt x="339" y="370"/>
                  <a:pt x="341" y="369"/>
                  <a:pt x="344" y="368"/>
                </a:cubicBezTo>
                <a:cubicBezTo>
                  <a:pt x="347" y="367"/>
                  <a:pt x="350" y="366"/>
                  <a:pt x="354" y="365"/>
                </a:cubicBezTo>
                <a:cubicBezTo>
                  <a:pt x="358" y="365"/>
                  <a:pt x="362" y="364"/>
                  <a:pt x="367" y="364"/>
                </a:cubicBezTo>
                <a:cubicBezTo>
                  <a:pt x="367" y="364"/>
                  <a:pt x="367" y="364"/>
                  <a:pt x="367" y="364"/>
                </a:cubicBezTo>
                <a:cubicBezTo>
                  <a:pt x="367" y="364"/>
                  <a:pt x="367" y="364"/>
                  <a:pt x="367" y="364"/>
                </a:cubicBezTo>
                <a:cubicBezTo>
                  <a:pt x="371" y="364"/>
                  <a:pt x="375" y="365"/>
                  <a:pt x="379" y="365"/>
                </a:cubicBezTo>
                <a:cubicBezTo>
                  <a:pt x="383" y="366"/>
                  <a:pt x="386" y="367"/>
                  <a:pt x="389" y="368"/>
                </a:cubicBezTo>
                <a:cubicBezTo>
                  <a:pt x="392" y="369"/>
                  <a:pt x="395" y="370"/>
                  <a:pt x="396" y="372"/>
                </a:cubicBezTo>
                <a:cubicBezTo>
                  <a:pt x="398" y="373"/>
                  <a:pt x="399" y="375"/>
                  <a:pt x="399" y="377"/>
                </a:cubicBezTo>
                <a:cubicBezTo>
                  <a:pt x="399" y="377"/>
                  <a:pt x="399" y="377"/>
                  <a:pt x="399" y="428"/>
                </a:cubicBezTo>
                <a:cubicBezTo>
                  <a:pt x="399" y="429"/>
                  <a:pt x="399" y="430"/>
                  <a:pt x="398" y="430"/>
                </a:cubicBezTo>
                <a:cubicBezTo>
                  <a:pt x="398" y="431"/>
                  <a:pt x="397" y="432"/>
                  <a:pt x="396" y="433"/>
                </a:cubicBezTo>
                <a:cubicBezTo>
                  <a:pt x="395" y="434"/>
                  <a:pt x="392" y="436"/>
                  <a:pt x="389" y="437"/>
                </a:cubicBezTo>
                <a:cubicBezTo>
                  <a:pt x="384" y="439"/>
                  <a:pt x="376" y="441"/>
                  <a:pt x="367" y="441"/>
                </a:cubicBezTo>
                <a:cubicBezTo>
                  <a:pt x="367" y="441"/>
                  <a:pt x="367" y="441"/>
                  <a:pt x="367" y="441"/>
                </a:cubicBezTo>
                <a:cubicBezTo>
                  <a:pt x="367" y="441"/>
                  <a:pt x="367" y="441"/>
                  <a:pt x="367" y="441"/>
                </a:cubicBezTo>
                <a:cubicBezTo>
                  <a:pt x="358" y="441"/>
                  <a:pt x="350" y="439"/>
                  <a:pt x="344" y="437"/>
                </a:cubicBezTo>
                <a:cubicBezTo>
                  <a:pt x="341" y="436"/>
                  <a:pt x="339" y="434"/>
                  <a:pt x="337" y="433"/>
                </a:cubicBezTo>
                <a:cubicBezTo>
                  <a:pt x="336" y="432"/>
                  <a:pt x="335" y="431"/>
                  <a:pt x="335" y="430"/>
                </a:cubicBezTo>
                <a:close/>
                <a:moveTo>
                  <a:pt x="340" y="376"/>
                </a:moveTo>
                <a:cubicBezTo>
                  <a:pt x="340" y="380"/>
                  <a:pt x="352" y="383"/>
                  <a:pt x="367" y="383"/>
                </a:cubicBezTo>
                <a:cubicBezTo>
                  <a:pt x="381" y="383"/>
                  <a:pt x="393" y="380"/>
                  <a:pt x="393" y="376"/>
                </a:cubicBezTo>
                <a:cubicBezTo>
                  <a:pt x="393" y="371"/>
                  <a:pt x="381" y="368"/>
                  <a:pt x="367" y="368"/>
                </a:cubicBezTo>
                <a:cubicBezTo>
                  <a:pt x="352" y="368"/>
                  <a:pt x="340" y="371"/>
                  <a:pt x="340" y="376"/>
                </a:cubicBezTo>
                <a:close/>
                <a:moveTo>
                  <a:pt x="248" y="357"/>
                </a:moveTo>
                <a:cubicBezTo>
                  <a:pt x="239" y="357"/>
                  <a:pt x="231" y="356"/>
                  <a:pt x="225" y="354"/>
                </a:cubicBezTo>
                <a:cubicBezTo>
                  <a:pt x="223" y="353"/>
                  <a:pt x="220" y="351"/>
                  <a:pt x="219" y="350"/>
                </a:cubicBezTo>
                <a:cubicBezTo>
                  <a:pt x="218" y="349"/>
                  <a:pt x="217" y="348"/>
                  <a:pt x="217" y="347"/>
                </a:cubicBezTo>
                <a:cubicBezTo>
                  <a:pt x="216" y="346"/>
                  <a:pt x="216" y="346"/>
                  <a:pt x="216" y="345"/>
                </a:cubicBezTo>
                <a:cubicBezTo>
                  <a:pt x="216" y="345"/>
                  <a:pt x="216" y="345"/>
                  <a:pt x="216" y="294"/>
                </a:cubicBezTo>
                <a:cubicBezTo>
                  <a:pt x="216" y="292"/>
                  <a:pt x="217" y="290"/>
                  <a:pt x="219" y="289"/>
                </a:cubicBezTo>
                <a:cubicBezTo>
                  <a:pt x="220" y="287"/>
                  <a:pt x="223" y="286"/>
                  <a:pt x="225" y="285"/>
                </a:cubicBezTo>
                <a:cubicBezTo>
                  <a:pt x="228" y="284"/>
                  <a:pt x="232" y="283"/>
                  <a:pt x="236" y="282"/>
                </a:cubicBezTo>
                <a:cubicBezTo>
                  <a:pt x="240" y="281"/>
                  <a:pt x="244" y="281"/>
                  <a:pt x="248" y="281"/>
                </a:cubicBezTo>
                <a:cubicBezTo>
                  <a:pt x="248" y="281"/>
                  <a:pt x="248" y="281"/>
                  <a:pt x="248" y="281"/>
                </a:cubicBezTo>
                <a:cubicBezTo>
                  <a:pt x="248" y="281"/>
                  <a:pt x="248" y="281"/>
                  <a:pt x="248" y="281"/>
                </a:cubicBezTo>
                <a:cubicBezTo>
                  <a:pt x="253" y="281"/>
                  <a:pt x="257" y="281"/>
                  <a:pt x="261" y="282"/>
                </a:cubicBezTo>
                <a:cubicBezTo>
                  <a:pt x="265" y="283"/>
                  <a:pt x="268" y="284"/>
                  <a:pt x="271" y="285"/>
                </a:cubicBezTo>
                <a:cubicBezTo>
                  <a:pt x="274" y="286"/>
                  <a:pt x="276" y="287"/>
                  <a:pt x="278" y="289"/>
                </a:cubicBezTo>
                <a:cubicBezTo>
                  <a:pt x="280" y="290"/>
                  <a:pt x="280" y="292"/>
                  <a:pt x="280" y="294"/>
                </a:cubicBezTo>
                <a:cubicBezTo>
                  <a:pt x="280" y="294"/>
                  <a:pt x="280" y="294"/>
                  <a:pt x="280" y="345"/>
                </a:cubicBezTo>
                <a:cubicBezTo>
                  <a:pt x="280" y="346"/>
                  <a:pt x="280" y="346"/>
                  <a:pt x="280" y="347"/>
                </a:cubicBezTo>
                <a:cubicBezTo>
                  <a:pt x="279" y="348"/>
                  <a:pt x="279" y="349"/>
                  <a:pt x="278" y="350"/>
                </a:cubicBezTo>
                <a:cubicBezTo>
                  <a:pt x="276" y="351"/>
                  <a:pt x="274" y="353"/>
                  <a:pt x="271" y="354"/>
                </a:cubicBezTo>
                <a:cubicBezTo>
                  <a:pt x="265" y="356"/>
                  <a:pt x="257" y="357"/>
                  <a:pt x="248" y="357"/>
                </a:cubicBezTo>
                <a:cubicBezTo>
                  <a:pt x="248" y="357"/>
                  <a:pt x="248" y="357"/>
                  <a:pt x="248" y="357"/>
                </a:cubicBezTo>
                <a:cubicBezTo>
                  <a:pt x="248" y="357"/>
                  <a:pt x="248" y="357"/>
                  <a:pt x="248" y="357"/>
                </a:cubicBezTo>
                <a:close/>
                <a:moveTo>
                  <a:pt x="248" y="300"/>
                </a:moveTo>
                <a:cubicBezTo>
                  <a:pt x="263" y="300"/>
                  <a:pt x="275" y="297"/>
                  <a:pt x="275" y="293"/>
                </a:cubicBezTo>
                <a:cubicBezTo>
                  <a:pt x="275" y="288"/>
                  <a:pt x="263" y="285"/>
                  <a:pt x="248" y="285"/>
                </a:cubicBezTo>
                <a:cubicBezTo>
                  <a:pt x="234" y="285"/>
                  <a:pt x="222" y="288"/>
                  <a:pt x="222" y="293"/>
                </a:cubicBezTo>
                <a:cubicBezTo>
                  <a:pt x="222" y="297"/>
                  <a:pt x="234" y="300"/>
                  <a:pt x="248" y="300"/>
                </a:cubicBezTo>
                <a:close/>
                <a:moveTo>
                  <a:pt x="198" y="516"/>
                </a:moveTo>
                <a:cubicBezTo>
                  <a:pt x="197" y="517"/>
                  <a:pt x="194" y="519"/>
                  <a:pt x="192" y="520"/>
                </a:cubicBezTo>
                <a:cubicBezTo>
                  <a:pt x="188" y="521"/>
                  <a:pt x="184" y="522"/>
                  <a:pt x="180" y="523"/>
                </a:cubicBezTo>
                <a:cubicBezTo>
                  <a:pt x="165" y="512"/>
                  <a:pt x="150" y="501"/>
                  <a:pt x="137" y="489"/>
                </a:cubicBezTo>
                <a:cubicBezTo>
                  <a:pt x="137" y="482"/>
                  <a:pt x="137" y="473"/>
                  <a:pt x="137" y="460"/>
                </a:cubicBezTo>
                <a:cubicBezTo>
                  <a:pt x="137" y="458"/>
                  <a:pt x="137" y="457"/>
                  <a:pt x="139" y="455"/>
                </a:cubicBezTo>
                <a:cubicBezTo>
                  <a:pt x="141" y="454"/>
                  <a:pt x="143" y="452"/>
                  <a:pt x="146" y="451"/>
                </a:cubicBezTo>
                <a:cubicBezTo>
                  <a:pt x="149" y="450"/>
                  <a:pt x="152" y="449"/>
                  <a:pt x="156" y="448"/>
                </a:cubicBezTo>
                <a:cubicBezTo>
                  <a:pt x="160" y="448"/>
                  <a:pt x="164" y="447"/>
                  <a:pt x="169" y="447"/>
                </a:cubicBezTo>
                <a:cubicBezTo>
                  <a:pt x="169" y="447"/>
                  <a:pt x="169" y="447"/>
                  <a:pt x="169" y="447"/>
                </a:cubicBezTo>
                <a:cubicBezTo>
                  <a:pt x="169" y="447"/>
                  <a:pt x="169" y="447"/>
                  <a:pt x="169" y="447"/>
                </a:cubicBezTo>
                <a:cubicBezTo>
                  <a:pt x="173" y="447"/>
                  <a:pt x="177" y="448"/>
                  <a:pt x="181" y="448"/>
                </a:cubicBezTo>
                <a:cubicBezTo>
                  <a:pt x="185" y="449"/>
                  <a:pt x="189" y="450"/>
                  <a:pt x="192" y="451"/>
                </a:cubicBezTo>
                <a:cubicBezTo>
                  <a:pt x="194" y="452"/>
                  <a:pt x="197" y="454"/>
                  <a:pt x="198" y="455"/>
                </a:cubicBezTo>
                <a:cubicBezTo>
                  <a:pt x="200" y="457"/>
                  <a:pt x="201" y="458"/>
                  <a:pt x="201" y="460"/>
                </a:cubicBezTo>
                <a:cubicBezTo>
                  <a:pt x="201" y="460"/>
                  <a:pt x="201" y="460"/>
                  <a:pt x="201" y="511"/>
                </a:cubicBezTo>
                <a:cubicBezTo>
                  <a:pt x="201" y="512"/>
                  <a:pt x="201" y="513"/>
                  <a:pt x="200" y="514"/>
                </a:cubicBezTo>
                <a:cubicBezTo>
                  <a:pt x="200" y="514"/>
                  <a:pt x="199" y="515"/>
                  <a:pt x="198" y="516"/>
                </a:cubicBezTo>
                <a:close/>
                <a:moveTo>
                  <a:pt x="195" y="459"/>
                </a:moveTo>
                <a:cubicBezTo>
                  <a:pt x="195" y="455"/>
                  <a:pt x="183" y="451"/>
                  <a:pt x="169" y="451"/>
                </a:cubicBezTo>
                <a:cubicBezTo>
                  <a:pt x="154" y="451"/>
                  <a:pt x="142" y="455"/>
                  <a:pt x="142" y="459"/>
                </a:cubicBezTo>
                <a:cubicBezTo>
                  <a:pt x="142" y="463"/>
                  <a:pt x="154" y="466"/>
                  <a:pt x="169" y="466"/>
                </a:cubicBezTo>
                <a:cubicBezTo>
                  <a:pt x="183" y="466"/>
                  <a:pt x="195" y="463"/>
                  <a:pt x="195" y="459"/>
                </a:cubicBezTo>
                <a:close/>
                <a:moveTo>
                  <a:pt x="208" y="274"/>
                </a:moveTo>
                <a:cubicBezTo>
                  <a:pt x="208" y="274"/>
                  <a:pt x="208" y="274"/>
                  <a:pt x="208" y="274"/>
                </a:cubicBezTo>
                <a:cubicBezTo>
                  <a:pt x="217" y="274"/>
                  <a:pt x="225" y="273"/>
                  <a:pt x="231" y="271"/>
                </a:cubicBezTo>
                <a:cubicBezTo>
                  <a:pt x="233" y="269"/>
                  <a:pt x="236" y="268"/>
                  <a:pt x="237" y="267"/>
                </a:cubicBezTo>
                <a:cubicBezTo>
                  <a:pt x="238" y="266"/>
                  <a:pt x="239" y="265"/>
                  <a:pt x="239" y="264"/>
                </a:cubicBezTo>
                <a:cubicBezTo>
                  <a:pt x="240" y="263"/>
                  <a:pt x="240" y="262"/>
                  <a:pt x="240" y="262"/>
                </a:cubicBezTo>
                <a:cubicBezTo>
                  <a:pt x="240" y="211"/>
                  <a:pt x="240" y="211"/>
                  <a:pt x="240" y="211"/>
                </a:cubicBezTo>
                <a:cubicBezTo>
                  <a:pt x="240" y="209"/>
                  <a:pt x="239" y="207"/>
                  <a:pt x="237" y="206"/>
                </a:cubicBezTo>
                <a:cubicBezTo>
                  <a:pt x="236" y="204"/>
                  <a:pt x="233" y="203"/>
                  <a:pt x="231" y="202"/>
                </a:cubicBezTo>
                <a:cubicBezTo>
                  <a:pt x="228" y="201"/>
                  <a:pt x="225" y="200"/>
                  <a:pt x="221" y="199"/>
                </a:cubicBezTo>
                <a:cubicBezTo>
                  <a:pt x="216" y="202"/>
                  <a:pt x="216" y="202"/>
                  <a:pt x="216" y="202"/>
                </a:cubicBezTo>
                <a:cubicBezTo>
                  <a:pt x="227" y="203"/>
                  <a:pt x="234" y="206"/>
                  <a:pt x="234" y="209"/>
                </a:cubicBezTo>
                <a:cubicBezTo>
                  <a:pt x="234" y="214"/>
                  <a:pt x="222" y="217"/>
                  <a:pt x="208" y="217"/>
                </a:cubicBezTo>
                <a:cubicBezTo>
                  <a:pt x="202" y="217"/>
                  <a:pt x="197" y="217"/>
                  <a:pt x="193" y="216"/>
                </a:cubicBezTo>
                <a:cubicBezTo>
                  <a:pt x="176" y="226"/>
                  <a:pt x="176" y="226"/>
                  <a:pt x="176" y="226"/>
                </a:cubicBezTo>
                <a:cubicBezTo>
                  <a:pt x="176" y="262"/>
                  <a:pt x="176" y="262"/>
                  <a:pt x="176" y="262"/>
                </a:cubicBezTo>
                <a:cubicBezTo>
                  <a:pt x="176" y="262"/>
                  <a:pt x="176" y="263"/>
                  <a:pt x="176" y="264"/>
                </a:cubicBezTo>
                <a:cubicBezTo>
                  <a:pt x="177" y="265"/>
                  <a:pt x="177" y="266"/>
                  <a:pt x="178" y="267"/>
                </a:cubicBezTo>
                <a:cubicBezTo>
                  <a:pt x="180" y="268"/>
                  <a:pt x="182" y="269"/>
                  <a:pt x="185" y="271"/>
                </a:cubicBezTo>
                <a:cubicBezTo>
                  <a:pt x="191" y="273"/>
                  <a:pt x="199" y="274"/>
                  <a:pt x="208" y="274"/>
                </a:cubicBezTo>
                <a:cubicBezTo>
                  <a:pt x="208" y="274"/>
                  <a:pt x="208" y="274"/>
                  <a:pt x="208" y="274"/>
                </a:cubicBezTo>
                <a:close/>
                <a:moveTo>
                  <a:pt x="169" y="357"/>
                </a:moveTo>
                <a:cubicBezTo>
                  <a:pt x="160" y="357"/>
                  <a:pt x="152" y="356"/>
                  <a:pt x="146" y="354"/>
                </a:cubicBezTo>
                <a:cubicBezTo>
                  <a:pt x="143" y="353"/>
                  <a:pt x="141" y="351"/>
                  <a:pt x="139" y="350"/>
                </a:cubicBezTo>
                <a:cubicBezTo>
                  <a:pt x="138" y="349"/>
                  <a:pt x="138" y="348"/>
                  <a:pt x="137" y="347"/>
                </a:cubicBezTo>
                <a:cubicBezTo>
                  <a:pt x="137" y="346"/>
                  <a:pt x="137" y="346"/>
                  <a:pt x="137" y="345"/>
                </a:cubicBezTo>
                <a:cubicBezTo>
                  <a:pt x="137" y="345"/>
                  <a:pt x="137" y="345"/>
                  <a:pt x="137" y="294"/>
                </a:cubicBezTo>
                <a:cubicBezTo>
                  <a:pt x="137" y="292"/>
                  <a:pt x="137" y="290"/>
                  <a:pt x="139" y="289"/>
                </a:cubicBezTo>
                <a:cubicBezTo>
                  <a:pt x="141" y="287"/>
                  <a:pt x="143" y="286"/>
                  <a:pt x="146" y="285"/>
                </a:cubicBezTo>
                <a:cubicBezTo>
                  <a:pt x="149" y="284"/>
                  <a:pt x="152" y="283"/>
                  <a:pt x="156" y="282"/>
                </a:cubicBezTo>
                <a:cubicBezTo>
                  <a:pt x="160" y="281"/>
                  <a:pt x="164" y="281"/>
                  <a:pt x="169" y="281"/>
                </a:cubicBezTo>
                <a:cubicBezTo>
                  <a:pt x="169" y="281"/>
                  <a:pt x="169" y="281"/>
                  <a:pt x="169" y="281"/>
                </a:cubicBezTo>
                <a:cubicBezTo>
                  <a:pt x="169" y="281"/>
                  <a:pt x="169" y="281"/>
                  <a:pt x="169" y="281"/>
                </a:cubicBezTo>
                <a:cubicBezTo>
                  <a:pt x="173" y="281"/>
                  <a:pt x="177" y="281"/>
                  <a:pt x="181" y="282"/>
                </a:cubicBezTo>
                <a:cubicBezTo>
                  <a:pt x="185" y="283"/>
                  <a:pt x="189" y="284"/>
                  <a:pt x="192" y="285"/>
                </a:cubicBezTo>
                <a:cubicBezTo>
                  <a:pt x="194" y="286"/>
                  <a:pt x="197" y="287"/>
                  <a:pt x="198" y="289"/>
                </a:cubicBezTo>
                <a:cubicBezTo>
                  <a:pt x="200" y="290"/>
                  <a:pt x="201" y="292"/>
                  <a:pt x="201" y="294"/>
                </a:cubicBezTo>
                <a:cubicBezTo>
                  <a:pt x="201" y="294"/>
                  <a:pt x="201" y="294"/>
                  <a:pt x="201" y="345"/>
                </a:cubicBezTo>
                <a:cubicBezTo>
                  <a:pt x="201" y="346"/>
                  <a:pt x="201" y="346"/>
                  <a:pt x="200" y="347"/>
                </a:cubicBezTo>
                <a:cubicBezTo>
                  <a:pt x="200" y="348"/>
                  <a:pt x="199" y="349"/>
                  <a:pt x="198" y="350"/>
                </a:cubicBezTo>
                <a:cubicBezTo>
                  <a:pt x="197" y="351"/>
                  <a:pt x="194" y="353"/>
                  <a:pt x="192" y="354"/>
                </a:cubicBezTo>
                <a:cubicBezTo>
                  <a:pt x="186" y="356"/>
                  <a:pt x="178" y="357"/>
                  <a:pt x="169" y="357"/>
                </a:cubicBezTo>
                <a:cubicBezTo>
                  <a:pt x="169" y="357"/>
                  <a:pt x="169" y="357"/>
                  <a:pt x="169" y="357"/>
                </a:cubicBezTo>
                <a:cubicBezTo>
                  <a:pt x="169" y="357"/>
                  <a:pt x="169" y="357"/>
                  <a:pt x="169" y="357"/>
                </a:cubicBezTo>
                <a:close/>
                <a:moveTo>
                  <a:pt x="169" y="300"/>
                </a:moveTo>
                <a:cubicBezTo>
                  <a:pt x="183" y="300"/>
                  <a:pt x="195" y="297"/>
                  <a:pt x="195" y="293"/>
                </a:cubicBezTo>
                <a:cubicBezTo>
                  <a:pt x="195" y="288"/>
                  <a:pt x="183" y="285"/>
                  <a:pt x="169" y="285"/>
                </a:cubicBezTo>
                <a:cubicBezTo>
                  <a:pt x="154" y="285"/>
                  <a:pt x="142" y="288"/>
                  <a:pt x="142" y="293"/>
                </a:cubicBezTo>
                <a:cubicBezTo>
                  <a:pt x="142" y="297"/>
                  <a:pt x="154" y="300"/>
                  <a:pt x="169" y="300"/>
                </a:cubicBezTo>
                <a:close/>
                <a:moveTo>
                  <a:pt x="414" y="430"/>
                </a:moveTo>
                <a:cubicBezTo>
                  <a:pt x="414" y="430"/>
                  <a:pt x="414" y="429"/>
                  <a:pt x="414" y="428"/>
                </a:cubicBezTo>
                <a:cubicBezTo>
                  <a:pt x="414" y="428"/>
                  <a:pt x="414" y="428"/>
                  <a:pt x="414" y="377"/>
                </a:cubicBezTo>
                <a:cubicBezTo>
                  <a:pt x="414" y="375"/>
                  <a:pt x="415" y="373"/>
                  <a:pt x="416" y="372"/>
                </a:cubicBezTo>
                <a:cubicBezTo>
                  <a:pt x="418" y="370"/>
                  <a:pt x="420" y="369"/>
                  <a:pt x="423" y="368"/>
                </a:cubicBezTo>
                <a:cubicBezTo>
                  <a:pt x="426" y="367"/>
                  <a:pt x="430" y="366"/>
                  <a:pt x="434" y="365"/>
                </a:cubicBezTo>
                <a:cubicBezTo>
                  <a:pt x="437" y="365"/>
                  <a:pt x="442" y="364"/>
                  <a:pt x="446" y="364"/>
                </a:cubicBezTo>
                <a:cubicBezTo>
                  <a:pt x="446" y="364"/>
                  <a:pt x="446" y="364"/>
                  <a:pt x="446" y="364"/>
                </a:cubicBezTo>
                <a:cubicBezTo>
                  <a:pt x="446" y="364"/>
                  <a:pt x="446" y="364"/>
                  <a:pt x="446" y="364"/>
                </a:cubicBezTo>
                <a:cubicBezTo>
                  <a:pt x="451" y="364"/>
                  <a:pt x="455" y="365"/>
                  <a:pt x="459" y="365"/>
                </a:cubicBezTo>
                <a:cubicBezTo>
                  <a:pt x="462" y="366"/>
                  <a:pt x="466" y="367"/>
                  <a:pt x="469" y="368"/>
                </a:cubicBezTo>
                <a:cubicBezTo>
                  <a:pt x="472" y="369"/>
                  <a:pt x="474" y="370"/>
                  <a:pt x="476" y="372"/>
                </a:cubicBezTo>
                <a:cubicBezTo>
                  <a:pt x="477" y="373"/>
                  <a:pt x="478" y="375"/>
                  <a:pt x="478" y="377"/>
                </a:cubicBezTo>
                <a:cubicBezTo>
                  <a:pt x="478" y="377"/>
                  <a:pt x="478" y="377"/>
                  <a:pt x="478" y="428"/>
                </a:cubicBezTo>
                <a:cubicBezTo>
                  <a:pt x="478" y="429"/>
                  <a:pt x="478" y="430"/>
                  <a:pt x="478" y="430"/>
                </a:cubicBezTo>
                <a:cubicBezTo>
                  <a:pt x="477" y="431"/>
                  <a:pt x="477" y="432"/>
                  <a:pt x="476" y="433"/>
                </a:cubicBezTo>
                <a:cubicBezTo>
                  <a:pt x="474" y="434"/>
                  <a:pt x="472" y="436"/>
                  <a:pt x="469" y="437"/>
                </a:cubicBezTo>
                <a:cubicBezTo>
                  <a:pt x="463" y="439"/>
                  <a:pt x="455" y="441"/>
                  <a:pt x="446" y="441"/>
                </a:cubicBezTo>
                <a:cubicBezTo>
                  <a:pt x="446" y="441"/>
                  <a:pt x="446" y="441"/>
                  <a:pt x="446" y="441"/>
                </a:cubicBezTo>
                <a:cubicBezTo>
                  <a:pt x="446" y="441"/>
                  <a:pt x="446" y="441"/>
                  <a:pt x="446" y="441"/>
                </a:cubicBezTo>
                <a:cubicBezTo>
                  <a:pt x="437" y="441"/>
                  <a:pt x="429" y="439"/>
                  <a:pt x="423" y="437"/>
                </a:cubicBezTo>
                <a:cubicBezTo>
                  <a:pt x="420" y="436"/>
                  <a:pt x="418" y="434"/>
                  <a:pt x="416" y="433"/>
                </a:cubicBezTo>
                <a:cubicBezTo>
                  <a:pt x="416" y="432"/>
                  <a:pt x="415" y="431"/>
                  <a:pt x="414" y="430"/>
                </a:cubicBezTo>
                <a:close/>
                <a:moveTo>
                  <a:pt x="419" y="376"/>
                </a:moveTo>
                <a:cubicBezTo>
                  <a:pt x="419" y="380"/>
                  <a:pt x="431" y="383"/>
                  <a:pt x="446" y="383"/>
                </a:cubicBezTo>
                <a:cubicBezTo>
                  <a:pt x="461" y="383"/>
                  <a:pt x="473" y="380"/>
                  <a:pt x="473" y="376"/>
                </a:cubicBezTo>
                <a:cubicBezTo>
                  <a:pt x="473" y="371"/>
                  <a:pt x="461" y="368"/>
                  <a:pt x="446" y="368"/>
                </a:cubicBezTo>
                <a:cubicBezTo>
                  <a:pt x="431" y="368"/>
                  <a:pt x="419" y="371"/>
                  <a:pt x="419" y="376"/>
                </a:cubicBezTo>
                <a:close/>
                <a:moveTo>
                  <a:pt x="248" y="191"/>
                </a:moveTo>
                <a:cubicBezTo>
                  <a:pt x="248" y="191"/>
                  <a:pt x="248" y="191"/>
                  <a:pt x="248" y="191"/>
                </a:cubicBezTo>
                <a:cubicBezTo>
                  <a:pt x="257" y="191"/>
                  <a:pt x="265" y="190"/>
                  <a:pt x="271" y="188"/>
                </a:cubicBezTo>
                <a:cubicBezTo>
                  <a:pt x="274" y="186"/>
                  <a:pt x="276" y="185"/>
                  <a:pt x="278" y="183"/>
                </a:cubicBezTo>
                <a:cubicBezTo>
                  <a:pt x="279" y="183"/>
                  <a:pt x="279" y="182"/>
                  <a:pt x="280" y="181"/>
                </a:cubicBezTo>
                <a:cubicBezTo>
                  <a:pt x="280" y="180"/>
                  <a:pt x="280" y="179"/>
                  <a:pt x="280" y="179"/>
                </a:cubicBezTo>
                <a:cubicBezTo>
                  <a:pt x="280" y="174"/>
                  <a:pt x="280" y="169"/>
                  <a:pt x="280" y="165"/>
                </a:cubicBezTo>
                <a:cubicBezTo>
                  <a:pt x="237" y="190"/>
                  <a:pt x="237" y="190"/>
                  <a:pt x="237" y="190"/>
                </a:cubicBezTo>
                <a:cubicBezTo>
                  <a:pt x="240" y="191"/>
                  <a:pt x="244" y="191"/>
                  <a:pt x="248" y="191"/>
                </a:cubicBezTo>
                <a:cubicBezTo>
                  <a:pt x="248" y="191"/>
                  <a:pt x="248" y="191"/>
                  <a:pt x="248" y="191"/>
                </a:cubicBezTo>
                <a:close/>
                <a:moveTo>
                  <a:pt x="208" y="441"/>
                </a:moveTo>
                <a:cubicBezTo>
                  <a:pt x="199" y="441"/>
                  <a:pt x="191" y="439"/>
                  <a:pt x="185" y="437"/>
                </a:cubicBezTo>
                <a:cubicBezTo>
                  <a:pt x="182" y="436"/>
                  <a:pt x="180" y="434"/>
                  <a:pt x="178" y="433"/>
                </a:cubicBezTo>
                <a:cubicBezTo>
                  <a:pt x="177" y="432"/>
                  <a:pt x="177" y="431"/>
                  <a:pt x="176" y="430"/>
                </a:cubicBezTo>
                <a:cubicBezTo>
                  <a:pt x="176" y="430"/>
                  <a:pt x="176" y="429"/>
                  <a:pt x="176" y="428"/>
                </a:cubicBezTo>
                <a:cubicBezTo>
                  <a:pt x="176" y="428"/>
                  <a:pt x="176" y="428"/>
                  <a:pt x="176" y="377"/>
                </a:cubicBezTo>
                <a:cubicBezTo>
                  <a:pt x="176" y="375"/>
                  <a:pt x="176" y="373"/>
                  <a:pt x="178" y="372"/>
                </a:cubicBezTo>
                <a:cubicBezTo>
                  <a:pt x="180" y="370"/>
                  <a:pt x="182" y="369"/>
                  <a:pt x="185" y="368"/>
                </a:cubicBezTo>
                <a:cubicBezTo>
                  <a:pt x="188" y="367"/>
                  <a:pt x="191" y="366"/>
                  <a:pt x="195" y="365"/>
                </a:cubicBezTo>
                <a:cubicBezTo>
                  <a:pt x="199" y="365"/>
                  <a:pt x="203" y="364"/>
                  <a:pt x="208" y="364"/>
                </a:cubicBezTo>
                <a:cubicBezTo>
                  <a:pt x="208" y="364"/>
                  <a:pt x="208" y="364"/>
                  <a:pt x="208" y="364"/>
                </a:cubicBezTo>
                <a:cubicBezTo>
                  <a:pt x="208" y="364"/>
                  <a:pt x="208" y="364"/>
                  <a:pt x="208" y="364"/>
                </a:cubicBezTo>
                <a:cubicBezTo>
                  <a:pt x="212" y="364"/>
                  <a:pt x="216" y="365"/>
                  <a:pt x="220" y="365"/>
                </a:cubicBezTo>
                <a:cubicBezTo>
                  <a:pt x="224" y="366"/>
                  <a:pt x="228" y="367"/>
                  <a:pt x="231" y="368"/>
                </a:cubicBezTo>
                <a:cubicBezTo>
                  <a:pt x="233" y="369"/>
                  <a:pt x="236" y="370"/>
                  <a:pt x="237" y="372"/>
                </a:cubicBezTo>
                <a:cubicBezTo>
                  <a:pt x="239" y="373"/>
                  <a:pt x="240" y="375"/>
                  <a:pt x="240" y="377"/>
                </a:cubicBezTo>
                <a:cubicBezTo>
                  <a:pt x="240" y="377"/>
                  <a:pt x="240" y="377"/>
                  <a:pt x="240" y="428"/>
                </a:cubicBezTo>
                <a:cubicBezTo>
                  <a:pt x="240" y="429"/>
                  <a:pt x="240" y="430"/>
                  <a:pt x="239" y="430"/>
                </a:cubicBezTo>
                <a:cubicBezTo>
                  <a:pt x="239" y="431"/>
                  <a:pt x="238" y="432"/>
                  <a:pt x="237" y="433"/>
                </a:cubicBezTo>
                <a:cubicBezTo>
                  <a:pt x="236" y="434"/>
                  <a:pt x="233" y="436"/>
                  <a:pt x="231" y="437"/>
                </a:cubicBezTo>
                <a:cubicBezTo>
                  <a:pt x="225" y="439"/>
                  <a:pt x="217" y="441"/>
                  <a:pt x="208" y="441"/>
                </a:cubicBezTo>
                <a:cubicBezTo>
                  <a:pt x="208" y="441"/>
                  <a:pt x="208" y="441"/>
                  <a:pt x="208" y="441"/>
                </a:cubicBezTo>
                <a:cubicBezTo>
                  <a:pt x="208" y="441"/>
                  <a:pt x="208" y="441"/>
                  <a:pt x="208" y="441"/>
                </a:cubicBezTo>
                <a:close/>
                <a:moveTo>
                  <a:pt x="208" y="383"/>
                </a:moveTo>
                <a:cubicBezTo>
                  <a:pt x="222" y="383"/>
                  <a:pt x="234" y="380"/>
                  <a:pt x="234" y="376"/>
                </a:cubicBezTo>
                <a:cubicBezTo>
                  <a:pt x="234" y="371"/>
                  <a:pt x="222" y="368"/>
                  <a:pt x="208" y="368"/>
                </a:cubicBezTo>
                <a:cubicBezTo>
                  <a:pt x="193" y="368"/>
                  <a:pt x="181" y="371"/>
                  <a:pt x="181" y="376"/>
                </a:cubicBezTo>
                <a:cubicBezTo>
                  <a:pt x="181" y="380"/>
                  <a:pt x="193" y="383"/>
                  <a:pt x="208" y="383"/>
                </a:cubicBezTo>
                <a:close/>
                <a:moveTo>
                  <a:pt x="566" y="524"/>
                </a:moveTo>
                <a:cubicBezTo>
                  <a:pt x="557" y="524"/>
                  <a:pt x="549" y="522"/>
                  <a:pt x="543" y="520"/>
                </a:cubicBezTo>
                <a:cubicBezTo>
                  <a:pt x="540" y="519"/>
                  <a:pt x="538" y="517"/>
                  <a:pt x="536" y="516"/>
                </a:cubicBezTo>
                <a:cubicBezTo>
                  <a:pt x="535" y="515"/>
                  <a:pt x="535" y="514"/>
                  <a:pt x="534" y="514"/>
                </a:cubicBezTo>
                <a:cubicBezTo>
                  <a:pt x="534" y="513"/>
                  <a:pt x="534" y="512"/>
                  <a:pt x="534" y="511"/>
                </a:cubicBezTo>
                <a:cubicBezTo>
                  <a:pt x="534" y="511"/>
                  <a:pt x="534" y="511"/>
                  <a:pt x="534" y="460"/>
                </a:cubicBezTo>
                <a:cubicBezTo>
                  <a:pt x="534" y="458"/>
                  <a:pt x="535" y="457"/>
                  <a:pt x="536" y="455"/>
                </a:cubicBezTo>
                <a:cubicBezTo>
                  <a:pt x="538" y="454"/>
                  <a:pt x="540" y="452"/>
                  <a:pt x="543" y="451"/>
                </a:cubicBezTo>
                <a:cubicBezTo>
                  <a:pt x="546" y="450"/>
                  <a:pt x="550" y="449"/>
                  <a:pt x="553" y="448"/>
                </a:cubicBezTo>
                <a:cubicBezTo>
                  <a:pt x="557" y="448"/>
                  <a:pt x="561" y="447"/>
                  <a:pt x="566" y="447"/>
                </a:cubicBezTo>
                <a:cubicBezTo>
                  <a:pt x="566" y="447"/>
                  <a:pt x="566" y="447"/>
                  <a:pt x="566" y="447"/>
                </a:cubicBezTo>
                <a:cubicBezTo>
                  <a:pt x="566" y="447"/>
                  <a:pt x="566" y="447"/>
                  <a:pt x="566" y="447"/>
                </a:cubicBezTo>
                <a:cubicBezTo>
                  <a:pt x="570" y="447"/>
                  <a:pt x="575" y="448"/>
                  <a:pt x="578" y="448"/>
                </a:cubicBezTo>
                <a:cubicBezTo>
                  <a:pt x="582" y="449"/>
                  <a:pt x="586" y="450"/>
                  <a:pt x="589" y="451"/>
                </a:cubicBezTo>
                <a:cubicBezTo>
                  <a:pt x="592" y="452"/>
                  <a:pt x="594" y="454"/>
                  <a:pt x="596" y="455"/>
                </a:cubicBezTo>
                <a:cubicBezTo>
                  <a:pt x="597" y="457"/>
                  <a:pt x="598" y="458"/>
                  <a:pt x="598" y="460"/>
                </a:cubicBezTo>
                <a:cubicBezTo>
                  <a:pt x="598" y="460"/>
                  <a:pt x="598" y="460"/>
                  <a:pt x="598" y="511"/>
                </a:cubicBezTo>
                <a:cubicBezTo>
                  <a:pt x="598" y="512"/>
                  <a:pt x="598" y="513"/>
                  <a:pt x="598" y="514"/>
                </a:cubicBezTo>
                <a:cubicBezTo>
                  <a:pt x="597" y="514"/>
                  <a:pt x="597" y="515"/>
                  <a:pt x="596" y="516"/>
                </a:cubicBezTo>
                <a:cubicBezTo>
                  <a:pt x="594" y="517"/>
                  <a:pt x="592" y="519"/>
                  <a:pt x="589" y="520"/>
                </a:cubicBezTo>
                <a:cubicBezTo>
                  <a:pt x="583" y="522"/>
                  <a:pt x="575" y="524"/>
                  <a:pt x="566" y="524"/>
                </a:cubicBezTo>
                <a:cubicBezTo>
                  <a:pt x="566" y="524"/>
                  <a:pt x="566" y="524"/>
                  <a:pt x="566" y="524"/>
                </a:cubicBezTo>
                <a:cubicBezTo>
                  <a:pt x="566" y="524"/>
                  <a:pt x="566" y="524"/>
                  <a:pt x="566" y="524"/>
                </a:cubicBezTo>
                <a:close/>
                <a:moveTo>
                  <a:pt x="566" y="466"/>
                </a:moveTo>
                <a:cubicBezTo>
                  <a:pt x="581" y="466"/>
                  <a:pt x="593" y="463"/>
                  <a:pt x="593" y="459"/>
                </a:cubicBezTo>
                <a:cubicBezTo>
                  <a:pt x="593" y="455"/>
                  <a:pt x="581" y="451"/>
                  <a:pt x="566" y="451"/>
                </a:cubicBezTo>
                <a:cubicBezTo>
                  <a:pt x="551" y="451"/>
                  <a:pt x="539" y="455"/>
                  <a:pt x="539" y="459"/>
                </a:cubicBezTo>
                <a:cubicBezTo>
                  <a:pt x="539" y="463"/>
                  <a:pt x="551" y="466"/>
                  <a:pt x="566" y="466"/>
                </a:cubicBezTo>
                <a:close/>
                <a:moveTo>
                  <a:pt x="407" y="524"/>
                </a:moveTo>
                <a:cubicBezTo>
                  <a:pt x="398" y="524"/>
                  <a:pt x="390" y="522"/>
                  <a:pt x="384" y="520"/>
                </a:cubicBezTo>
                <a:cubicBezTo>
                  <a:pt x="381" y="519"/>
                  <a:pt x="379" y="517"/>
                  <a:pt x="377" y="516"/>
                </a:cubicBezTo>
                <a:cubicBezTo>
                  <a:pt x="377" y="515"/>
                  <a:pt x="376" y="514"/>
                  <a:pt x="376" y="514"/>
                </a:cubicBezTo>
                <a:cubicBezTo>
                  <a:pt x="375" y="513"/>
                  <a:pt x="375" y="512"/>
                  <a:pt x="375" y="511"/>
                </a:cubicBezTo>
                <a:cubicBezTo>
                  <a:pt x="375" y="511"/>
                  <a:pt x="375" y="511"/>
                  <a:pt x="375" y="460"/>
                </a:cubicBezTo>
                <a:cubicBezTo>
                  <a:pt x="375" y="458"/>
                  <a:pt x="376" y="457"/>
                  <a:pt x="377" y="455"/>
                </a:cubicBezTo>
                <a:cubicBezTo>
                  <a:pt x="379" y="454"/>
                  <a:pt x="381" y="452"/>
                  <a:pt x="384" y="451"/>
                </a:cubicBezTo>
                <a:cubicBezTo>
                  <a:pt x="387" y="450"/>
                  <a:pt x="391" y="449"/>
                  <a:pt x="395" y="448"/>
                </a:cubicBezTo>
                <a:cubicBezTo>
                  <a:pt x="398" y="448"/>
                  <a:pt x="403" y="447"/>
                  <a:pt x="407" y="447"/>
                </a:cubicBezTo>
                <a:cubicBezTo>
                  <a:pt x="407" y="447"/>
                  <a:pt x="407" y="447"/>
                  <a:pt x="407" y="447"/>
                </a:cubicBezTo>
                <a:cubicBezTo>
                  <a:pt x="407" y="447"/>
                  <a:pt x="407" y="447"/>
                  <a:pt x="407" y="447"/>
                </a:cubicBezTo>
                <a:cubicBezTo>
                  <a:pt x="412" y="447"/>
                  <a:pt x="416" y="448"/>
                  <a:pt x="420" y="448"/>
                </a:cubicBezTo>
                <a:cubicBezTo>
                  <a:pt x="423" y="449"/>
                  <a:pt x="427" y="450"/>
                  <a:pt x="430" y="451"/>
                </a:cubicBezTo>
                <a:cubicBezTo>
                  <a:pt x="433" y="452"/>
                  <a:pt x="435" y="454"/>
                  <a:pt x="437" y="455"/>
                </a:cubicBezTo>
                <a:cubicBezTo>
                  <a:pt x="438" y="457"/>
                  <a:pt x="439" y="458"/>
                  <a:pt x="439" y="460"/>
                </a:cubicBezTo>
                <a:cubicBezTo>
                  <a:pt x="439" y="460"/>
                  <a:pt x="439" y="460"/>
                  <a:pt x="439" y="511"/>
                </a:cubicBezTo>
                <a:cubicBezTo>
                  <a:pt x="439" y="512"/>
                  <a:pt x="439" y="513"/>
                  <a:pt x="439" y="514"/>
                </a:cubicBezTo>
                <a:cubicBezTo>
                  <a:pt x="438" y="514"/>
                  <a:pt x="438" y="515"/>
                  <a:pt x="437" y="516"/>
                </a:cubicBezTo>
                <a:cubicBezTo>
                  <a:pt x="435" y="517"/>
                  <a:pt x="433" y="519"/>
                  <a:pt x="430" y="520"/>
                </a:cubicBezTo>
                <a:cubicBezTo>
                  <a:pt x="424" y="522"/>
                  <a:pt x="416" y="524"/>
                  <a:pt x="407" y="524"/>
                </a:cubicBezTo>
                <a:cubicBezTo>
                  <a:pt x="407" y="524"/>
                  <a:pt x="407" y="524"/>
                  <a:pt x="407" y="524"/>
                </a:cubicBezTo>
                <a:cubicBezTo>
                  <a:pt x="407" y="524"/>
                  <a:pt x="407" y="524"/>
                  <a:pt x="407" y="524"/>
                </a:cubicBezTo>
                <a:close/>
                <a:moveTo>
                  <a:pt x="407" y="466"/>
                </a:moveTo>
                <a:cubicBezTo>
                  <a:pt x="422" y="466"/>
                  <a:pt x="434" y="463"/>
                  <a:pt x="434" y="459"/>
                </a:cubicBezTo>
                <a:cubicBezTo>
                  <a:pt x="434" y="455"/>
                  <a:pt x="422" y="451"/>
                  <a:pt x="407" y="451"/>
                </a:cubicBezTo>
                <a:cubicBezTo>
                  <a:pt x="392" y="451"/>
                  <a:pt x="381" y="455"/>
                  <a:pt x="381" y="459"/>
                </a:cubicBezTo>
                <a:cubicBezTo>
                  <a:pt x="381" y="463"/>
                  <a:pt x="392" y="466"/>
                  <a:pt x="407" y="466"/>
                </a:cubicBezTo>
                <a:close/>
                <a:moveTo>
                  <a:pt x="486" y="524"/>
                </a:moveTo>
                <a:cubicBezTo>
                  <a:pt x="478" y="524"/>
                  <a:pt x="470" y="522"/>
                  <a:pt x="464" y="520"/>
                </a:cubicBezTo>
                <a:cubicBezTo>
                  <a:pt x="461" y="519"/>
                  <a:pt x="458" y="517"/>
                  <a:pt x="457" y="516"/>
                </a:cubicBezTo>
                <a:cubicBezTo>
                  <a:pt x="456" y="515"/>
                  <a:pt x="455" y="514"/>
                  <a:pt x="455" y="514"/>
                </a:cubicBezTo>
                <a:cubicBezTo>
                  <a:pt x="455" y="513"/>
                  <a:pt x="454" y="512"/>
                  <a:pt x="454" y="511"/>
                </a:cubicBezTo>
                <a:cubicBezTo>
                  <a:pt x="454" y="511"/>
                  <a:pt x="454" y="511"/>
                  <a:pt x="454" y="460"/>
                </a:cubicBezTo>
                <a:cubicBezTo>
                  <a:pt x="454" y="458"/>
                  <a:pt x="455" y="457"/>
                  <a:pt x="457" y="455"/>
                </a:cubicBezTo>
                <a:cubicBezTo>
                  <a:pt x="458" y="454"/>
                  <a:pt x="461" y="452"/>
                  <a:pt x="464" y="451"/>
                </a:cubicBezTo>
                <a:cubicBezTo>
                  <a:pt x="467" y="450"/>
                  <a:pt x="470" y="449"/>
                  <a:pt x="474" y="448"/>
                </a:cubicBezTo>
                <a:cubicBezTo>
                  <a:pt x="478" y="448"/>
                  <a:pt x="482" y="447"/>
                  <a:pt x="486" y="447"/>
                </a:cubicBezTo>
                <a:cubicBezTo>
                  <a:pt x="486" y="447"/>
                  <a:pt x="487" y="447"/>
                  <a:pt x="487" y="447"/>
                </a:cubicBezTo>
                <a:cubicBezTo>
                  <a:pt x="487" y="447"/>
                  <a:pt x="487" y="447"/>
                  <a:pt x="487" y="447"/>
                </a:cubicBezTo>
                <a:cubicBezTo>
                  <a:pt x="491" y="447"/>
                  <a:pt x="495" y="448"/>
                  <a:pt x="499" y="448"/>
                </a:cubicBezTo>
                <a:cubicBezTo>
                  <a:pt x="503" y="449"/>
                  <a:pt x="506" y="450"/>
                  <a:pt x="509" y="451"/>
                </a:cubicBezTo>
                <a:cubicBezTo>
                  <a:pt x="512" y="452"/>
                  <a:pt x="515" y="454"/>
                  <a:pt x="516" y="455"/>
                </a:cubicBezTo>
                <a:cubicBezTo>
                  <a:pt x="518" y="457"/>
                  <a:pt x="519" y="458"/>
                  <a:pt x="519" y="460"/>
                </a:cubicBezTo>
                <a:cubicBezTo>
                  <a:pt x="519" y="460"/>
                  <a:pt x="519" y="460"/>
                  <a:pt x="519" y="511"/>
                </a:cubicBezTo>
                <a:cubicBezTo>
                  <a:pt x="519" y="512"/>
                  <a:pt x="519" y="513"/>
                  <a:pt x="518" y="514"/>
                </a:cubicBezTo>
                <a:cubicBezTo>
                  <a:pt x="518" y="514"/>
                  <a:pt x="517" y="515"/>
                  <a:pt x="516" y="516"/>
                </a:cubicBezTo>
                <a:cubicBezTo>
                  <a:pt x="515" y="517"/>
                  <a:pt x="512" y="519"/>
                  <a:pt x="509" y="520"/>
                </a:cubicBezTo>
                <a:cubicBezTo>
                  <a:pt x="503" y="522"/>
                  <a:pt x="495" y="524"/>
                  <a:pt x="487" y="524"/>
                </a:cubicBezTo>
                <a:cubicBezTo>
                  <a:pt x="487" y="524"/>
                  <a:pt x="487" y="524"/>
                  <a:pt x="487" y="524"/>
                </a:cubicBezTo>
                <a:cubicBezTo>
                  <a:pt x="487" y="524"/>
                  <a:pt x="486" y="524"/>
                  <a:pt x="486" y="524"/>
                </a:cubicBezTo>
                <a:close/>
                <a:moveTo>
                  <a:pt x="487" y="466"/>
                </a:moveTo>
                <a:cubicBezTo>
                  <a:pt x="501" y="466"/>
                  <a:pt x="513" y="463"/>
                  <a:pt x="513" y="459"/>
                </a:cubicBezTo>
                <a:cubicBezTo>
                  <a:pt x="513" y="455"/>
                  <a:pt x="501" y="451"/>
                  <a:pt x="487" y="451"/>
                </a:cubicBezTo>
                <a:cubicBezTo>
                  <a:pt x="472" y="451"/>
                  <a:pt x="460" y="455"/>
                  <a:pt x="460" y="459"/>
                </a:cubicBezTo>
                <a:cubicBezTo>
                  <a:pt x="460" y="463"/>
                  <a:pt x="472" y="466"/>
                  <a:pt x="487" y="466"/>
                </a:cubicBezTo>
                <a:close/>
                <a:moveTo>
                  <a:pt x="476" y="206"/>
                </a:moveTo>
                <a:cubicBezTo>
                  <a:pt x="477" y="207"/>
                  <a:pt x="478" y="209"/>
                  <a:pt x="478" y="211"/>
                </a:cubicBezTo>
                <a:cubicBezTo>
                  <a:pt x="478" y="211"/>
                  <a:pt x="478" y="211"/>
                  <a:pt x="478" y="262"/>
                </a:cubicBezTo>
                <a:cubicBezTo>
                  <a:pt x="478" y="262"/>
                  <a:pt x="478" y="263"/>
                  <a:pt x="478" y="264"/>
                </a:cubicBezTo>
                <a:cubicBezTo>
                  <a:pt x="477" y="265"/>
                  <a:pt x="477" y="266"/>
                  <a:pt x="476" y="267"/>
                </a:cubicBezTo>
                <a:cubicBezTo>
                  <a:pt x="474" y="268"/>
                  <a:pt x="472" y="269"/>
                  <a:pt x="469" y="271"/>
                </a:cubicBezTo>
                <a:cubicBezTo>
                  <a:pt x="463" y="273"/>
                  <a:pt x="455" y="274"/>
                  <a:pt x="446" y="274"/>
                </a:cubicBezTo>
                <a:cubicBezTo>
                  <a:pt x="446" y="274"/>
                  <a:pt x="446" y="274"/>
                  <a:pt x="446" y="274"/>
                </a:cubicBezTo>
                <a:cubicBezTo>
                  <a:pt x="446" y="274"/>
                  <a:pt x="446" y="274"/>
                  <a:pt x="446" y="274"/>
                </a:cubicBezTo>
                <a:cubicBezTo>
                  <a:pt x="437" y="274"/>
                  <a:pt x="429" y="273"/>
                  <a:pt x="423" y="271"/>
                </a:cubicBezTo>
                <a:cubicBezTo>
                  <a:pt x="420" y="269"/>
                  <a:pt x="418" y="268"/>
                  <a:pt x="416" y="267"/>
                </a:cubicBezTo>
                <a:cubicBezTo>
                  <a:pt x="416" y="266"/>
                  <a:pt x="415" y="265"/>
                  <a:pt x="414" y="264"/>
                </a:cubicBezTo>
                <a:cubicBezTo>
                  <a:pt x="414" y="263"/>
                  <a:pt x="414" y="262"/>
                  <a:pt x="414" y="262"/>
                </a:cubicBezTo>
                <a:cubicBezTo>
                  <a:pt x="414" y="262"/>
                  <a:pt x="414" y="262"/>
                  <a:pt x="414" y="211"/>
                </a:cubicBezTo>
                <a:cubicBezTo>
                  <a:pt x="414" y="209"/>
                  <a:pt x="415" y="207"/>
                  <a:pt x="416" y="206"/>
                </a:cubicBezTo>
                <a:cubicBezTo>
                  <a:pt x="418" y="204"/>
                  <a:pt x="420" y="203"/>
                  <a:pt x="423" y="202"/>
                </a:cubicBezTo>
                <a:cubicBezTo>
                  <a:pt x="426" y="201"/>
                  <a:pt x="430" y="200"/>
                  <a:pt x="434" y="199"/>
                </a:cubicBezTo>
                <a:cubicBezTo>
                  <a:pt x="437" y="198"/>
                  <a:pt x="442" y="198"/>
                  <a:pt x="446" y="198"/>
                </a:cubicBezTo>
                <a:cubicBezTo>
                  <a:pt x="446" y="198"/>
                  <a:pt x="446" y="198"/>
                  <a:pt x="446" y="198"/>
                </a:cubicBezTo>
                <a:cubicBezTo>
                  <a:pt x="446" y="198"/>
                  <a:pt x="446" y="198"/>
                  <a:pt x="446" y="198"/>
                </a:cubicBezTo>
                <a:cubicBezTo>
                  <a:pt x="451" y="198"/>
                  <a:pt x="455" y="198"/>
                  <a:pt x="459" y="199"/>
                </a:cubicBezTo>
                <a:cubicBezTo>
                  <a:pt x="462" y="200"/>
                  <a:pt x="466" y="201"/>
                  <a:pt x="469" y="202"/>
                </a:cubicBezTo>
                <a:cubicBezTo>
                  <a:pt x="472" y="203"/>
                  <a:pt x="474" y="204"/>
                  <a:pt x="476" y="206"/>
                </a:cubicBezTo>
                <a:close/>
                <a:moveTo>
                  <a:pt x="473" y="209"/>
                </a:moveTo>
                <a:cubicBezTo>
                  <a:pt x="473" y="205"/>
                  <a:pt x="461" y="202"/>
                  <a:pt x="446" y="202"/>
                </a:cubicBezTo>
                <a:cubicBezTo>
                  <a:pt x="431" y="202"/>
                  <a:pt x="419" y="205"/>
                  <a:pt x="419" y="209"/>
                </a:cubicBezTo>
                <a:cubicBezTo>
                  <a:pt x="419" y="214"/>
                  <a:pt x="431" y="217"/>
                  <a:pt x="446" y="217"/>
                </a:cubicBezTo>
                <a:cubicBezTo>
                  <a:pt x="461" y="217"/>
                  <a:pt x="473" y="214"/>
                  <a:pt x="473" y="209"/>
                </a:cubicBezTo>
                <a:close/>
                <a:moveTo>
                  <a:pt x="494" y="597"/>
                </a:moveTo>
                <a:cubicBezTo>
                  <a:pt x="493" y="596"/>
                  <a:pt x="493" y="595"/>
                  <a:pt x="493" y="594"/>
                </a:cubicBezTo>
                <a:cubicBezTo>
                  <a:pt x="493" y="594"/>
                  <a:pt x="493" y="594"/>
                  <a:pt x="493" y="543"/>
                </a:cubicBezTo>
                <a:cubicBezTo>
                  <a:pt x="493" y="541"/>
                  <a:pt x="494" y="540"/>
                  <a:pt x="496" y="538"/>
                </a:cubicBezTo>
                <a:cubicBezTo>
                  <a:pt x="497" y="537"/>
                  <a:pt x="500" y="535"/>
                  <a:pt x="503" y="534"/>
                </a:cubicBezTo>
                <a:cubicBezTo>
                  <a:pt x="506" y="533"/>
                  <a:pt x="509" y="532"/>
                  <a:pt x="513" y="531"/>
                </a:cubicBezTo>
                <a:cubicBezTo>
                  <a:pt x="517" y="531"/>
                  <a:pt x="521" y="530"/>
                  <a:pt x="525" y="530"/>
                </a:cubicBezTo>
                <a:cubicBezTo>
                  <a:pt x="525" y="530"/>
                  <a:pt x="525" y="530"/>
                  <a:pt x="525" y="530"/>
                </a:cubicBezTo>
                <a:cubicBezTo>
                  <a:pt x="526" y="530"/>
                  <a:pt x="526" y="530"/>
                  <a:pt x="526" y="530"/>
                </a:cubicBezTo>
                <a:cubicBezTo>
                  <a:pt x="530" y="530"/>
                  <a:pt x="534" y="531"/>
                  <a:pt x="538" y="531"/>
                </a:cubicBezTo>
                <a:cubicBezTo>
                  <a:pt x="542" y="532"/>
                  <a:pt x="545" y="533"/>
                  <a:pt x="548" y="534"/>
                </a:cubicBezTo>
                <a:cubicBezTo>
                  <a:pt x="551" y="535"/>
                  <a:pt x="554" y="537"/>
                  <a:pt x="555" y="538"/>
                </a:cubicBezTo>
                <a:cubicBezTo>
                  <a:pt x="557" y="540"/>
                  <a:pt x="558" y="541"/>
                  <a:pt x="558" y="543"/>
                </a:cubicBezTo>
                <a:cubicBezTo>
                  <a:pt x="558" y="543"/>
                  <a:pt x="558" y="543"/>
                  <a:pt x="558" y="594"/>
                </a:cubicBezTo>
                <a:cubicBezTo>
                  <a:pt x="558" y="595"/>
                  <a:pt x="558" y="596"/>
                  <a:pt x="557" y="597"/>
                </a:cubicBezTo>
                <a:cubicBezTo>
                  <a:pt x="557" y="597"/>
                  <a:pt x="556" y="598"/>
                  <a:pt x="555" y="599"/>
                </a:cubicBezTo>
                <a:cubicBezTo>
                  <a:pt x="554" y="601"/>
                  <a:pt x="551" y="602"/>
                  <a:pt x="548" y="603"/>
                </a:cubicBezTo>
                <a:cubicBezTo>
                  <a:pt x="542" y="605"/>
                  <a:pt x="534" y="607"/>
                  <a:pt x="526" y="607"/>
                </a:cubicBezTo>
                <a:cubicBezTo>
                  <a:pt x="526" y="607"/>
                  <a:pt x="526" y="607"/>
                  <a:pt x="525" y="607"/>
                </a:cubicBezTo>
                <a:cubicBezTo>
                  <a:pt x="525" y="607"/>
                  <a:pt x="525" y="607"/>
                  <a:pt x="525" y="607"/>
                </a:cubicBezTo>
                <a:cubicBezTo>
                  <a:pt x="517" y="607"/>
                  <a:pt x="509" y="605"/>
                  <a:pt x="503" y="603"/>
                </a:cubicBezTo>
                <a:cubicBezTo>
                  <a:pt x="500" y="602"/>
                  <a:pt x="497" y="601"/>
                  <a:pt x="496" y="599"/>
                </a:cubicBezTo>
                <a:cubicBezTo>
                  <a:pt x="495" y="598"/>
                  <a:pt x="494" y="597"/>
                  <a:pt x="494" y="597"/>
                </a:cubicBezTo>
                <a:close/>
                <a:moveTo>
                  <a:pt x="499" y="542"/>
                </a:moveTo>
                <a:cubicBezTo>
                  <a:pt x="499" y="546"/>
                  <a:pt x="511" y="549"/>
                  <a:pt x="525" y="550"/>
                </a:cubicBezTo>
                <a:cubicBezTo>
                  <a:pt x="540" y="549"/>
                  <a:pt x="552" y="546"/>
                  <a:pt x="552" y="542"/>
                </a:cubicBezTo>
                <a:cubicBezTo>
                  <a:pt x="552" y="538"/>
                  <a:pt x="540" y="534"/>
                  <a:pt x="525" y="534"/>
                </a:cubicBezTo>
                <a:cubicBezTo>
                  <a:pt x="511" y="534"/>
                  <a:pt x="499" y="538"/>
                  <a:pt x="499" y="542"/>
                </a:cubicBezTo>
                <a:close/>
                <a:moveTo>
                  <a:pt x="645" y="524"/>
                </a:moveTo>
                <a:cubicBezTo>
                  <a:pt x="636" y="524"/>
                  <a:pt x="628" y="522"/>
                  <a:pt x="623" y="520"/>
                </a:cubicBezTo>
                <a:cubicBezTo>
                  <a:pt x="620" y="519"/>
                  <a:pt x="617" y="517"/>
                  <a:pt x="616" y="516"/>
                </a:cubicBezTo>
                <a:cubicBezTo>
                  <a:pt x="615" y="515"/>
                  <a:pt x="614" y="514"/>
                  <a:pt x="614" y="514"/>
                </a:cubicBezTo>
                <a:cubicBezTo>
                  <a:pt x="613" y="513"/>
                  <a:pt x="613" y="512"/>
                  <a:pt x="613" y="511"/>
                </a:cubicBezTo>
                <a:cubicBezTo>
                  <a:pt x="613" y="511"/>
                  <a:pt x="613" y="511"/>
                  <a:pt x="613" y="460"/>
                </a:cubicBezTo>
                <a:cubicBezTo>
                  <a:pt x="613" y="458"/>
                  <a:pt x="614" y="457"/>
                  <a:pt x="616" y="455"/>
                </a:cubicBezTo>
                <a:cubicBezTo>
                  <a:pt x="617" y="454"/>
                  <a:pt x="620" y="452"/>
                  <a:pt x="623" y="451"/>
                </a:cubicBezTo>
                <a:cubicBezTo>
                  <a:pt x="626" y="450"/>
                  <a:pt x="629" y="449"/>
                  <a:pt x="633" y="448"/>
                </a:cubicBezTo>
                <a:cubicBezTo>
                  <a:pt x="637" y="448"/>
                  <a:pt x="641" y="447"/>
                  <a:pt x="645" y="447"/>
                </a:cubicBezTo>
                <a:cubicBezTo>
                  <a:pt x="645" y="447"/>
                  <a:pt x="645" y="447"/>
                  <a:pt x="645" y="447"/>
                </a:cubicBezTo>
                <a:cubicBezTo>
                  <a:pt x="645" y="447"/>
                  <a:pt x="645" y="447"/>
                  <a:pt x="645" y="447"/>
                </a:cubicBezTo>
                <a:cubicBezTo>
                  <a:pt x="650" y="447"/>
                  <a:pt x="654" y="448"/>
                  <a:pt x="658" y="448"/>
                </a:cubicBezTo>
                <a:cubicBezTo>
                  <a:pt x="662" y="449"/>
                  <a:pt x="665" y="450"/>
                  <a:pt x="668" y="451"/>
                </a:cubicBezTo>
                <a:cubicBezTo>
                  <a:pt x="671" y="452"/>
                  <a:pt x="673" y="454"/>
                  <a:pt x="675" y="455"/>
                </a:cubicBezTo>
                <a:cubicBezTo>
                  <a:pt x="677" y="457"/>
                  <a:pt x="678" y="458"/>
                  <a:pt x="678" y="460"/>
                </a:cubicBezTo>
                <a:cubicBezTo>
                  <a:pt x="678" y="460"/>
                  <a:pt x="678" y="460"/>
                  <a:pt x="678" y="511"/>
                </a:cubicBezTo>
                <a:cubicBezTo>
                  <a:pt x="678" y="512"/>
                  <a:pt x="677" y="513"/>
                  <a:pt x="677" y="514"/>
                </a:cubicBezTo>
                <a:cubicBezTo>
                  <a:pt x="677" y="514"/>
                  <a:pt x="676" y="515"/>
                  <a:pt x="675" y="516"/>
                </a:cubicBezTo>
                <a:cubicBezTo>
                  <a:pt x="673" y="517"/>
                  <a:pt x="671" y="519"/>
                  <a:pt x="668" y="520"/>
                </a:cubicBezTo>
                <a:cubicBezTo>
                  <a:pt x="662" y="522"/>
                  <a:pt x="654" y="524"/>
                  <a:pt x="645" y="524"/>
                </a:cubicBezTo>
                <a:cubicBezTo>
                  <a:pt x="645" y="524"/>
                  <a:pt x="645" y="524"/>
                  <a:pt x="645" y="524"/>
                </a:cubicBezTo>
                <a:cubicBezTo>
                  <a:pt x="645" y="524"/>
                  <a:pt x="645" y="524"/>
                  <a:pt x="645" y="524"/>
                </a:cubicBezTo>
                <a:close/>
                <a:moveTo>
                  <a:pt x="645" y="466"/>
                </a:moveTo>
                <a:cubicBezTo>
                  <a:pt x="660" y="466"/>
                  <a:pt x="672" y="463"/>
                  <a:pt x="672" y="459"/>
                </a:cubicBezTo>
                <a:cubicBezTo>
                  <a:pt x="672" y="455"/>
                  <a:pt x="660" y="451"/>
                  <a:pt x="645" y="451"/>
                </a:cubicBezTo>
                <a:cubicBezTo>
                  <a:pt x="631" y="451"/>
                  <a:pt x="619" y="455"/>
                  <a:pt x="619" y="459"/>
                </a:cubicBezTo>
                <a:cubicBezTo>
                  <a:pt x="619" y="463"/>
                  <a:pt x="631" y="466"/>
                  <a:pt x="645" y="466"/>
                </a:cubicBezTo>
                <a:close/>
                <a:moveTo>
                  <a:pt x="573" y="597"/>
                </a:moveTo>
                <a:cubicBezTo>
                  <a:pt x="573" y="596"/>
                  <a:pt x="573" y="595"/>
                  <a:pt x="573" y="594"/>
                </a:cubicBezTo>
                <a:cubicBezTo>
                  <a:pt x="573" y="594"/>
                  <a:pt x="573" y="594"/>
                  <a:pt x="573" y="543"/>
                </a:cubicBezTo>
                <a:cubicBezTo>
                  <a:pt x="573" y="541"/>
                  <a:pt x="574" y="540"/>
                  <a:pt x="575" y="538"/>
                </a:cubicBezTo>
                <a:cubicBezTo>
                  <a:pt x="577" y="537"/>
                  <a:pt x="579" y="535"/>
                  <a:pt x="582" y="534"/>
                </a:cubicBezTo>
                <a:cubicBezTo>
                  <a:pt x="585" y="533"/>
                  <a:pt x="589" y="532"/>
                  <a:pt x="592" y="531"/>
                </a:cubicBezTo>
                <a:cubicBezTo>
                  <a:pt x="596" y="531"/>
                  <a:pt x="600" y="530"/>
                  <a:pt x="605" y="530"/>
                </a:cubicBezTo>
                <a:cubicBezTo>
                  <a:pt x="605" y="530"/>
                  <a:pt x="605" y="530"/>
                  <a:pt x="605" y="530"/>
                </a:cubicBezTo>
                <a:cubicBezTo>
                  <a:pt x="605" y="530"/>
                  <a:pt x="605" y="530"/>
                  <a:pt x="605" y="530"/>
                </a:cubicBezTo>
                <a:cubicBezTo>
                  <a:pt x="609" y="530"/>
                  <a:pt x="614" y="531"/>
                  <a:pt x="617" y="531"/>
                </a:cubicBezTo>
                <a:cubicBezTo>
                  <a:pt x="621" y="532"/>
                  <a:pt x="625" y="533"/>
                  <a:pt x="628" y="534"/>
                </a:cubicBezTo>
                <a:cubicBezTo>
                  <a:pt x="631" y="535"/>
                  <a:pt x="633" y="537"/>
                  <a:pt x="635" y="538"/>
                </a:cubicBezTo>
                <a:cubicBezTo>
                  <a:pt x="636" y="540"/>
                  <a:pt x="637" y="541"/>
                  <a:pt x="637" y="543"/>
                </a:cubicBezTo>
                <a:cubicBezTo>
                  <a:pt x="637" y="543"/>
                  <a:pt x="637" y="543"/>
                  <a:pt x="637" y="594"/>
                </a:cubicBezTo>
                <a:cubicBezTo>
                  <a:pt x="637" y="595"/>
                  <a:pt x="637" y="596"/>
                  <a:pt x="637" y="597"/>
                </a:cubicBezTo>
                <a:cubicBezTo>
                  <a:pt x="636" y="597"/>
                  <a:pt x="635" y="598"/>
                  <a:pt x="635" y="599"/>
                </a:cubicBezTo>
                <a:cubicBezTo>
                  <a:pt x="633" y="601"/>
                  <a:pt x="631" y="602"/>
                  <a:pt x="628" y="603"/>
                </a:cubicBezTo>
                <a:cubicBezTo>
                  <a:pt x="622" y="605"/>
                  <a:pt x="614" y="607"/>
                  <a:pt x="605" y="607"/>
                </a:cubicBezTo>
                <a:cubicBezTo>
                  <a:pt x="605" y="607"/>
                  <a:pt x="605" y="607"/>
                  <a:pt x="605" y="607"/>
                </a:cubicBezTo>
                <a:cubicBezTo>
                  <a:pt x="605" y="607"/>
                  <a:pt x="605" y="607"/>
                  <a:pt x="605" y="607"/>
                </a:cubicBezTo>
                <a:cubicBezTo>
                  <a:pt x="596" y="607"/>
                  <a:pt x="588" y="605"/>
                  <a:pt x="582" y="603"/>
                </a:cubicBezTo>
                <a:cubicBezTo>
                  <a:pt x="579" y="602"/>
                  <a:pt x="577" y="601"/>
                  <a:pt x="575" y="599"/>
                </a:cubicBezTo>
                <a:cubicBezTo>
                  <a:pt x="574" y="598"/>
                  <a:pt x="574" y="597"/>
                  <a:pt x="573" y="597"/>
                </a:cubicBezTo>
                <a:close/>
                <a:moveTo>
                  <a:pt x="578" y="542"/>
                </a:moveTo>
                <a:cubicBezTo>
                  <a:pt x="578" y="546"/>
                  <a:pt x="590" y="549"/>
                  <a:pt x="605" y="550"/>
                </a:cubicBezTo>
                <a:cubicBezTo>
                  <a:pt x="620" y="549"/>
                  <a:pt x="631" y="546"/>
                  <a:pt x="631" y="542"/>
                </a:cubicBezTo>
                <a:cubicBezTo>
                  <a:pt x="631" y="538"/>
                  <a:pt x="620" y="534"/>
                  <a:pt x="605" y="534"/>
                </a:cubicBezTo>
                <a:cubicBezTo>
                  <a:pt x="590" y="534"/>
                  <a:pt x="578" y="538"/>
                  <a:pt x="578" y="542"/>
                </a:cubicBezTo>
                <a:close/>
                <a:moveTo>
                  <a:pt x="414" y="597"/>
                </a:moveTo>
                <a:cubicBezTo>
                  <a:pt x="414" y="596"/>
                  <a:pt x="414" y="595"/>
                  <a:pt x="414" y="594"/>
                </a:cubicBezTo>
                <a:cubicBezTo>
                  <a:pt x="414" y="594"/>
                  <a:pt x="414" y="594"/>
                  <a:pt x="414" y="543"/>
                </a:cubicBezTo>
                <a:cubicBezTo>
                  <a:pt x="414" y="541"/>
                  <a:pt x="415" y="540"/>
                  <a:pt x="416" y="538"/>
                </a:cubicBezTo>
                <a:cubicBezTo>
                  <a:pt x="418" y="537"/>
                  <a:pt x="420" y="535"/>
                  <a:pt x="423" y="534"/>
                </a:cubicBezTo>
                <a:cubicBezTo>
                  <a:pt x="426" y="533"/>
                  <a:pt x="430" y="532"/>
                  <a:pt x="434" y="531"/>
                </a:cubicBezTo>
                <a:cubicBezTo>
                  <a:pt x="437" y="531"/>
                  <a:pt x="442" y="530"/>
                  <a:pt x="446" y="530"/>
                </a:cubicBezTo>
                <a:cubicBezTo>
                  <a:pt x="446" y="530"/>
                  <a:pt x="446" y="530"/>
                  <a:pt x="446" y="530"/>
                </a:cubicBezTo>
                <a:cubicBezTo>
                  <a:pt x="446" y="530"/>
                  <a:pt x="446" y="530"/>
                  <a:pt x="446" y="530"/>
                </a:cubicBezTo>
                <a:cubicBezTo>
                  <a:pt x="451" y="530"/>
                  <a:pt x="455" y="531"/>
                  <a:pt x="459" y="531"/>
                </a:cubicBezTo>
                <a:cubicBezTo>
                  <a:pt x="462" y="532"/>
                  <a:pt x="466" y="533"/>
                  <a:pt x="469" y="534"/>
                </a:cubicBezTo>
                <a:cubicBezTo>
                  <a:pt x="472" y="535"/>
                  <a:pt x="474" y="537"/>
                  <a:pt x="476" y="538"/>
                </a:cubicBezTo>
                <a:cubicBezTo>
                  <a:pt x="477" y="540"/>
                  <a:pt x="478" y="541"/>
                  <a:pt x="478" y="543"/>
                </a:cubicBezTo>
                <a:cubicBezTo>
                  <a:pt x="478" y="543"/>
                  <a:pt x="478" y="543"/>
                  <a:pt x="478" y="594"/>
                </a:cubicBezTo>
                <a:cubicBezTo>
                  <a:pt x="478" y="595"/>
                  <a:pt x="478" y="596"/>
                  <a:pt x="478" y="597"/>
                </a:cubicBezTo>
                <a:cubicBezTo>
                  <a:pt x="477" y="597"/>
                  <a:pt x="477" y="598"/>
                  <a:pt x="476" y="599"/>
                </a:cubicBezTo>
                <a:cubicBezTo>
                  <a:pt x="474" y="601"/>
                  <a:pt x="472" y="602"/>
                  <a:pt x="469" y="603"/>
                </a:cubicBezTo>
                <a:cubicBezTo>
                  <a:pt x="463" y="605"/>
                  <a:pt x="455" y="607"/>
                  <a:pt x="446" y="607"/>
                </a:cubicBezTo>
                <a:cubicBezTo>
                  <a:pt x="446" y="607"/>
                  <a:pt x="446" y="607"/>
                  <a:pt x="446" y="607"/>
                </a:cubicBezTo>
                <a:cubicBezTo>
                  <a:pt x="446" y="607"/>
                  <a:pt x="446" y="607"/>
                  <a:pt x="446" y="607"/>
                </a:cubicBezTo>
                <a:cubicBezTo>
                  <a:pt x="437" y="607"/>
                  <a:pt x="429" y="605"/>
                  <a:pt x="423" y="603"/>
                </a:cubicBezTo>
                <a:cubicBezTo>
                  <a:pt x="420" y="602"/>
                  <a:pt x="418" y="601"/>
                  <a:pt x="416" y="599"/>
                </a:cubicBezTo>
                <a:cubicBezTo>
                  <a:pt x="416" y="598"/>
                  <a:pt x="415" y="597"/>
                  <a:pt x="414" y="597"/>
                </a:cubicBezTo>
                <a:close/>
                <a:moveTo>
                  <a:pt x="419" y="542"/>
                </a:moveTo>
                <a:cubicBezTo>
                  <a:pt x="419" y="546"/>
                  <a:pt x="431" y="549"/>
                  <a:pt x="446" y="550"/>
                </a:cubicBezTo>
                <a:cubicBezTo>
                  <a:pt x="461" y="549"/>
                  <a:pt x="473" y="546"/>
                  <a:pt x="473" y="542"/>
                </a:cubicBezTo>
                <a:cubicBezTo>
                  <a:pt x="473" y="538"/>
                  <a:pt x="461" y="534"/>
                  <a:pt x="446" y="534"/>
                </a:cubicBezTo>
                <a:cubicBezTo>
                  <a:pt x="431" y="534"/>
                  <a:pt x="419" y="538"/>
                  <a:pt x="419" y="542"/>
                </a:cubicBezTo>
                <a:close/>
                <a:moveTo>
                  <a:pt x="437" y="123"/>
                </a:moveTo>
                <a:cubicBezTo>
                  <a:pt x="438" y="124"/>
                  <a:pt x="439" y="126"/>
                  <a:pt x="439" y="128"/>
                </a:cubicBezTo>
                <a:cubicBezTo>
                  <a:pt x="439" y="128"/>
                  <a:pt x="439" y="128"/>
                  <a:pt x="439" y="179"/>
                </a:cubicBezTo>
                <a:cubicBezTo>
                  <a:pt x="439" y="179"/>
                  <a:pt x="439" y="180"/>
                  <a:pt x="439" y="181"/>
                </a:cubicBezTo>
                <a:cubicBezTo>
                  <a:pt x="438" y="182"/>
                  <a:pt x="438" y="183"/>
                  <a:pt x="437" y="183"/>
                </a:cubicBezTo>
                <a:cubicBezTo>
                  <a:pt x="435" y="185"/>
                  <a:pt x="433" y="186"/>
                  <a:pt x="430" y="188"/>
                </a:cubicBezTo>
                <a:cubicBezTo>
                  <a:pt x="424" y="190"/>
                  <a:pt x="416" y="191"/>
                  <a:pt x="407" y="191"/>
                </a:cubicBezTo>
                <a:cubicBezTo>
                  <a:pt x="407" y="191"/>
                  <a:pt x="407" y="191"/>
                  <a:pt x="407" y="191"/>
                </a:cubicBezTo>
                <a:cubicBezTo>
                  <a:pt x="407" y="191"/>
                  <a:pt x="407" y="191"/>
                  <a:pt x="407" y="191"/>
                </a:cubicBezTo>
                <a:cubicBezTo>
                  <a:pt x="398" y="191"/>
                  <a:pt x="390" y="190"/>
                  <a:pt x="384" y="188"/>
                </a:cubicBezTo>
                <a:cubicBezTo>
                  <a:pt x="381" y="186"/>
                  <a:pt x="379" y="185"/>
                  <a:pt x="377" y="183"/>
                </a:cubicBezTo>
                <a:cubicBezTo>
                  <a:pt x="377" y="183"/>
                  <a:pt x="376" y="182"/>
                  <a:pt x="376" y="181"/>
                </a:cubicBezTo>
                <a:cubicBezTo>
                  <a:pt x="375" y="180"/>
                  <a:pt x="375" y="179"/>
                  <a:pt x="375" y="179"/>
                </a:cubicBezTo>
                <a:cubicBezTo>
                  <a:pt x="375" y="179"/>
                  <a:pt x="375" y="179"/>
                  <a:pt x="375" y="128"/>
                </a:cubicBezTo>
                <a:cubicBezTo>
                  <a:pt x="375" y="126"/>
                  <a:pt x="376" y="124"/>
                  <a:pt x="377" y="123"/>
                </a:cubicBezTo>
                <a:cubicBezTo>
                  <a:pt x="379" y="121"/>
                  <a:pt x="381" y="120"/>
                  <a:pt x="384" y="119"/>
                </a:cubicBezTo>
                <a:cubicBezTo>
                  <a:pt x="387" y="117"/>
                  <a:pt x="391" y="116"/>
                  <a:pt x="395" y="116"/>
                </a:cubicBezTo>
                <a:cubicBezTo>
                  <a:pt x="398" y="115"/>
                  <a:pt x="403" y="115"/>
                  <a:pt x="407" y="115"/>
                </a:cubicBezTo>
                <a:cubicBezTo>
                  <a:pt x="407" y="115"/>
                  <a:pt x="407" y="115"/>
                  <a:pt x="407" y="115"/>
                </a:cubicBezTo>
                <a:cubicBezTo>
                  <a:pt x="407" y="115"/>
                  <a:pt x="407" y="115"/>
                  <a:pt x="407" y="115"/>
                </a:cubicBezTo>
                <a:cubicBezTo>
                  <a:pt x="412" y="115"/>
                  <a:pt x="416" y="115"/>
                  <a:pt x="420" y="116"/>
                </a:cubicBezTo>
                <a:cubicBezTo>
                  <a:pt x="423" y="116"/>
                  <a:pt x="427" y="117"/>
                  <a:pt x="430" y="119"/>
                </a:cubicBezTo>
                <a:cubicBezTo>
                  <a:pt x="433" y="120"/>
                  <a:pt x="435" y="121"/>
                  <a:pt x="437" y="123"/>
                </a:cubicBezTo>
                <a:close/>
                <a:moveTo>
                  <a:pt x="434" y="126"/>
                </a:moveTo>
                <a:cubicBezTo>
                  <a:pt x="434" y="122"/>
                  <a:pt x="422" y="119"/>
                  <a:pt x="407" y="119"/>
                </a:cubicBezTo>
                <a:cubicBezTo>
                  <a:pt x="392" y="119"/>
                  <a:pt x="381" y="122"/>
                  <a:pt x="381" y="126"/>
                </a:cubicBezTo>
                <a:cubicBezTo>
                  <a:pt x="381" y="130"/>
                  <a:pt x="392" y="134"/>
                  <a:pt x="407" y="134"/>
                </a:cubicBezTo>
                <a:cubicBezTo>
                  <a:pt x="422" y="134"/>
                  <a:pt x="434" y="130"/>
                  <a:pt x="434" y="126"/>
                </a:cubicBezTo>
                <a:close/>
                <a:moveTo>
                  <a:pt x="354" y="126"/>
                </a:moveTo>
                <a:cubicBezTo>
                  <a:pt x="354" y="130"/>
                  <a:pt x="346" y="133"/>
                  <a:pt x="335" y="134"/>
                </a:cubicBezTo>
                <a:cubicBezTo>
                  <a:pt x="295" y="156"/>
                  <a:pt x="295" y="156"/>
                  <a:pt x="295" y="156"/>
                </a:cubicBezTo>
                <a:cubicBezTo>
                  <a:pt x="295" y="178"/>
                  <a:pt x="295" y="179"/>
                  <a:pt x="295" y="179"/>
                </a:cubicBezTo>
                <a:cubicBezTo>
                  <a:pt x="295" y="179"/>
                  <a:pt x="296" y="180"/>
                  <a:pt x="296" y="181"/>
                </a:cubicBezTo>
                <a:cubicBezTo>
                  <a:pt x="297" y="182"/>
                  <a:pt x="297" y="183"/>
                  <a:pt x="298" y="183"/>
                </a:cubicBezTo>
                <a:cubicBezTo>
                  <a:pt x="300" y="185"/>
                  <a:pt x="302" y="186"/>
                  <a:pt x="305" y="188"/>
                </a:cubicBezTo>
                <a:cubicBezTo>
                  <a:pt x="311" y="190"/>
                  <a:pt x="319" y="191"/>
                  <a:pt x="328" y="191"/>
                </a:cubicBezTo>
                <a:cubicBezTo>
                  <a:pt x="328" y="191"/>
                  <a:pt x="328" y="191"/>
                  <a:pt x="328" y="191"/>
                </a:cubicBezTo>
                <a:cubicBezTo>
                  <a:pt x="328" y="191"/>
                  <a:pt x="328" y="191"/>
                  <a:pt x="328" y="191"/>
                </a:cubicBezTo>
                <a:cubicBezTo>
                  <a:pt x="337" y="191"/>
                  <a:pt x="345" y="190"/>
                  <a:pt x="350" y="188"/>
                </a:cubicBezTo>
                <a:cubicBezTo>
                  <a:pt x="353" y="186"/>
                  <a:pt x="356" y="185"/>
                  <a:pt x="357" y="183"/>
                </a:cubicBezTo>
                <a:cubicBezTo>
                  <a:pt x="358" y="183"/>
                  <a:pt x="359" y="182"/>
                  <a:pt x="359" y="181"/>
                </a:cubicBezTo>
                <a:cubicBezTo>
                  <a:pt x="360" y="180"/>
                  <a:pt x="360" y="179"/>
                  <a:pt x="360" y="179"/>
                </a:cubicBezTo>
                <a:cubicBezTo>
                  <a:pt x="360" y="128"/>
                  <a:pt x="360" y="128"/>
                  <a:pt x="360" y="128"/>
                </a:cubicBezTo>
                <a:cubicBezTo>
                  <a:pt x="360" y="126"/>
                  <a:pt x="359" y="124"/>
                  <a:pt x="357" y="123"/>
                </a:cubicBezTo>
                <a:cubicBezTo>
                  <a:pt x="357" y="122"/>
                  <a:pt x="356" y="122"/>
                  <a:pt x="356" y="121"/>
                </a:cubicBezTo>
                <a:cubicBezTo>
                  <a:pt x="352" y="123"/>
                  <a:pt x="352" y="123"/>
                  <a:pt x="352" y="123"/>
                </a:cubicBezTo>
                <a:cubicBezTo>
                  <a:pt x="354" y="124"/>
                  <a:pt x="354" y="125"/>
                  <a:pt x="354" y="126"/>
                </a:cubicBezTo>
                <a:close/>
                <a:moveTo>
                  <a:pt x="287" y="441"/>
                </a:moveTo>
                <a:cubicBezTo>
                  <a:pt x="278" y="441"/>
                  <a:pt x="270" y="439"/>
                  <a:pt x="264" y="437"/>
                </a:cubicBezTo>
                <a:cubicBezTo>
                  <a:pt x="261" y="436"/>
                  <a:pt x="259" y="434"/>
                  <a:pt x="257" y="433"/>
                </a:cubicBezTo>
                <a:cubicBezTo>
                  <a:pt x="257" y="432"/>
                  <a:pt x="256" y="431"/>
                  <a:pt x="256" y="430"/>
                </a:cubicBezTo>
                <a:cubicBezTo>
                  <a:pt x="255" y="430"/>
                  <a:pt x="255" y="429"/>
                  <a:pt x="255" y="428"/>
                </a:cubicBezTo>
                <a:cubicBezTo>
                  <a:pt x="255" y="428"/>
                  <a:pt x="255" y="428"/>
                  <a:pt x="255" y="377"/>
                </a:cubicBezTo>
                <a:cubicBezTo>
                  <a:pt x="255" y="375"/>
                  <a:pt x="256" y="373"/>
                  <a:pt x="257" y="372"/>
                </a:cubicBezTo>
                <a:cubicBezTo>
                  <a:pt x="259" y="370"/>
                  <a:pt x="261" y="369"/>
                  <a:pt x="264" y="368"/>
                </a:cubicBezTo>
                <a:cubicBezTo>
                  <a:pt x="267" y="367"/>
                  <a:pt x="271" y="366"/>
                  <a:pt x="275" y="365"/>
                </a:cubicBezTo>
                <a:cubicBezTo>
                  <a:pt x="278" y="365"/>
                  <a:pt x="283" y="364"/>
                  <a:pt x="287" y="364"/>
                </a:cubicBezTo>
                <a:cubicBezTo>
                  <a:pt x="287" y="364"/>
                  <a:pt x="287" y="364"/>
                  <a:pt x="287" y="364"/>
                </a:cubicBezTo>
                <a:cubicBezTo>
                  <a:pt x="287" y="364"/>
                  <a:pt x="287" y="364"/>
                  <a:pt x="287" y="364"/>
                </a:cubicBezTo>
                <a:cubicBezTo>
                  <a:pt x="292" y="364"/>
                  <a:pt x="296" y="365"/>
                  <a:pt x="300" y="365"/>
                </a:cubicBezTo>
                <a:cubicBezTo>
                  <a:pt x="304" y="366"/>
                  <a:pt x="307" y="367"/>
                  <a:pt x="310" y="368"/>
                </a:cubicBezTo>
                <a:cubicBezTo>
                  <a:pt x="313" y="369"/>
                  <a:pt x="315" y="370"/>
                  <a:pt x="317" y="372"/>
                </a:cubicBezTo>
                <a:cubicBezTo>
                  <a:pt x="319" y="373"/>
                  <a:pt x="319" y="375"/>
                  <a:pt x="319" y="377"/>
                </a:cubicBezTo>
                <a:cubicBezTo>
                  <a:pt x="319" y="377"/>
                  <a:pt x="319" y="377"/>
                  <a:pt x="319" y="428"/>
                </a:cubicBezTo>
                <a:cubicBezTo>
                  <a:pt x="319" y="429"/>
                  <a:pt x="319" y="430"/>
                  <a:pt x="319" y="430"/>
                </a:cubicBezTo>
                <a:cubicBezTo>
                  <a:pt x="318" y="431"/>
                  <a:pt x="318" y="432"/>
                  <a:pt x="317" y="433"/>
                </a:cubicBezTo>
                <a:cubicBezTo>
                  <a:pt x="315" y="434"/>
                  <a:pt x="313" y="436"/>
                  <a:pt x="310" y="437"/>
                </a:cubicBezTo>
                <a:cubicBezTo>
                  <a:pt x="304" y="439"/>
                  <a:pt x="296" y="441"/>
                  <a:pt x="287" y="441"/>
                </a:cubicBezTo>
                <a:cubicBezTo>
                  <a:pt x="287" y="441"/>
                  <a:pt x="287" y="441"/>
                  <a:pt x="287" y="441"/>
                </a:cubicBezTo>
                <a:cubicBezTo>
                  <a:pt x="287" y="441"/>
                  <a:pt x="287" y="441"/>
                  <a:pt x="287" y="441"/>
                </a:cubicBezTo>
                <a:close/>
                <a:moveTo>
                  <a:pt x="287" y="383"/>
                </a:moveTo>
                <a:cubicBezTo>
                  <a:pt x="302" y="383"/>
                  <a:pt x="314" y="380"/>
                  <a:pt x="314" y="376"/>
                </a:cubicBezTo>
                <a:cubicBezTo>
                  <a:pt x="314" y="371"/>
                  <a:pt x="302" y="368"/>
                  <a:pt x="287" y="368"/>
                </a:cubicBezTo>
                <a:cubicBezTo>
                  <a:pt x="272" y="368"/>
                  <a:pt x="261" y="371"/>
                  <a:pt x="261" y="376"/>
                </a:cubicBezTo>
                <a:cubicBezTo>
                  <a:pt x="261" y="380"/>
                  <a:pt x="272" y="383"/>
                  <a:pt x="287" y="383"/>
                </a:cubicBezTo>
                <a:close/>
                <a:moveTo>
                  <a:pt x="335" y="597"/>
                </a:moveTo>
                <a:cubicBezTo>
                  <a:pt x="335" y="596"/>
                  <a:pt x="334" y="595"/>
                  <a:pt x="334" y="594"/>
                </a:cubicBezTo>
                <a:cubicBezTo>
                  <a:pt x="334" y="594"/>
                  <a:pt x="334" y="594"/>
                  <a:pt x="334" y="543"/>
                </a:cubicBezTo>
                <a:cubicBezTo>
                  <a:pt x="334" y="541"/>
                  <a:pt x="335" y="540"/>
                  <a:pt x="337" y="538"/>
                </a:cubicBezTo>
                <a:cubicBezTo>
                  <a:pt x="339" y="537"/>
                  <a:pt x="341" y="535"/>
                  <a:pt x="344" y="534"/>
                </a:cubicBezTo>
                <a:cubicBezTo>
                  <a:pt x="347" y="533"/>
                  <a:pt x="350" y="532"/>
                  <a:pt x="354" y="531"/>
                </a:cubicBezTo>
                <a:cubicBezTo>
                  <a:pt x="358" y="531"/>
                  <a:pt x="362" y="530"/>
                  <a:pt x="367" y="530"/>
                </a:cubicBezTo>
                <a:cubicBezTo>
                  <a:pt x="367" y="530"/>
                  <a:pt x="367" y="530"/>
                  <a:pt x="367" y="530"/>
                </a:cubicBezTo>
                <a:cubicBezTo>
                  <a:pt x="367" y="530"/>
                  <a:pt x="367" y="530"/>
                  <a:pt x="367" y="530"/>
                </a:cubicBezTo>
                <a:cubicBezTo>
                  <a:pt x="371" y="530"/>
                  <a:pt x="375" y="531"/>
                  <a:pt x="379" y="531"/>
                </a:cubicBezTo>
                <a:cubicBezTo>
                  <a:pt x="383" y="532"/>
                  <a:pt x="386" y="533"/>
                  <a:pt x="389" y="534"/>
                </a:cubicBezTo>
                <a:cubicBezTo>
                  <a:pt x="392" y="535"/>
                  <a:pt x="395" y="537"/>
                  <a:pt x="396" y="538"/>
                </a:cubicBezTo>
                <a:cubicBezTo>
                  <a:pt x="398" y="540"/>
                  <a:pt x="399" y="541"/>
                  <a:pt x="399" y="543"/>
                </a:cubicBezTo>
                <a:cubicBezTo>
                  <a:pt x="399" y="543"/>
                  <a:pt x="399" y="543"/>
                  <a:pt x="399" y="594"/>
                </a:cubicBezTo>
                <a:cubicBezTo>
                  <a:pt x="399" y="595"/>
                  <a:pt x="399" y="596"/>
                  <a:pt x="398" y="597"/>
                </a:cubicBezTo>
                <a:cubicBezTo>
                  <a:pt x="398" y="597"/>
                  <a:pt x="397" y="598"/>
                  <a:pt x="396" y="599"/>
                </a:cubicBezTo>
                <a:cubicBezTo>
                  <a:pt x="395" y="601"/>
                  <a:pt x="392" y="602"/>
                  <a:pt x="389" y="603"/>
                </a:cubicBezTo>
                <a:cubicBezTo>
                  <a:pt x="384" y="605"/>
                  <a:pt x="376" y="607"/>
                  <a:pt x="367" y="607"/>
                </a:cubicBezTo>
                <a:cubicBezTo>
                  <a:pt x="367" y="607"/>
                  <a:pt x="367" y="607"/>
                  <a:pt x="367" y="607"/>
                </a:cubicBezTo>
                <a:cubicBezTo>
                  <a:pt x="367" y="607"/>
                  <a:pt x="367" y="607"/>
                  <a:pt x="367" y="607"/>
                </a:cubicBezTo>
                <a:cubicBezTo>
                  <a:pt x="358" y="607"/>
                  <a:pt x="350" y="605"/>
                  <a:pt x="344" y="603"/>
                </a:cubicBezTo>
                <a:cubicBezTo>
                  <a:pt x="341" y="602"/>
                  <a:pt x="339" y="601"/>
                  <a:pt x="337" y="599"/>
                </a:cubicBezTo>
                <a:cubicBezTo>
                  <a:pt x="336" y="598"/>
                  <a:pt x="335" y="597"/>
                  <a:pt x="335" y="597"/>
                </a:cubicBezTo>
                <a:close/>
                <a:moveTo>
                  <a:pt x="340" y="542"/>
                </a:moveTo>
                <a:cubicBezTo>
                  <a:pt x="340" y="546"/>
                  <a:pt x="352" y="549"/>
                  <a:pt x="367" y="550"/>
                </a:cubicBezTo>
                <a:cubicBezTo>
                  <a:pt x="381" y="549"/>
                  <a:pt x="393" y="546"/>
                  <a:pt x="393" y="542"/>
                </a:cubicBezTo>
                <a:cubicBezTo>
                  <a:pt x="393" y="538"/>
                  <a:pt x="381" y="534"/>
                  <a:pt x="367" y="534"/>
                </a:cubicBezTo>
                <a:cubicBezTo>
                  <a:pt x="352" y="534"/>
                  <a:pt x="340" y="538"/>
                  <a:pt x="340" y="542"/>
                </a:cubicBezTo>
                <a:close/>
                <a:moveTo>
                  <a:pt x="296" y="514"/>
                </a:moveTo>
                <a:cubicBezTo>
                  <a:pt x="296" y="513"/>
                  <a:pt x="295" y="512"/>
                  <a:pt x="295" y="511"/>
                </a:cubicBezTo>
                <a:cubicBezTo>
                  <a:pt x="295" y="511"/>
                  <a:pt x="295" y="511"/>
                  <a:pt x="295" y="460"/>
                </a:cubicBezTo>
                <a:cubicBezTo>
                  <a:pt x="295" y="458"/>
                  <a:pt x="296" y="457"/>
                  <a:pt x="298" y="455"/>
                </a:cubicBezTo>
                <a:cubicBezTo>
                  <a:pt x="300" y="454"/>
                  <a:pt x="302" y="452"/>
                  <a:pt x="305" y="451"/>
                </a:cubicBezTo>
                <a:cubicBezTo>
                  <a:pt x="308" y="450"/>
                  <a:pt x="311" y="449"/>
                  <a:pt x="315" y="448"/>
                </a:cubicBezTo>
                <a:cubicBezTo>
                  <a:pt x="319" y="448"/>
                  <a:pt x="323" y="447"/>
                  <a:pt x="328" y="447"/>
                </a:cubicBezTo>
                <a:cubicBezTo>
                  <a:pt x="328" y="447"/>
                  <a:pt x="328" y="447"/>
                  <a:pt x="328" y="447"/>
                </a:cubicBezTo>
                <a:cubicBezTo>
                  <a:pt x="328" y="447"/>
                  <a:pt x="328" y="447"/>
                  <a:pt x="328" y="447"/>
                </a:cubicBezTo>
                <a:cubicBezTo>
                  <a:pt x="332" y="447"/>
                  <a:pt x="336" y="448"/>
                  <a:pt x="340" y="448"/>
                </a:cubicBezTo>
                <a:cubicBezTo>
                  <a:pt x="344" y="449"/>
                  <a:pt x="348" y="450"/>
                  <a:pt x="350" y="451"/>
                </a:cubicBezTo>
                <a:cubicBezTo>
                  <a:pt x="353" y="452"/>
                  <a:pt x="356" y="454"/>
                  <a:pt x="357" y="455"/>
                </a:cubicBezTo>
                <a:cubicBezTo>
                  <a:pt x="359" y="457"/>
                  <a:pt x="360" y="458"/>
                  <a:pt x="360" y="460"/>
                </a:cubicBezTo>
                <a:cubicBezTo>
                  <a:pt x="360" y="460"/>
                  <a:pt x="360" y="460"/>
                  <a:pt x="360" y="511"/>
                </a:cubicBezTo>
                <a:cubicBezTo>
                  <a:pt x="360" y="512"/>
                  <a:pt x="360" y="513"/>
                  <a:pt x="359" y="514"/>
                </a:cubicBezTo>
                <a:cubicBezTo>
                  <a:pt x="359" y="514"/>
                  <a:pt x="358" y="515"/>
                  <a:pt x="357" y="516"/>
                </a:cubicBezTo>
                <a:cubicBezTo>
                  <a:pt x="356" y="517"/>
                  <a:pt x="353" y="519"/>
                  <a:pt x="350" y="520"/>
                </a:cubicBezTo>
                <a:cubicBezTo>
                  <a:pt x="345" y="522"/>
                  <a:pt x="337" y="524"/>
                  <a:pt x="328" y="524"/>
                </a:cubicBezTo>
                <a:cubicBezTo>
                  <a:pt x="328" y="524"/>
                  <a:pt x="328" y="524"/>
                  <a:pt x="328" y="524"/>
                </a:cubicBezTo>
                <a:cubicBezTo>
                  <a:pt x="328" y="524"/>
                  <a:pt x="328" y="524"/>
                  <a:pt x="328" y="524"/>
                </a:cubicBezTo>
                <a:cubicBezTo>
                  <a:pt x="319" y="524"/>
                  <a:pt x="311" y="522"/>
                  <a:pt x="305" y="520"/>
                </a:cubicBezTo>
                <a:cubicBezTo>
                  <a:pt x="302" y="519"/>
                  <a:pt x="300" y="517"/>
                  <a:pt x="298" y="516"/>
                </a:cubicBezTo>
                <a:cubicBezTo>
                  <a:pt x="297" y="515"/>
                  <a:pt x="297" y="514"/>
                  <a:pt x="296" y="514"/>
                </a:cubicBezTo>
                <a:close/>
                <a:moveTo>
                  <a:pt x="301" y="459"/>
                </a:moveTo>
                <a:cubicBezTo>
                  <a:pt x="301" y="463"/>
                  <a:pt x="313" y="466"/>
                  <a:pt x="328" y="466"/>
                </a:cubicBezTo>
                <a:cubicBezTo>
                  <a:pt x="342" y="466"/>
                  <a:pt x="354" y="463"/>
                  <a:pt x="354" y="459"/>
                </a:cubicBezTo>
                <a:cubicBezTo>
                  <a:pt x="354" y="455"/>
                  <a:pt x="342" y="451"/>
                  <a:pt x="328" y="451"/>
                </a:cubicBezTo>
                <a:cubicBezTo>
                  <a:pt x="313" y="451"/>
                  <a:pt x="301" y="455"/>
                  <a:pt x="301" y="459"/>
                </a:cubicBezTo>
                <a:close/>
              </a:path>
            </a:pathLst>
          </a:custGeom>
          <a:solidFill>
            <a:srgbClr val="FFFFFF">
              <a:alpha val="15000"/>
            </a:srgbClr>
          </a:solidFill>
          <a:ln>
            <a:noFill/>
          </a:ln>
        </p:spPr>
        <p:txBody>
          <a:bodyPr vert="horz" wrap="square" lIns="68586" tIns="34293" rIns="68586" bIns="34293" numCol="1" anchor="t" anchorCtr="0" compatLnSpc="1"/>
          <a:lstStyle/>
          <a:p>
            <a:pPr defTabSz="685334">
              <a:defRPr/>
            </a:pPr>
            <a:endParaRPr lang="en-US" sz="1352" kern="0">
              <a:solidFill>
                <a:srgbClr val="000000"/>
              </a:solidFill>
            </a:endParaRPr>
          </a:p>
        </p:txBody>
      </p:sp>
      <p:sp>
        <p:nvSpPr>
          <p:cNvPr id="15" name="Isosceles Triangle 60"/>
          <p:cNvSpPr/>
          <p:nvPr/>
        </p:nvSpPr>
        <p:spPr bwMode="auto">
          <a:xfrm rot="16200000">
            <a:off x="1166356" y="3052629"/>
            <a:ext cx="1075760" cy="1020493"/>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t" anchorCtr="0" forceAA="0" compatLnSpc="1">
            <a:noAutofit/>
          </a:bodyPr>
          <a:lstStyle/>
          <a:p>
            <a:pPr algn="ctr" defTabSz="685334">
              <a:lnSpc>
                <a:spcPct val="90000"/>
              </a:lnSpc>
              <a:defRPr/>
            </a:pPr>
            <a:endParaRPr lang="en-US" sz="1321" b="1" kern="0" dirty="0">
              <a:solidFill>
                <a:srgbClr val="FFFFFF"/>
              </a:solidFill>
              <a:latin typeface="Segoe UI Light" panose="020B0502040204020203"/>
              <a:ea typeface="Segoe UI" panose="020B0502040204020203" pitchFamily="34" charset="0"/>
              <a:cs typeface="Segoe UI" panose="020B0502040204020203" pitchFamily="34" charset="0"/>
            </a:endParaRPr>
          </a:p>
        </p:txBody>
      </p:sp>
      <p:sp>
        <p:nvSpPr>
          <p:cNvPr id="16" name="Oval 424"/>
          <p:cNvSpPr/>
          <p:nvPr/>
        </p:nvSpPr>
        <p:spPr bwMode="auto">
          <a:xfrm>
            <a:off x="1138232" y="2996871"/>
            <a:ext cx="1132007" cy="1132007"/>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ctr" anchorCtr="0" forceAA="0" compatLnSpc="1">
            <a:noAutofit/>
          </a:bodyPr>
          <a:lstStyle/>
          <a:p>
            <a:pPr algn="ctr" defTabSz="685334">
              <a:lnSpc>
                <a:spcPct val="90000"/>
              </a:lnSpc>
              <a:defRPr/>
            </a:pPr>
            <a:r>
              <a:rPr lang="zh-CN" altLang="en-US" sz="1765" kern="0" dirty="0">
                <a:gradFill>
                  <a:gsLst>
                    <a:gs pos="11811">
                      <a:srgbClr val="505050"/>
                    </a:gs>
                    <a:gs pos="40000">
                      <a:srgbClr val="505050"/>
                    </a:gs>
                  </a:gsLst>
                  <a:lin ang="5400000" scaled="1"/>
                </a:gradFill>
                <a:latin typeface="Segoe UI Light" panose="020B0502040204020203"/>
                <a:ea typeface="Segoe UI" panose="020B0502040204020203" pitchFamily="34" charset="0"/>
                <a:cs typeface="Segoe UI" panose="020B0502040204020203" pitchFamily="34" charset="0"/>
              </a:rPr>
              <a:t>智慧园区</a:t>
            </a:r>
            <a:endParaRPr lang="en-US" sz="1765" kern="0" dirty="0">
              <a:gradFill>
                <a:gsLst>
                  <a:gs pos="11811">
                    <a:srgbClr val="505050"/>
                  </a:gs>
                  <a:gs pos="40000">
                    <a:srgbClr val="505050"/>
                  </a:gs>
                </a:gsLst>
                <a:lin ang="5400000" scaled="1"/>
              </a:gradFill>
              <a:latin typeface="Segoe UI Light" panose="020B0502040204020203"/>
              <a:ea typeface="Segoe UI" panose="020B0502040204020203" pitchFamily="34" charset="0"/>
              <a:cs typeface="Segoe UI" panose="020B0502040204020203" pitchFamily="34" charset="0"/>
            </a:endParaRPr>
          </a:p>
        </p:txBody>
      </p:sp>
      <p:grpSp>
        <p:nvGrpSpPr>
          <p:cNvPr id="17" name="Group 425"/>
          <p:cNvGrpSpPr/>
          <p:nvPr/>
        </p:nvGrpSpPr>
        <p:grpSpPr>
          <a:xfrm>
            <a:off x="1233608" y="3088703"/>
            <a:ext cx="941258" cy="948346"/>
            <a:chOff x="1967973" y="3193753"/>
            <a:chExt cx="1254903" cy="1264353"/>
          </a:xfrm>
        </p:grpSpPr>
        <p:sp>
          <p:nvSpPr>
            <p:cNvPr id="18" name="Arc 426"/>
            <p:cNvSpPr/>
            <p:nvPr/>
          </p:nvSpPr>
          <p:spPr>
            <a:xfrm>
              <a:off x="1967973" y="3203203"/>
              <a:ext cx="1254903" cy="125490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algn="ctr" defTabSz="684686">
                <a:defRPr/>
              </a:pPr>
              <a:endParaRPr lang="en-IN" sz="1765" kern="0">
                <a:solidFill>
                  <a:srgbClr val="000000"/>
                </a:solidFill>
                <a:latin typeface="Segoe UI" panose="020B0502040204020203"/>
              </a:endParaRPr>
            </a:p>
          </p:txBody>
        </p:sp>
        <p:sp>
          <p:nvSpPr>
            <p:cNvPr id="19" name="Arc 427"/>
            <p:cNvSpPr/>
            <p:nvPr/>
          </p:nvSpPr>
          <p:spPr>
            <a:xfrm>
              <a:off x="1967973" y="3193753"/>
              <a:ext cx="1254903" cy="1254903"/>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algn="ctr" defTabSz="684686">
                <a:defRPr/>
              </a:pPr>
              <a:endParaRPr lang="en-IN" sz="1765" kern="0">
                <a:solidFill>
                  <a:srgbClr val="000000"/>
                </a:solidFill>
                <a:latin typeface="Segoe UI" panose="020B0502040204020203"/>
              </a:endParaRPr>
            </a:p>
          </p:txBody>
        </p:sp>
      </p:grpSp>
      <p:sp>
        <p:nvSpPr>
          <p:cNvPr id="20" name="Rectangle 428"/>
          <p:cNvSpPr/>
          <p:nvPr/>
        </p:nvSpPr>
        <p:spPr>
          <a:xfrm rot="18493024">
            <a:off x="340315" y="2626621"/>
            <a:ext cx="1725375" cy="1168703"/>
          </a:xfrm>
          <a:prstGeom prst="rect">
            <a:avLst/>
          </a:prstGeom>
        </p:spPr>
        <p:txBody>
          <a:bodyPr wrap="square" anchor="ctr">
            <a:prstTxWarp prst="textArchUp">
              <a:avLst>
                <a:gd name="adj" fmla="val 11674266"/>
              </a:avLst>
            </a:prstTxWarp>
            <a:spAutoFit/>
          </a:bodyPr>
          <a:lstStyle/>
          <a:p>
            <a:pPr algn="ctr" defTabSz="684686">
              <a:lnSpc>
                <a:spcPct val="90000"/>
              </a:lnSpc>
              <a:defRPr/>
            </a:pPr>
            <a:endParaRPr lang="en-US" sz="1352"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21" name="Rectangle 429"/>
          <p:cNvSpPr/>
          <p:nvPr/>
        </p:nvSpPr>
        <p:spPr>
          <a:xfrm rot="3146089">
            <a:off x="1388829" y="2641987"/>
            <a:ext cx="1693569" cy="1168703"/>
          </a:xfrm>
          <a:prstGeom prst="rect">
            <a:avLst/>
          </a:prstGeom>
        </p:spPr>
        <p:txBody>
          <a:bodyPr wrap="square" anchor="ctr">
            <a:prstTxWarp prst="textArchUp">
              <a:avLst>
                <a:gd name="adj" fmla="val 11674266"/>
              </a:avLst>
            </a:prstTxWarp>
            <a:spAutoFit/>
          </a:bodyPr>
          <a:lstStyle/>
          <a:p>
            <a:pPr algn="ctr" defTabSz="684686">
              <a:lnSpc>
                <a:spcPct val="90000"/>
              </a:lnSpc>
              <a:defRPr/>
            </a:pPr>
            <a:r>
              <a:rPr lang="zh-CN" altLang="en-US" sz="2448" b="1" dirty="0" smtClean="0">
                <a:solidFill>
                  <a:srgbClr val="FFFFFF"/>
                </a:solidFill>
                <a:latin typeface="微软雅黑" panose="020B0503020204020204" charset="-122"/>
                <a:ea typeface="微软雅黑" panose="020B0503020204020204" charset="-122"/>
                <a:cs typeface="Segoe UI Semibold" panose="020B0702040204020203" pitchFamily="34" charset="0"/>
              </a:rPr>
              <a:t>工作生活者</a:t>
            </a:r>
            <a:endParaRPr lang="en-US" sz="2448" b="1" dirty="0">
              <a:solidFill>
                <a:srgbClr val="FFFFFF"/>
              </a:solidFill>
              <a:latin typeface="微软雅黑" panose="020B0503020204020204" charset="-122"/>
              <a:ea typeface="微软雅黑" panose="020B0503020204020204" charset="-122"/>
              <a:cs typeface="Segoe UI Semibold" panose="020B0702040204020203" pitchFamily="34" charset="0"/>
            </a:endParaRPr>
          </a:p>
        </p:txBody>
      </p:sp>
      <p:sp>
        <p:nvSpPr>
          <p:cNvPr id="22" name="Rectangle 430"/>
          <p:cNvSpPr/>
          <p:nvPr/>
        </p:nvSpPr>
        <p:spPr>
          <a:xfrm rot="192760">
            <a:off x="728370" y="3539106"/>
            <a:ext cx="1807094" cy="1168703"/>
          </a:xfrm>
          <a:prstGeom prst="rect">
            <a:avLst/>
          </a:prstGeom>
        </p:spPr>
        <p:txBody>
          <a:bodyPr wrap="square" anchor="ctr">
            <a:prstTxWarp prst="textArchDown">
              <a:avLst>
                <a:gd name="adj" fmla="val 882042"/>
              </a:avLst>
            </a:prstTxWarp>
            <a:spAutoFit/>
          </a:bodyPr>
          <a:lstStyle/>
          <a:p>
            <a:pPr algn="ctr" defTabSz="684686">
              <a:lnSpc>
                <a:spcPct val="90000"/>
              </a:lnSpc>
              <a:defRPr/>
            </a:pPr>
            <a:r>
              <a:rPr lang="zh-CN" altLang="en-US" sz="2448" b="1"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企业经营者</a:t>
            </a:r>
            <a:endParaRPr lang="en-US" sz="2448" b="1"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sp>
        <p:nvSpPr>
          <p:cNvPr id="23" name="Rectangle 428"/>
          <p:cNvSpPr/>
          <p:nvPr/>
        </p:nvSpPr>
        <p:spPr>
          <a:xfrm rot="18493024">
            <a:off x="212147" y="2548834"/>
            <a:ext cx="2346630" cy="1589517"/>
          </a:xfrm>
          <a:prstGeom prst="rect">
            <a:avLst/>
          </a:prstGeom>
        </p:spPr>
        <p:txBody>
          <a:bodyPr wrap="square" anchor="ctr">
            <a:prstTxWarp prst="textArchUp">
              <a:avLst>
                <a:gd name="adj" fmla="val 11674266"/>
              </a:avLst>
            </a:prstTxWarp>
            <a:spAutoFit/>
          </a:bodyPr>
          <a:lstStyle/>
          <a:p>
            <a:pPr algn="ctr" defTabSz="931484">
              <a:lnSpc>
                <a:spcPct val="90000"/>
              </a:lnSpc>
              <a:defRPr/>
            </a:pPr>
            <a:r>
              <a:rPr lang="zh-CN" altLang="en-US" sz="2448" dirty="0" smtClean="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园区运营</a:t>
            </a:r>
            <a:r>
              <a:rPr lang="zh-CN" altLang="en-US" sz="2448"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rPr>
              <a:t>者</a:t>
            </a:r>
            <a:endParaRPr lang="en-US" sz="2448"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grpSp>
        <p:nvGrpSpPr>
          <p:cNvPr id="24" name="组合 23"/>
          <p:cNvGrpSpPr/>
          <p:nvPr/>
        </p:nvGrpSpPr>
        <p:grpSpPr>
          <a:xfrm>
            <a:off x="8923347" y="1842714"/>
            <a:ext cx="3384000" cy="3407942"/>
            <a:chOff x="5705262" y="2044181"/>
            <a:chExt cx="3340666" cy="3340665"/>
          </a:xfrm>
        </p:grpSpPr>
        <p:grpSp>
          <p:nvGrpSpPr>
            <p:cNvPr id="25" name="Group 317"/>
            <p:cNvGrpSpPr/>
            <p:nvPr/>
          </p:nvGrpSpPr>
          <p:grpSpPr>
            <a:xfrm>
              <a:off x="5705262" y="2044181"/>
              <a:ext cx="3340666" cy="3340665"/>
              <a:chOff x="3761671" y="1641770"/>
              <a:chExt cx="4543538" cy="4543537"/>
            </a:xfrm>
          </p:grpSpPr>
          <p:grpSp>
            <p:nvGrpSpPr>
              <p:cNvPr id="33" name="Group 318"/>
              <p:cNvGrpSpPr/>
              <p:nvPr/>
            </p:nvGrpSpPr>
            <p:grpSpPr>
              <a:xfrm>
                <a:off x="3761671" y="1641770"/>
                <a:ext cx="4543538" cy="4543537"/>
                <a:chOff x="338991" y="1569498"/>
                <a:chExt cx="4543538" cy="4543537"/>
              </a:xfrm>
            </p:grpSpPr>
            <p:sp>
              <p:nvSpPr>
                <p:cNvPr id="42" name="Oval 328"/>
                <p:cNvSpPr/>
                <p:nvPr/>
              </p:nvSpPr>
              <p:spPr bwMode="auto">
                <a:xfrm>
                  <a:off x="338991" y="1569498"/>
                  <a:ext cx="4543538" cy="4543537"/>
                </a:xfrm>
                <a:prstGeom prst="ellipse">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t" anchorCtr="0" forceAA="0" compatLnSpc="1">
                  <a:noAutofit/>
                </a:bodyPr>
                <a:lstStyle/>
                <a:p>
                  <a:pPr algn="ctr" defTabSz="685334">
                    <a:lnSpc>
                      <a:spcPct val="90000"/>
                    </a:lnSpc>
                    <a:defRPr/>
                  </a:pPr>
                  <a:endParaRPr lang="en-US" sz="1469" b="1" kern="0" dirty="0">
                    <a:solidFill>
                      <a:srgbClr val="FFFFFF"/>
                    </a:solidFill>
                    <a:latin typeface="Segoe UI Light" panose="020B0502040204020203"/>
                    <a:ea typeface="Segoe UI" panose="020B0502040204020203" pitchFamily="34" charset="0"/>
                    <a:cs typeface="Segoe UI" panose="020B0502040204020203" pitchFamily="34" charset="0"/>
                  </a:endParaRPr>
                </a:p>
              </p:txBody>
            </p:sp>
            <p:sp>
              <p:nvSpPr>
                <p:cNvPr id="43" name="Oval 329"/>
                <p:cNvSpPr/>
                <p:nvPr/>
              </p:nvSpPr>
              <p:spPr bwMode="auto">
                <a:xfrm>
                  <a:off x="589316" y="1819822"/>
                  <a:ext cx="4042889" cy="4042888"/>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t" anchorCtr="0" forceAA="0" compatLnSpc="1">
                  <a:noAutofit/>
                </a:bodyPr>
                <a:lstStyle/>
                <a:p>
                  <a:pPr algn="ctr" defTabSz="685334">
                    <a:lnSpc>
                      <a:spcPct val="90000"/>
                    </a:lnSpc>
                    <a:defRPr/>
                  </a:pPr>
                  <a:endParaRPr lang="en-US" sz="1469" b="1" kern="0" dirty="0">
                    <a:solidFill>
                      <a:srgbClr val="FFFFFF"/>
                    </a:solidFill>
                    <a:latin typeface="Segoe UI Light" panose="020B0502040204020203"/>
                    <a:ea typeface="Segoe UI" panose="020B0502040204020203" pitchFamily="34" charset="0"/>
                    <a:cs typeface="Segoe UI" panose="020B0502040204020203" pitchFamily="34" charset="0"/>
                  </a:endParaRPr>
                </a:p>
              </p:txBody>
            </p:sp>
            <p:sp>
              <p:nvSpPr>
                <p:cNvPr id="45" name="AutoShape 3"/>
                <p:cNvSpPr>
                  <a:spLocks noChangeAspect="1" noChangeArrowheads="1" noTextEdit="1"/>
                </p:cNvSpPr>
                <p:nvPr/>
              </p:nvSpPr>
              <p:spPr bwMode="auto">
                <a:xfrm>
                  <a:off x="663575" y="1893888"/>
                  <a:ext cx="3895725"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6" tIns="34293" rIns="68586" bIns="34293" numCol="1" anchor="t" anchorCtr="0" compatLnSpc="1"/>
                <a:lstStyle/>
                <a:p>
                  <a:pPr defTabSz="685334">
                    <a:defRPr/>
                  </a:pPr>
                  <a:endParaRPr lang="en-US" sz="1352" kern="0">
                    <a:solidFill>
                      <a:srgbClr val="000000"/>
                    </a:solidFill>
                  </a:endParaRPr>
                </a:p>
              </p:txBody>
            </p:sp>
          </p:grpSp>
          <p:grpSp>
            <p:nvGrpSpPr>
              <p:cNvPr id="34" name="Group 319"/>
              <p:cNvGrpSpPr/>
              <p:nvPr/>
            </p:nvGrpSpPr>
            <p:grpSpPr>
              <a:xfrm>
                <a:off x="4764543" y="3196427"/>
                <a:ext cx="2698064" cy="1595321"/>
                <a:chOff x="1341863" y="3124155"/>
                <a:chExt cx="2698064" cy="1595321"/>
              </a:xfrm>
            </p:grpSpPr>
            <p:sp>
              <p:nvSpPr>
                <p:cNvPr id="37" name="Isosceles Triangle 60"/>
                <p:cNvSpPr/>
                <p:nvPr/>
              </p:nvSpPr>
              <p:spPr bwMode="auto">
                <a:xfrm rot="16200000">
                  <a:off x="1893648" y="3160996"/>
                  <a:ext cx="1434224" cy="1360541"/>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t" anchorCtr="0" forceAA="0" compatLnSpc="1">
                  <a:noAutofit/>
                </a:bodyPr>
                <a:lstStyle/>
                <a:p>
                  <a:pPr algn="ctr" defTabSz="685334">
                    <a:lnSpc>
                      <a:spcPct val="90000"/>
                    </a:lnSpc>
                    <a:defRPr/>
                  </a:pPr>
                  <a:endParaRPr lang="en-US" sz="1321" b="1" kern="0" dirty="0">
                    <a:solidFill>
                      <a:srgbClr val="FFFFFF"/>
                    </a:solidFill>
                    <a:latin typeface="Segoe UI Light" panose="020B0502040204020203"/>
                    <a:ea typeface="Segoe UI" panose="020B0502040204020203" pitchFamily="34" charset="0"/>
                    <a:cs typeface="Segoe UI" panose="020B0502040204020203" pitchFamily="34" charset="0"/>
                  </a:endParaRPr>
                </a:p>
              </p:txBody>
            </p:sp>
            <p:sp>
              <p:nvSpPr>
                <p:cNvPr id="38" name="Oval 324"/>
                <p:cNvSpPr/>
                <p:nvPr/>
              </p:nvSpPr>
              <p:spPr bwMode="auto">
                <a:xfrm>
                  <a:off x="1341863" y="3280657"/>
                  <a:ext cx="2698064" cy="1438819"/>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40" tIns="107552" rIns="134440" bIns="107552" numCol="1" spcCol="0" rtlCol="0" fromWordArt="0" anchor="ctr" anchorCtr="0" forceAA="0" compatLnSpc="1">
                  <a:noAutofit/>
                </a:bodyPr>
                <a:lstStyle/>
                <a:p>
                  <a:pPr algn="ctr" defTabSz="685334">
                    <a:lnSpc>
                      <a:spcPct val="90000"/>
                    </a:lnSpc>
                    <a:defRPr/>
                  </a:pPr>
                  <a:r>
                    <a:rPr lang="zh-CN" altLang="en-US" sz="2448" b="1" kern="0" dirty="0">
                      <a:solidFill>
                        <a:srgbClr val="C00000"/>
                      </a:solidFill>
                      <a:latin typeface="Segoe UI Light" panose="020B0502040204020203"/>
                      <a:ea typeface="Segoe UI" panose="020B0502040204020203" pitchFamily="34" charset="0"/>
                      <a:cs typeface="Segoe UI" panose="020B0502040204020203" pitchFamily="34" charset="0"/>
                    </a:rPr>
                    <a:t>互联网</a:t>
                  </a:r>
                  <a:r>
                    <a:rPr lang="en-US" altLang="zh-CN" sz="2448" b="1" kern="0" dirty="0">
                      <a:solidFill>
                        <a:srgbClr val="C00000"/>
                      </a:solidFill>
                      <a:latin typeface="Segoe UI Light" panose="020B0502040204020203"/>
                      <a:ea typeface="Segoe UI" panose="020B0502040204020203" pitchFamily="34" charset="0"/>
                      <a:cs typeface="Segoe UI" panose="020B0502040204020203" pitchFamily="34" charset="0"/>
                    </a:rPr>
                    <a:t>+</a:t>
                  </a:r>
                  <a:endParaRPr lang="en-US" sz="2448" b="1" kern="0" dirty="0">
                    <a:solidFill>
                      <a:srgbClr val="C00000"/>
                    </a:solidFill>
                    <a:latin typeface="Segoe UI Light" panose="020B0502040204020203"/>
                    <a:ea typeface="Segoe UI" panose="020B0502040204020203" pitchFamily="34" charset="0"/>
                    <a:cs typeface="Segoe UI" panose="020B0502040204020203" pitchFamily="34" charset="0"/>
                  </a:endParaRPr>
                </a:p>
              </p:txBody>
            </p:sp>
            <p:grpSp>
              <p:nvGrpSpPr>
                <p:cNvPr id="39" name="Group 325"/>
                <p:cNvGrpSpPr/>
                <p:nvPr/>
              </p:nvGrpSpPr>
              <p:grpSpPr>
                <a:xfrm>
                  <a:off x="1755052" y="3209089"/>
                  <a:ext cx="1701968" cy="1483162"/>
                  <a:chOff x="1739716" y="3193752"/>
                  <a:chExt cx="1701968" cy="1483162"/>
                </a:xfrm>
              </p:grpSpPr>
              <p:sp>
                <p:nvSpPr>
                  <p:cNvPr id="40" name="Arc 326"/>
                  <p:cNvSpPr/>
                  <p:nvPr/>
                </p:nvSpPr>
                <p:spPr>
                  <a:xfrm>
                    <a:off x="1967972" y="3203201"/>
                    <a:ext cx="1473712" cy="1473713"/>
                  </a:xfrm>
                  <a:prstGeom prst="arc">
                    <a:avLst>
                      <a:gd name="adj1" fmla="val 16098641"/>
                      <a:gd name="adj2" fmla="val 50874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algn="ctr" defTabSz="684686">
                      <a:defRPr/>
                    </a:pPr>
                    <a:endParaRPr lang="en-IN" sz="1765" kern="0">
                      <a:solidFill>
                        <a:srgbClr val="000000"/>
                      </a:solidFill>
                      <a:latin typeface="Segoe UI" panose="020B0502040204020203"/>
                    </a:endParaRPr>
                  </a:p>
                </p:txBody>
              </p:sp>
              <p:sp>
                <p:nvSpPr>
                  <p:cNvPr id="41" name="Arc 327"/>
                  <p:cNvSpPr/>
                  <p:nvPr/>
                </p:nvSpPr>
                <p:spPr>
                  <a:xfrm>
                    <a:off x="1739716" y="3193752"/>
                    <a:ext cx="1483162" cy="1483162"/>
                  </a:xfrm>
                  <a:prstGeom prst="arc">
                    <a:avLst>
                      <a:gd name="adj1" fmla="val 5248846"/>
                      <a:gd name="adj2" fmla="val 15958771"/>
                    </a:avLst>
                  </a:prstGeom>
                  <a:noFill/>
                  <a:ln w="57150" cap="flat" cmpd="sng" algn="ctr">
                    <a:solidFill>
                      <a:srgbClr val="D2D2D2">
                        <a:lumMod val="50000"/>
                      </a:srgbClr>
                    </a:solidFill>
                    <a:prstDash val="solid"/>
                    <a:headEnd type="none" w="med" len="med"/>
                    <a:tailEnd type="triangle" w="med" len="med"/>
                  </a:ln>
                  <a:effectLst/>
                </p:spPr>
                <p:txBody>
                  <a:bodyPr rtlCol="0" anchor="ctr"/>
                  <a:lstStyle/>
                  <a:p>
                    <a:pPr algn="ctr" defTabSz="684686">
                      <a:defRPr/>
                    </a:pPr>
                    <a:endParaRPr lang="en-IN" sz="1765" kern="0">
                      <a:solidFill>
                        <a:srgbClr val="000000"/>
                      </a:solidFill>
                      <a:latin typeface="Segoe UI" panose="020B0502040204020203"/>
                    </a:endParaRPr>
                  </a:p>
                </p:txBody>
              </p:sp>
            </p:grpSp>
          </p:grpSp>
          <p:sp>
            <p:nvSpPr>
              <p:cNvPr id="35" name="Rectangle 320"/>
              <p:cNvSpPr/>
              <p:nvPr/>
            </p:nvSpPr>
            <p:spPr>
              <a:xfrm rot="18493024">
                <a:off x="4215035" y="2665305"/>
                <a:ext cx="2300304" cy="1558138"/>
              </a:xfrm>
              <a:prstGeom prst="rect">
                <a:avLst/>
              </a:prstGeom>
            </p:spPr>
            <p:txBody>
              <a:bodyPr wrap="square" anchor="ctr">
                <a:prstTxWarp prst="textArchUp">
                  <a:avLst>
                    <a:gd name="adj" fmla="val 11674266"/>
                  </a:avLst>
                </a:prstTxWarp>
                <a:spAutoFit/>
              </a:bodyPr>
              <a:lstStyle/>
              <a:p>
                <a:pPr algn="ctr" defTabSz="684686">
                  <a:lnSpc>
                    <a:spcPct val="90000"/>
                  </a:lnSpc>
                  <a:defRPr/>
                </a:pPr>
                <a:r>
                  <a:rPr lang="zh-CN" altLang="en-US" sz="1632" b="1" kern="0" dirty="0">
                    <a:solidFill>
                      <a:srgbClr val="FFFFFF"/>
                    </a:solidFill>
                    <a:latin typeface="微软雅黑" panose="020B0503020204020204" charset="-122"/>
                    <a:ea typeface="微软雅黑" panose="020B0503020204020204" charset="-122"/>
                    <a:cs typeface="Segoe UI Semibold" panose="020B0702040204020203" pitchFamily="34" charset="0"/>
                  </a:rPr>
                  <a:t>云计算</a:t>
                </a:r>
                <a:endParaRPr lang="en-US" sz="1632" b="1" kern="0" dirty="0">
                  <a:solidFill>
                    <a:srgbClr val="FFFFFF"/>
                  </a:solidFill>
                  <a:latin typeface="微软雅黑" panose="020B0503020204020204" charset="-122"/>
                  <a:ea typeface="微软雅黑" panose="020B0503020204020204" charset="-122"/>
                  <a:cs typeface="Segoe UI Semibold" panose="020B0702040204020203" pitchFamily="34" charset="0"/>
                </a:endParaRPr>
              </a:p>
            </p:txBody>
          </p:sp>
          <p:sp>
            <p:nvSpPr>
              <p:cNvPr id="36" name="Rectangle 322"/>
              <p:cNvSpPr/>
              <p:nvPr/>
            </p:nvSpPr>
            <p:spPr>
              <a:xfrm rot="192760">
                <a:off x="4775091" y="4006519"/>
                <a:ext cx="2698529" cy="1605300"/>
              </a:xfrm>
              <a:prstGeom prst="rect">
                <a:avLst/>
              </a:prstGeom>
            </p:spPr>
            <p:txBody>
              <a:bodyPr wrap="square" anchor="ctr">
                <a:prstTxWarp prst="textArchDown">
                  <a:avLst>
                    <a:gd name="adj" fmla="val 882042"/>
                  </a:avLst>
                </a:prstTxWarp>
                <a:spAutoFit/>
              </a:bodyPr>
              <a:lstStyle/>
              <a:p>
                <a:pPr algn="ctr" defTabSz="684686">
                  <a:lnSpc>
                    <a:spcPct val="90000"/>
                  </a:lnSpc>
                  <a:defRPr/>
                </a:pPr>
                <a:r>
                  <a:rPr lang="zh-CN" altLang="en-US" sz="2040" b="1" kern="0" dirty="0">
                    <a:solidFill>
                      <a:srgbClr val="FFFFFF"/>
                    </a:solidFill>
                    <a:latin typeface="微软雅黑" panose="020B0503020204020204" charset="-122"/>
                    <a:ea typeface="微软雅黑" panose="020B0503020204020204" charset="-122"/>
                    <a:cs typeface="Segoe UI Semibold" panose="020B0702040204020203" pitchFamily="34" charset="0"/>
                  </a:rPr>
                  <a:t>入驻企业</a:t>
                </a:r>
                <a:r>
                  <a:rPr lang="en-US" altLang="zh-CN" sz="2040" b="1" kern="0" dirty="0">
                    <a:solidFill>
                      <a:srgbClr val="FFFFFF"/>
                    </a:solidFill>
                    <a:latin typeface="微软雅黑" panose="020B0503020204020204" charset="-122"/>
                    <a:ea typeface="微软雅黑" panose="020B0503020204020204" charset="-122"/>
                    <a:cs typeface="Segoe UI Semibold" panose="020B0702040204020203" pitchFamily="34" charset="0"/>
                  </a:rPr>
                  <a:t>/</a:t>
                </a:r>
                <a:r>
                  <a:rPr lang="zh-CN" altLang="en-US" sz="2040" b="1" kern="0" dirty="0">
                    <a:solidFill>
                      <a:srgbClr val="FFFFFF"/>
                    </a:solidFill>
                    <a:latin typeface="微软雅黑" panose="020B0503020204020204" charset="-122"/>
                    <a:ea typeface="微软雅黑" panose="020B0503020204020204" charset="-122"/>
                    <a:cs typeface="Segoe UI Semibold" panose="020B0702040204020203" pitchFamily="34" charset="0"/>
                  </a:rPr>
                  <a:t>创业团队</a:t>
                </a:r>
                <a:endParaRPr lang="en-US" altLang="zh-CN" sz="2040" b="1" kern="0" dirty="0">
                  <a:solidFill>
                    <a:srgbClr val="FFFFFF"/>
                  </a:solidFill>
                  <a:latin typeface="微软雅黑" panose="020B0503020204020204" charset="-122"/>
                  <a:ea typeface="微软雅黑" panose="020B0503020204020204" charset="-122"/>
                  <a:cs typeface="Segoe UI Semibold" panose="020B0702040204020203" pitchFamily="34" charset="0"/>
                </a:endParaRPr>
              </a:p>
              <a:p>
                <a:pPr algn="ctr" defTabSz="684686">
                  <a:lnSpc>
                    <a:spcPct val="90000"/>
                  </a:lnSpc>
                  <a:defRPr/>
                </a:pPr>
                <a:endParaRPr lang="en-US" sz="1352" kern="0" dirty="0">
                  <a:solidFill>
                    <a:srgbClr val="FFFFFF"/>
                  </a:solidFill>
                  <a:latin typeface="Segoe UI Semibold" panose="020B0702040204020203" pitchFamily="34" charset="0"/>
                  <a:ea typeface="MS PGothic" panose="020B0600070205080204" pitchFamily="34" charset="-128"/>
                  <a:cs typeface="Segoe UI Semibold" panose="020B0702040204020203" pitchFamily="34" charset="0"/>
                </a:endParaRPr>
              </a:p>
            </p:txBody>
          </p:sp>
        </p:grpSp>
        <p:sp>
          <p:nvSpPr>
            <p:cNvPr id="26" name="标题 1"/>
            <p:cNvSpPr txBox="1"/>
            <p:nvPr/>
          </p:nvSpPr>
          <p:spPr>
            <a:xfrm>
              <a:off x="5988375" y="2872477"/>
              <a:ext cx="1620028" cy="474119"/>
            </a:xfrm>
            <a:prstGeom prst="rect">
              <a:avLst/>
            </a:prstGeom>
          </p:spPr>
          <p:txBody>
            <a:bodyPr vert="horz" lIns="93282" tIns="46641" rIns="93282" bIns="46641" rtlCol="0" anchor="ctr">
              <a:noAutofit/>
            </a:bodyPr>
            <a:lstStyle>
              <a:lvl1pPr algn="l" defTabSz="914400" rtl="0" eaLnBrk="1" latinLnBrk="0" hangingPunct="1">
                <a:spcBef>
                  <a:spcPct val="0"/>
                </a:spcBef>
                <a:buNone/>
                <a:defRPr sz="2200" b="1" kern="1200">
                  <a:solidFill>
                    <a:srgbClr val="0054A6"/>
                  </a:solidFill>
                  <a:latin typeface="微软雅黑" panose="020B0503020204020204" charset="-122"/>
                  <a:ea typeface="微软雅黑" panose="020B0503020204020204" charset="-122"/>
                  <a:cs typeface="+mj-cs"/>
                </a:defRPr>
              </a:lvl1pPr>
            </a:lstStyle>
            <a:p>
              <a:r>
                <a:rPr lang="zh-CN" altLang="en-US" sz="2448" dirty="0">
                  <a:solidFill>
                    <a:schemeClr val="tx1">
                      <a:lumMod val="65000"/>
                      <a:lumOff val="35000"/>
                    </a:schemeClr>
                  </a:solidFill>
                </a:rPr>
                <a:t>云计算</a:t>
              </a:r>
            </a:p>
          </p:txBody>
        </p:sp>
        <p:sp>
          <p:nvSpPr>
            <p:cNvPr id="27" name="标题 1"/>
            <p:cNvSpPr txBox="1"/>
            <p:nvPr/>
          </p:nvSpPr>
          <p:spPr>
            <a:xfrm>
              <a:off x="6922919" y="2386274"/>
              <a:ext cx="1620028" cy="474119"/>
            </a:xfrm>
            <a:prstGeom prst="rect">
              <a:avLst/>
            </a:prstGeom>
          </p:spPr>
          <p:txBody>
            <a:bodyPr vert="horz" lIns="93282" tIns="46641" rIns="93282" bIns="46641" rtlCol="0" anchor="ctr">
              <a:noAutofit/>
            </a:bodyPr>
            <a:lstStyle>
              <a:lvl1pPr algn="l" defTabSz="914400" rtl="0" eaLnBrk="1" latinLnBrk="0" hangingPunct="1">
                <a:spcBef>
                  <a:spcPct val="0"/>
                </a:spcBef>
                <a:buNone/>
                <a:defRPr sz="2200" b="1" kern="1200">
                  <a:solidFill>
                    <a:srgbClr val="0054A6"/>
                  </a:solidFill>
                  <a:latin typeface="微软雅黑" panose="020B0503020204020204" charset="-122"/>
                  <a:ea typeface="微软雅黑" panose="020B0503020204020204" charset="-122"/>
                  <a:cs typeface="+mj-cs"/>
                </a:defRPr>
              </a:lvl1pPr>
            </a:lstStyle>
            <a:p>
              <a:r>
                <a:rPr lang="zh-CN" altLang="en-US" sz="2448" dirty="0">
                  <a:solidFill>
                    <a:schemeClr val="tx1">
                      <a:lumMod val="65000"/>
                      <a:lumOff val="35000"/>
                    </a:schemeClr>
                  </a:solidFill>
                </a:rPr>
                <a:t>大数据</a:t>
              </a:r>
            </a:p>
          </p:txBody>
        </p:sp>
        <p:sp>
          <p:nvSpPr>
            <p:cNvPr id="28" name="标题 1"/>
            <p:cNvSpPr txBox="1"/>
            <p:nvPr/>
          </p:nvSpPr>
          <p:spPr>
            <a:xfrm>
              <a:off x="5929524" y="4119361"/>
              <a:ext cx="1620028" cy="474119"/>
            </a:xfrm>
            <a:prstGeom prst="rect">
              <a:avLst/>
            </a:prstGeom>
          </p:spPr>
          <p:txBody>
            <a:bodyPr vert="horz" lIns="93282" tIns="46641" rIns="93282" bIns="46641" rtlCol="0" anchor="ctr">
              <a:noAutofit/>
            </a:bodyPr>
            <a:lstStyle>
              <a:lvl1pPr algn="l" defTabSz="914400" rtl="0" eaLnBrk="1" latinLnBrk="0" hangingPunct="1">
                <a:spcBef>
                  <a:spcPct val="0"/>
                </a:spcBef>
                <a:buNone/>
                <a:defRPr sz="2200" b="1" kern="1200">
                  <a:solidFill>
                    <a:srgbClr val="0054A6"/>
                  </a:solidFill>
                  <a:latin typeface="微软雅黑" panose="020B0503020204020204" charset="-122"/>
                  <a:ea typeface="微软雅黑" panose="020B0503020204020204" charset="-122"/>
                  <a:cs typeface="+mj-cs"/>
                </a:defRPr>
              </a:lvl1pPr>
            </a:lstStyle>
            <a:p>
              <a:r>
                <a:rPr lang="zh-CN" altLang="en-US" sz="2448" dirty="0">
                  <a:solidFill>
                    <a:schemeClr val="tx1">
                      <a:lumMod val="65000"/>
                      <a:lumOff val="35000"/>
                    </a:schemeClr>
                  </a:solidFill>
                </a:rPr>
                <a:t>物联网</a:t>
              </a:r>
            </a:p>
          </p:txBody>
        </p:sp>
        <p:sp>
          <p:nvSpPr>
            <p:cNvPr id="29" name="标题 1"/>
            <p:cNvSpPr txBox="1"/>
            <p:nvPr/>
          </p:nvSpPr>
          <p:spPr>
            <a:xfrm>
              <a:off x="7976278" y="3112821"/>
              <a:ext cx="811654" cy="474119"/>
            </a:xfrm>
            <a:prstGeom prst="rect">
              <a:avLst/>
            </a:prstGeom>
          </p:spPr>
          <p:txBody>
            <a:bodyPr vert="horz" lIns="93282" tIns="46641" rIns="93282" bIns="46641" rtlCol="0" anchor="ctr">
              <a:noAutofit/>
            </a:bodyPr>
            <a:lstStyle>
              <a:lvl1pPr algn="l" defTabSz="914400" rtl="0" eaLnBrk="1" latinLnBrk="0" hangingPunct="1">
                <a:spcBef>
                  <a:spcPct val="0"/>
                </a:spcBef>
                <a:buNone/>
                <a:defRPr sz="2200" b="1" kern="1200">
                  <a:solidFill>
                    <a:srgbClr val="0054A6"/>
                  </a:solidFill>
                  <a:latin typeface="微软雅黑" panose="020B0503020204020204" charset="-122"/>
                  <a:ea typeface="微软雅黑" panose="020B0503020204020204" charset="-122"/>
                  <a:cs typeface="+mj-cs"/>
                </a:defRPr>
              </a:lvl1pPr>
            </a:lstStyle>
            <a:p>
              <a:r>
                <a:rPr lang="zh-CN" altLang="en-US" sz="2448" dirty="0">
                  <a:solidFill>
                    <a:schemeClr val="tx1">
                      <a:lumMod val="65000"/>
                      <a:lumOff val="35000"/>
                    </a:schemeClr>
                  </a:solidFill>
                </a:rPr>
                <a:t>移动</a:t>
              </a:r>
              <a:endParaRPr lang="en-US" altLang="zh-CN" sz="2448" dirty="0">
                <a:solidFill>
                  <a:schemeClr val="tx1">
                    <a:lumMod val="65000"/>
                    <a:lumOff val="35000"/>
                  </a:schemeClr>
                </a:solidFill>
              </a:endParaRPr>
            </a:p>
            <a:p>
              <a:r>
                <a:rPr lang="zh-CN" altLang="en-US" sz="2448" dirty="0">
                  <a:solidFill>
                    <a:schemeClr val="tx1">
                      <a:lumMod val="65000"/>
                      <a:lumOff val="35000"/>
                    </a:schemeClr>
                  </a:solidFill>
                </a:rPr>
                <a:t>互联</a:t>
              </a:r>
            </a:p>
          </p:txBody>
        </p:sp>
        <p:sp>
          <p:nvSpPr>
            <p:cNvPr id="30" name="标题 1"/>
            <p:cNvSpPr txBox="1"/>
            <p:nvPr/>
          </p:nvSpPr>
          <p:spPr>
            <a:xfrm>
              <a:off x="7843834" y="4178795"/>
              <a:ext cx="815545" cy="474119"/>
            </a:xfrm>
            <a:prstGeom prst="rect">
              <a:avLst/>
            </a:prstGeom>
          </p:spPr>
          <p:txBody>
            <a:bodyPr vert="horz" lIns="93282" tIns="46641" rIns="93282" bIns="46641" rtlCol="0" anchor="ctr">
              <a:noAutofit/>
            </a:bodyPr>
            <a:lstStyle>
              <a:lvl1pPr algn="l" defTabSz="914400" rtl="0" eaLnBrk="1" latinLnBrk="0" hangingPunct="1">
                <a:spcBef>
                  <a:spcPct val="0"/>
                </a:spcBef>
                <a:buNone/>
                <a:defRPr sz="2200" b="1" kern="1200">
                  <a:solidFill>
                    <a:srgbClr val="0054A6"/>
                  </a:solidFill>
                  <a:latin typeface="微软雅黑" panose="020B0503020204020204" charset="-122"/>
                  <a:ea typeface="微软雅黑" panose="020B0503020204020204" charset="-122"/>
                  <a:cs typeface="+mj-cs"/>
                </a:defRPr>
              </a:lvl1pPr>
            </a:lstStyle>
            <a:p>
              <a:r>
                <a:rPr lang="zh-CN" altLang="en-US" sz="2448" dirty="0">
                  <a:solidFill>
                    <a:schemeClr val="tx1">
                      <a:lumMod val="65000"/>
                      <a:lumOff val="35000"/>
                    </a:schemeClr>
                  </a:solidFill>
                </a:rPr>
                <a:t>智能</a:t>
              </a:r>
              <a:endParaRPr lang="en-US" altLang="zh-CN" sz="2448" dirty="0">
                <a:solidFill>
                  <a:schemeClr val="tx1">
                    <a:lumMod val="65000"/>
                    <a:lumOff val="35000"/>
                  </a:schemeClr>
                </a:solidFill>
              </a:endParaRPr>
            </a:p>
            <a:p>
              <a:r>
                <a:rPr lang="zh-CN" altLang="en-US" sz="2448" dirty="0">
                  <a:solidFill>
                    <a:schemeClr val="tx1">
                      <a:lumMod val="65000"/>
                      <a:lumOff val="35000"/>
                    </a:schemeClr>
                  </a:solidFill>
                </a:rPr>
                <a:t>硬件</a:t>
              </a:r>
            </a:p>
          </p:txBody>
        </p:sp>
        <p:sp>
          <p:nvSpPr>
            <p:cNvPr id="31" name="标题 1"/>
            <p:cNvSpPr txBox="1"/>
            <p:nvPr/>
          </p:nvSpPr>
          <p:spPr>
            <a:xfrm>
              <a:off x="6580566" y="4625664"/>
              <a:ext cx="1620028" cy="474119"/>
            </a:xfrm>
            <a:prstGeom prst="rect">
              <a:avLst/>
            </a:prstGeom>
          </p:spPr>
          <p:txBody>
            <a:bodyPr vert="horz" lIns="93282" tIns="46641" rIns="93282" bIns="46641" rtlCol="0" anchor="ctr">
              <a:noAutofit/>
            </a:bodyPr>
            <a:lstStyle>
              <a:lvl1pPr algn="l" defTabSz="914400" rtl="0" eaLnBrk="1" latinLnBrk="0" hangingPunct="1">
                <a:spcBef>
                  <a:spcPct val="0"/>
                </a:spcBef>
                <a:buNone/>
                <a:defRPr sz="2200" b="1" kern="1200">
                  <a:solidFill>
                    <a:srgbClr val="0054A6"/>
                  </a:solidFill>
                  <a:latin typeface="微软雅黑" panose="020B0503020204020204" charset="-122"/>
                  <a:ea typeface="微软雅黑" panose="020B0503020204020204" charset="-122"/>
                  <a:cs typeface="+mj-cs"/>
                </a:defRPr>
              </a:lvl1pPr>
            </a:lstStyle>
            <a:p>
              <a:r>
                <a:rPr lang="zh-CN" altLang="en-US" sz="2448" dirty="0">
                  <a:solidFill>
                    <a:schemeClr val="tx1">
                      <a:lumMod val="65000"/>
                      <a:lumOff val="35000"/>
                    </a:schemeClr>
                  </a:solidFill>
                </a:rPr>
                <a:t>三维</a:t>
              </a:r>
              <a:r>
                <a:rPr lang="en-US" altLang="zh-CN" sz="2448" dirty="0">
                  <a:solidFill>
                    <a:schemeClr val="tx1">
                      <a:lumMod val="65000"/>
                      <a:lumOff val="35000"/>
                    </a:schemeClr>
                  </a:solidFill>
                </a:rPr>
                <a:t>GIS</a:t>
              </a:r>
              <a:endParaRPr lang="zh-CN" altLang="en-US" sz="2448" dirty="0">
                <a:solidFill>
                  <a:schemeClr val="tx1">
                    <a:lumMod val="65000"/>
                    <a:lumOff val="35000"/>
                  </a:schemeClr>
                </a:solidFill>
              </a:endParaRPr>
            </a:p>
          </p:txBody>
        </p:sp>
        <p:sp>
          <p:nvSpPr>
            <p:cNvPr id="32" name="标题 1"/>
            <p:cNvSpPr txBox="1"/>
            <p:nvPr/>
          </p:nvSpPr>
          <p:spPr>
            <a:xfrm>
              <a:off x="5936416" y="3448879"/>
              <a:ext cx="1620028" cy="474119"/>
            </a:xfrm>
            <a:prstGeom prst="rect">
              <a:avLst/>
            </a:prstGeom>
          </p:spPr>
          <p:txBody>
            <a:bodyPr vert="horz" lIns="93282" tIns="46641" rIns="93282" bIns="46641" rtlCol="0" anchor="ctr">
              <a:noAutofit/>
            </a:bodyPr>
            <a:lstStyle>
              <a:lvl1pPr algn="l" defTabSz="914400" rtl="0" eaLnBrk="1" latinLnBrk="0" hangingPunct="1">
                <a:spcBef>
                  <a:spcPct val="0"/>
                </a:spcBef>
                <a:buNone/>
                <a:defRPr sz="2200" b="1" kern="1200">
                  <a:solidFill>
                    <a:srgbClr val="0054A6"/>
                  </a:solidFill>
                  <a:latin typeface="微软雅黑" panose="020B0503020204020204" charset="-122"/>
                  <a:ea typeface="微软雅黑" panose="020B0503020204020204" charset="-122"/>
                  <a:cs typeface="+mj-cs"/>
                </a:defRPr>
              </a:lvl1pPr>
            </a:lstStyle>
            <a:p>
              <a:r>
                <a:rPr lang="en-US" altLang="zh-CN" sz="2448" dirty="0">
                  <a:solidFill>
                    <a:schemeClr val="tx1">
                      <a:lumMod val="65000"/>
                      <a:lumOff val="35000"/>
                    </a:schemeClr>
                  </a:solidFill>
                </a:rPr>
                <a:t>AI</a:t>
              </a:r>
              <a:endParaRPr lang="zh-CN" altLang="en-US" sz="2448" dirty="0">
                <a:solidFill>
                  <a:schemeClr val="tx1">
                    <a:lumMod val="65000"/>
                    <a:lumOff val="35000"/>
                  </a:schemeClr>
                </a:solidFill>
              </a:endParaRPr>
            </a:p>
          </p:txBody>
        </p:sp>
      </p:grpSp>
      <p:grpSp>
        <p:nvGrpSpPr>
          <p:cNvPr id="47" name="Group 6"/>
          <p:cNvGrpSpPr/>
          <p:nvPr/>
        </p:nvGrpSpPr>
        <p:grpSpPr>
          <a:xfrm>
            <a:off x="3617301" y="4293862"/>
            <a:ext cx="5180891" cy="1413993"/>
            <a:chOff x="5040711" y="5018720"/>
            <a:chExt cx="6907267" cy="1569670"/>
          </a:xfrm>
        </p:grpSpPr>
        <p:sp>
          <p:nvSpPr>
            <p:cNvPr id="48" name="Flowchart: Magnetic Disk 86"/>
            <p:cNvSpPr/>
            <p:nvPr/>
          </p:nvSpPr>
          <p:spPr bwMode="auto">
            <a:xfrm flipH="1">
              <a:off x="5167599" y="5018720"/>
              <a:ext cx="210553" cy="253015"/>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34422" tIns="107537" rIns="134422" bIns="107537" numCol="1" spcCol="0" rtlCol="0" fromWordArt="0" anchor="t" anchorCtr="0" forceAA="0" compatLnSpc="1">
              <a:noAutofit/>
            </a:bodyPr>
            <a:lstStyle/>
            <a:p>
              <a:pPr algn="ctr" defTabSz="685334">
                <a:lnSpc>
                  <a:spcPct val="90000"/>
                </a:lnSpc>
                <a:defRPr/>
              </a:pPr>
              <a:endParaRPr lang="en-US" sz="882" kern="0" dirty="0">
                <a:gradFill>
                  <a:gsLst>
                    <a:gs pos="0">
                      <a:srgbClr val="FFFFFF"/>
                    </a:gs>
                    <a:gs pos="100000">
                      <a:srgbClr val="FFFFFF"/>
                    </a:gs>
                  </a:gsLst>
                  <a:lin ang="5400000" scaled="0"/>
                </a:gradFill>
                <a:ea typeface="Segoe UI" panose="020B0502040204020203" pitchFamily="34" charset="0"/>
                <a:cs typeface="Segoe UI" panose="020B0502040204020203" pitchFamily="34" charset="0"/>
              </a:endParaRPr>
            </a:p>
          </p:txBody>
        </p:sp>
        <p:grpSp>
          <p:nvGrpSpPr>
            <p:cNvPr id="49" name="Group 374"/>
            <p:cNvGrpSpPr/>
            <p:nvPr/>
          </p:nvGrpSpPr>
          <p:grpSpPr>
            <a:xfrm>
              <a:off x="9314389" y="5619032"/>
              <a:ext cx="367488" cy="351441"/>
              <a:chOff x="8631671" y="5371382"/>
              <a:chExt cx="367488" cy="351441"/>
            </a:xfrm>
            <a:solidFill>
              <a:srgbClr val="FFFFFF"/>
            </a:solidFill>
          </p:grpSpPr>
          <p:sp>
            <p:nvSpPr>
              <p:cNvPr id="56" name="Freeform 7"/>
              <p:cNvSpPr/>
              <p:nvPr/>
            </p:nvSpPr>
            <p:spPr bwMode="auto">
              <a:xfrm>
                <a:off x="8641097" y="5371382"/>
                <a:ext cx="46634" cy="107259"/>
              </a:xfrm>
              <a:custGeom>
                <a:avLst/>
                <a:gdLst>
                  <a:gd name="T0" fmla="*/ 21 w 21"/>
                  <a:gd name="T1" fmla="*/ 0 h 49"/>
                  <a:gd name="T2" fmla="*/ 21 w 21"/>
                  <a:gd name="T3" fmla="*/ 49 h 49"/>
                  <a:gd name="T4" fmla="*/ 11 w 21"/>
                  <a:gd name="T5" fmla="*/ 49 h 49"/>
                  <a:gd name="T6" fmla="*/ 11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1" y="49"/>
                      <a:pt x="11" y="49"/>
                      <a:pt x="11" y="49"/>
                    </a:cubicBezTo>
                    <a:cubicBezTo>
                      <a:pt x="11" y="12"/>
                      <a:pt x="11" y="12"/>
                      <a:pt x="11"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1" y="3"/>
                      <a:pt x="13" y="2"/>
                      <a:pt x="15" y="0"/>
                    </a:cubicBezTo>
                    <a:lnTo>
                      <a:pt x="21" y="0"/>
                    </a:ln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57" name="Freeform 8"/>
              <p:cNvSpPr>
                <a:spLocks noEditPoints="1"/>
              </p:cNvSpPr>
              <p:nvPr/>
            </p:nvSpPr>
            <p:spPr bwMode="auto">
              <a:xfrm>
                <a:off x="8706981" y="5371382"/>
                <a:ext cx="74616" cy="107259"/>
              </a:xfrm>
              <a:custGeom>
                <a:avLst/>
                <a:gdLst>
                  <a:gd name="T0" fmla="*/ 17 w 34"/>
                  <a:gd name="T1" fmla="*/ 49 h 49"/>
                  <a:gd name="T2" fmla="*/ 0 w 34"/>
                  <a:gd name="T3" fmla="*/ 26 h 49"/>
                  <a:gd name="T4" fmla="*/ 4 w 34"/>
                  <a:gd name="T5" fmla="*/ 7 h 49"/>
                  <a:gd name="T6" fmla="*/ 17 w 34"/>
                  <a:gd name="T7" fmla="*/ 0 h 49"/>
                  <a:gd name="T8" fmla="*/ 34 w 34"/>
                  <a:gd name="T9" fmla="*/ 25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7" y="0"/>
                    </a:cubicBezTo>
                    <a:cubicBezTo>
                      <a:pt x="28" y="0"/>
                      <a:pt x="34" y="8"/>
                      <a:pt x="34" y="25"/>
                    </a:cubicBezTo>
                    <a:cubicBezTo>
                      <a:pt x="34" y="33"/>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58" name="Freeform 9"/>
              <p:cNvSpPr/>
              <p:nvPr/>
            </p:nvSpPr>
            <p:spPr bwMode="auto">
              <a:xfrm>
                <a:off x="8787239" y="5371382"/>
                <a:ext cx="45701"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4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2" y="2"/>
                      <a:pt x="14" y="0"/>
                    </a:cubicBezTo>
                    <a:lnTo>
                      <a:pt x="21" y="0"/>
                    </a:ln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59" name="Freeform 10"/>
              <p:cNvSpPr>
                <a:spLocks noEditPoints="1"/>
              </p:cNvSpPr>
              <p:nvPr/>
            </p:nvSpPr>
            <p:spPr bwMode="auto">
              <a:xfrm>
                <a:off x="8631671" y="5493007"/>
                <a:ext cx="74616" cy="108192"/>
              </a:xfrm>
              <a:custGeom>
                <a:avLst/>
                <a:gdLst>
                  <a:gd name="T0" fmla="*/ 17 w 34"/>
                  <a:gd name="T1" fmla="*/ 49 h 49"/>
                  <a:gd name="T2" fmla="*/ 0 w 34"/>
                  <a:gd name="T3" fmla="*/ 25 h 49"/>
                  <a:gd name="T4" fmla="*/ 4 w 34"/>
                  <a:gd name="T5" fmla="*/ 7 h 49"/>
                  <a:gd name="T6" fmla="*/ 18 w 34"/>
                  <a:gd name="T7" fmla="*/ 0 h 49"/>
                  <a:gd name="T8" fmla="*/ 34 w 34"/>
                  <a:gd name="T9" fmla="*/ 24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8" y="0"/>
                    </a:cubicBezTo>
                    <a:cubicBezTo>
                      <a:pt x="29" y="0"/>
                      <a:pt x="34" y="8"/>
                      <a:pt x="34" y="24"/>
                    </a:cubicBezTo>
                    <a:cubicBezTo>
                      <a:pt x="34" y="32"/>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0" name="Freeform 11"/>
              <p:cNvSpPr/>
              <p:nvPr/>
            </p:nvSpPr>
            <p:spPr bwMode="auto">
              <a:xfrm>
                <a:off x="8716407" y="5493179"/>
                <a:ext cx="46634" cy="106326"/>
              </a:xfrm>
              <a:custGeom>
                <a:avLst/>
                <a:gdLst>
                  <a:gd name="T0" fmla="*/ 21 w 21"/>
                  <a:gd name="T1" fmla="*/ 0 h 48"/>
                  <a:gd name="T2" fmla="*/ 21 w 21"/>
                  <a:gd name="T3" fmla="*/ 48 h 48"/>
                  <a:gd name="T4" fmla="*/ 10 w 21"/>
                  <a:gd name="T5" fmla="*/ 48 h 48"/>
                  <a:gd name="T6" fmla="*/ 10 w 21"/>
                  <a:gd name="T7" fmla="*/ 12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2"/>
                      <a:pt x="10" y="12"/>
                      <a:pt x="10" y="12"/>
                    </a:cubicBezTo>
                    <a:cubicBezTo>
                      <a:pt x="10" y="12"/>
                      <a:pt x="9" y="13"/>
                      <a:pt x="8"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0" y="3"/>
                      <a:pt x="13" y="1"/>
                      <a:pt x="14" y="0"/>
                    </a:cubicBezTo>
                    <a:lnTo>
                      <a:pt x="21" y="0"/>
                    </a:ln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1" name="Freeform 12"/>
              <p:cNvSpPr>
                <a:spLocks noEditPoints="1"/>
              </p:cNvSpPr>
              <p:nvPr/>
            </p:nvSpPr>
            <p:spPr bwMode="auto">
              <a:xfrm>
                <a:off x="8776966" y="5493007"/>
                <a:ext cx="74616" cy="108192"/>
              </a:xfrm>
              <a:custGeom>
                <a:avLst/>
                <a:gdLst>
                  <a:gd name="T0" fmla="*/ 16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6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6"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6"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2" name="Freeform 13"/>
              <p:cNvSpPr>
                <a:spLocks noEditPoints="1"/>
              </p:cNvSpPr>
              <p:nvPr/>
            </p:nvSpPr>
            <p:spPr bwMode="auto">
              <a:xfrm>
                <a:off x="8631671"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3" name="Freeform 14"/>
              <p:cNvSpPr>
                <a:spLocks noEditPoints="1"/>
              </p:cNvSpPr>
              <p:nvPr/>
            </p:nvSpPr>
            <p:spPr bwMode="auto">
              <a:xfrm>
                <a:off x="8706981"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4" name="Freeform 15"/>
              <p:cNvSpPr/>
              <p:nvPr/>
            </p:nvSpPr>
            <p:spPr bwMode="auto">
              <a:xfrm>
                <a:off x="8787239" y="5615737"/>
                <a:ext cx="45701" cy="105393"/>
              </a:xfrm>
              <a:custGeom>
                <a:avLst/>
                <a:gdLst>
                  <a:gd name="T0" fmla="*/ 21 w 21"/>
                  <a:gd name="T1" fmla="*/ 0 h 48"/>
                  <a:gd name="T2" fmla="*/ 21 w 21"/>
                  <a:gd name="T3" fmla="*/ 48 h 48"/>
                  <a:gd name="T4" fmla="*/ 10 w 21"/>
                  <a:gd name="T5" fmla="*/ 48 h 48"/>
                  <a:gd name="T6" fmla="*/ 10 w 21"/>
                  <a:gd name="T7" fmla="*/ 11 h 48"/>
                  <a:gd name="T8" fmla="*/ 8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4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0" y="48"/>
                      <a:pt x="10" y="48"/>
                      <a:pt x="10" y="48"/>
                    </a:cubicBezTo>
                    <a:cubicBezTo>
                      <a:pt x="10" y="11"/>
                      <a:pt x="10" y="11"/>
                      <a:pt x="10" y="11"/>
                    </a:cubicBezTo>
                    <a:cubicBezTo>
                      <a:pt x="10" y="12"/>
                      <a:pt x="9" y="12"/>
                      <a:pt x="8" y="13"/>
                    </a:cubicBezTo>
                    <a:cubicBezTo>
                      <a:pt x="8" y="13"/>
                      <a:pt x="7" y="14"/>
                      <a:pt x="6" y="14"/>
                    </a:cubicBezTo>
                    <a:cubicBezTo>
                      <a:pt x="5" y="14"/>
                      <a:pt x="4" y="15"/>
                      <a:pt x="3" y="15"/>
                    </a:cubicBezTo>
                    <a:cubicBezTo>
                      <a:pt x="2" y="15"/>
                      <a:pt x="1" y="15"/>
                      <a:pt x="0" y="16"/>
                    </a:cubicBezTo>
                    <a:cubicBezTo>
                      <a:pt x="0" y="7"/>
                      <a:pt x="0" y="7"/>
                      <a:pt x="0" y="7"/>
                    </a:cubicBezTo>
                    <a:cubicBezTo>
                      <a:pt x="3" y="6"/>
                      <a:pt x="6" y="5"/>
                      <a:pt x="8" y="4"/>
                    </a:cubicBezTo>
                    <a:cubicBezTo>
                      <a:pt x="10" y="2"/>
                      <a:pt x="12" y="1"/>
                      <a:pt x="14" y="0"/>
                    </a:cubicBezTo>
                    <a:lnTo>
                      <a:pt x="21" y="0"/>
                    </a:ln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5" name="Freeform 16"/>
              <p:cNvSpPr/>
              <p:nvPr/>
            </p:nvSpPr>
            <p:spPr bwMode="auto">
              <a:xfrm>
                <a:off x="8933969" y="5371382"/>
                <a:ext cx="46634" cy="107259"/>
              </a:xfrm>
              <a:custGeom>
                <a:avLst/>
                <a:gdLst>
                  <a:gd name="T0" fmla="*/ 21 w 21"/>
                  <a:gd name="T1" fmla="*/ 0 h 49"/>
                  <a:gd name="T2" fmla="*/ 21 w 21"/>
                  <a:gd name="T3" fmla="*/ 49 h 49"/>
                  <a:gd name="T4" fmla="*/ 10 w 21"/>
                  <a:gd name="T5" fmla="*/ 49 h 49"/>
                  <a:gd name="T6" fmla="*/ 10 w 21"/>
                  <a:gd name="T7" fmla="*/ 12 h 49"/>
                  <a:gd name="T8" fmla="*/ 8 w 21"/>
                  <a:gd name="T9" fmla="*/ 13 h 49"/>
                  <a:gd name="T10" fmla="*/ 6 w 21"/>
                  <a:gd name="T11" fmla="*/ 15 h 49"/>
                  <a:gd name="T12" fmla="*/ 3 w 21"/>
                  <a:gd name="T13" fmla="*/ 16 h 49"/>
                  <a:gd name="T14" fmla="*/ 0 w 21"/>
                  <a:gd name="T15" fmla="*/ 16 h 49"/>
                  <a:gd name="T16" fmla="*/ 0 w 21"/>
                  <a:gd name="T17" fmla="*/ 7 h 49"/>
                  <a:gd name="T18" fmla="*/ 8 w 21"/>
                  <a:gd name="T19" fmla="*/ 4 h 49"/>
                  <a:gd name="T20" fmla="*/ 15 w 21"/>
                  <a:gd name="T21" fmla="*/ 0 h 49"/>
                  <a:gd name="T22" fmla="*/ 21 w 21"/>
                  <a:gd name="T2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9">
                    <a:moveTo>
                      <a:pt x="21" y="0"/>
                    </a:moveTo>
                    <a:cubicBezTo>
                      <a:pt x="21" y="49"/>
                      <a:pt x="21" y="49"/>
                      <a:pt x="21" y="49"/>
                    </a:cubicBezTo>
                    <a:cubicBezTo>
                      <a:pt x="10" y="49"/>
                      <a:pt x="10" y="49"/>
                      <a:pt x="10" y="49"/>
                    </a:cubicBezTo>
                    <a:cubicBezTo>
                      <a:pt x="10" y="12"/>
                      <a:pt x="10" y="12"/>
                      <a:pt x="10" y="12"/>
                    </a:cubicBezTo>
                    <a:cubicBezTo>
                      <a:pt x="10" y="12"/>
                      <a:pt x="9" y="13"/>
                      <a:pt x="8" y="13"/>
                    </a:cubicBezTo>
                    <a:cubicBezTo>
                      <a:pt x="8" y="14"/>
                      <a:pt x="7" y="14"/>
                      <a:pt x="6" y="15"/>
                    </a:cubicBezTo>
                    <a:cubicBezTo>
                      <a:pt x="5" y="15"/>
                      <a:pt x="4" y="15"/>
                      <a:pt x="3" y="16"/>
                    </a:cubicBezTo>
                    <a:cubicBezTo>
                      <a:pt x="2" y="16"/>
                      <a:pt x="1" y="16"/>
                      <a:pt x="0" y="16"/>
                    </a:cubicBezTo>
                    <a:cubicBezTo>
                      <a:pt x="0" y="7"/>
                      <a:pt x="0" y="7"/>
                      <a:pt x="0" y="7"/>
                    </a:cubicBezTo>
                    <a:cubicBezTo>
                      <a:pt x="3" y="6"/>
                      <a:pt x="6" y="5"/>
                      <a:pt x="8" y="4"/>
                    </a:cubicBezTo>
                    <a:cubicBezTo>
                      <a:pt x="10" y="3"/>
                      <a:pt x="13" y="2"/>
                      <a:pt x="15" y="0"/>
                    </a:cubicBezTo>
                    <a:lnTo>
                      <a:pt x="21" y="0"/>
                    </a:ln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6" name="Freeform 17"/>
              <p:cNvSpPr>
                <a:spLocks noEditPoints="1"/>
              </p:cNvSpPr>
              <p:nvPr/>
            </p:nvSpPr>
            <p:spPr bwMode="auto">
              <a:xfrm>
                <a:off x="8924543" y="5493007"/>
                <a:ext cx="74616" cy="108192"/>
              </a:xfrm>
              <a:custGeom>
                <a:avLst/>
                <a:gdLst>
                  <a:gd name="T0" fmla="*/ 17 w 34"/>
                  <a:gd name="T1" fmla="*/ 49 h 49"/>
                  <a:gd name="T2" fmla="*/ 0 w 34"/>
                  <a:gd name="T3" fmla="*/ 25 h 49"/>
                  <a:gd name="T4" fmla="*/ 4 w 34"/>
                  <a:gd name="T5" fmla="*/ 7 h 49"/>
                  <a:gd name="T6" fmla="*/ 17 w 34"/>
                  <a:gd name="T7" fmla="*/ 0 h 49"/>
                  <a:gd name="T8" fmla="*/ 34 w 34"/>
                  <a:gd name="T9" fmla="*/ 24 h 49"/>
                  <a:gd name="T10" fmla="*/ 29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7"/>
                    </a:cubicBezTo>
                    <a:cubicBezTo>
                      <a:pt x="7" y="2"/>
                      <a:pt x="12" y="0"/>
                      <a:pt x="17" y="0"/>
                    </a:cubicBezTo>
                    <a:cubicBezTo>
                      <a:pt x="28" y="0"/>
                      <a:pt x="34" y="8"/>
                      <a:pt x="34" y="24"/>
                    </a:cubicBezTo>
                    <a:cubicBezTo>
                      <a:pt x="34" y="32"/>
                      <a:pt x="32" y="39"/>
                      <a:pt x="29" y="43"/>
                    </a:cubicBezTo>
                    <a:cubicBezTo>
                      <a:pt x="26" y="47"/>
                      <a:pt x="22" y="49"/>
                      <a:pt x="17" y="49"/>
                    </a:cubicBezTo>
                    <a:close/>
                    <a:moveTo>
                      <a:pt x="17" y="8"/>
                    </a:moveTo>
                    <a:cubicBezTo>
                      <a:pt x="12" y="8"/>
                      <a:pt x="10" y="14"/>
                      <a:pt x="10" y="25"/>
                    </a:cubicBezTo>
                    <a:cubicBezTo>
                      <a:pt x="10" y="36"/>
                      <a:pt x="12" y="41"/>
                      <a:pt x="17" y="41"/>
                    </a:cubicBezTo>
                    <a:cubicBezTo>
                      <a:pt x="21" y="41"/>
                      <a:pt x="23" y="36"/>
                      <a:pt x="23" y="25"/>
                    </a:cubicBezTo>
                    <a:cubicBezTo>
                      <a:pt x="23" y="14"/>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7" name="Freeform 18"/>
              <p:cNvSpPr>
                <a:spLocks noEditPoints="1"/>
              </p:cNvSpPr>
              <p:nvPr/>
            </p:nvSpPr>
            <p:spPr bwMode="auto">
              <a:xfrm>
                <a:off x="8924543" y="5615564"/>
                <a:ext cx="74616" cy="107259"/>
              </a:xfrm>
              <a:custGeom>
                <a:avLst/>
                <a:gdLst>
                  <a:gd name="T0" fmla="*/ 17 w 34"/>
                  <a:gd name="T1" fmla="*/ 49 h 49"/>
                  <a:gd name="T2" fmla="*/ 0 w 34"/>
                  <a:gd name="T3" fmla="*/ 25 h 49"/>
                  <a:gd name="T4" fmla="*/ 4 w 34"/>
                  <a:gd name="T5" fmla="*/ 6 h 49"/>
                  <a:gd name="T6" fmla="*/ 17 w 34"/>
                  <a:gd name="T7" fmla="*/ 0 h 49"/>
                  <a:gd name="T8" fmla="*/ 34 w 34"/>
                  <a:gd name="T9" fmla="*/ 24 h 49"/>
                  <a:gd name="T10" fmla="*/ 29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7" y="0"/>
                    </a:cubicBezTo>
                    <a:cubicBezTo>
                      <a:pt x="28" y="0"/>
                      <a:pt x="34" y="8"/>
                      <a:pt x="34" y="24"/>
                    </a:cubicBezTo>
                    <a:cubicBezTo>
                      <a:pt x="34" y="32"/>
                      <a:pt x="32" y="38"/>
                      <a:pt x="29" y="42"/>
                    </a:cubicBezTo>
                    <a:cubicBezTo>
                      <a:pt x="26" y="47"/>
                      <a:pt x="22" y="49"/>
                      <a:pt x="17" y="49"/>
                    </a:cubicBezTo>
                    <a:close/>
                    <a:moveTo>
                      <a:pt x="17" y="8"/>
                    </a:moveTo>
                    <a:cubicBezTo>
                      <a:pt x="12" y="8"/>
                      <a:pt x="10" y="14"/>
                      <a:pt x="10" y="25"/>
                    </a:cubicBezTo>
                    <a:cubicBezTo>
                      <a:pt x="10" y="36"/>
                      <a:pt x="12" y="41"/>
                      <a:pt x="17" y="41"/>
                    </a:cubicBezTo>
                    <a:cubicBezTo>
                      <a:pt x="21" y="41"/>
                      <a:pt x="23" y="35"/>
                      <a:pt x="23" y="24"/>
                    </a:cubicBezTo>
                    <a:cubicBezTo>
                      <a:pt x="23" y="13"/>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8" name="Freeform 19"/>
              <p:cNvSpPr>
                <a:spLocks noEditPoints="1"/>
              </p:cNvSpPr>
              <p:nvPr/>
            </p:nvSpPr>
            <p:spPr bwMode="auto">
              <a:xfrm>
                <a:off x="8849233" y="5371382"/>
                <a:ext cx="74616" cy="107259"/>
              </a:xfrm>
              <a:custGeom>
                <a:avLst/>
                <a:gdLst>
                  <a:gd name="T0" fmla="*/ 17 w 34"/>
                  <a:gd name="T1" fmla="*/ 49 h 49"/>
                  <a:gd name="T2" fmla="*/ 0 w 34"/>
                  <a:gd name="T3" fmla="*/ 26 h 49"/>
                  <a:gd name="T4" fmla="*/ 4 w 34"/>
                  <a:gd name="T5" fmla="*/ 7 h 49"/>
                  <a:gd name="T6" fmla="*/ 18 w 34"/>
                  <a:gd name="T7" fmla="*/ 0 h 49"/>
                  <a:gd name="T8" fmla="*/ 34 w 34"/>
                  <a:gd name="T9" fmla="*/ 25 h 49"/>
                  <a:gd name="T10" fmla="*/ 30 w 34"/>
                  <a:gd name="T11" fmla="*/ 43 h 49"/>
                  <a:gd name="T12" fmla="*/ 17 w 34"/>
                  <a:gd name="T13" fmla="*/ 49 h 49"/>
                  <a:gd name="T14" fmla="*/ 17 w 34"/>
                  <a:gd name="T15" fmla="*/ 8 h 49"/>
                  <a:gd name="T16" fmla="*/ 10 w 34"/>
                  <a:gd name="T17" fmla="*/ 25 h 49"/>
                  <a:gd name="T18" fmla="*/ 17 w 34"/>
                  <a:gd name="T19" fmla="*/ 41 h 49"/>
                  <a:gd name="T20" fmla="*/ 23 w 34"/>
                  <a:gd name="T21" fmla="*/ 25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2"/>
                      <a:pt x="0" y="26"/>
                    </a:cubicBezTo>
                    <a:cubicBezTo>
                      <a:pt x="0" y="17"/>
                      <a:pt x="1" y="11"/>
                      <a:pt x="4" y="7"/>
                    </a:cubicBezTo>
                    <a:cubicBezTo>
                      <a:pt x="7" y="3"/>
                      <a:pt x="12" y="0"/>
                      <a:pt x="18" y="0"/>
                    </a:cubicBezTo>
                    <a:cubicBezTo>
                      <a:pt x="29" y="0"/>
                      <a:pt x="34" y="8"/>
                      <a:pt x="34" y="25"/>
                    </a:cubicBezTo>
                    <a:cubicBezTo>
                      <a:pt x="34" y="33"/>
                      <a:pt x="33" y="39"/>
                      <a:pt x="30" y="43"/>
                    </a:cubicBezTo>
                    <a:cubicBezTo>
                      <a:pt x="27" y="47"/>
                      <a:pt x="22" y="49"/>
                      <a:pt x="17" y="49"/>
                    </a:cubicBezTo>
                    <a:close/>
                    <a:moveTo>
                      <a:pt x="17" y="8"/>
                    </a:moveTo>
                    <a:cubicBezTo>
                      <a:pt x="13" y="8"/>
                      <a:pt x="10" y="14"/>
                      <a:pt x="10" y="25"/>
                    </a:cubicBezTo>
                    <a:cubicBezTo>
                      <a:pt x="10" y="36"/>
                      <a:pt x="13" y="41"/>
                      <a:pt x="17" y="41"/>
                    </a:cubicBezTo>
                    <a:cubicBezTo>
                      <a:pt x="21" y="41"/>
                      <a:pt x="23" y="36"/>
                      <a:pt x="23" y="25"/>
                    </a:cubicBezTo>
                    <a:cubicBezTo>
                      <a:pt x="23" y="14"/>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69" name="Freeform 20"/>
              <p:cNvSpPr/>
              <p:nvPr/>
            </p:nvSpPr>
            <p:spPr bwMode="auto">
              <a:xfrm>
                <a:off x="8858659" y="5493179"/>
                <a:ext cx="46634" cy="106326"/>
              </a:xfrm>
              <a:custGeom>
                <a:avLst/>
                <a:gdLst>
                  <a:gd name="T0" fmla="*/ 21 w 21"/>
                  <a:gd name="T1" fmla="*/ 0 h 48"/>
                  <a:gd name="T2" fmla="*/ 21 w 21"/>
                  <a:gd name="T3" fmla="*/ 48 h 48"/>
                  <a:gd name="T4" fmla="*/ 11 w 21"/>
                  <a:gd name="T5" fmla="*/ 48 h 48"/>
                  <a:gd name="T6" fmla="*/ 11 w 21"/>
                  <a:gd name="T7" fmla="*/ 12 h 48"/>
                  <a:gd name="T8" fmla="*/ 9 w 21"/>
                  <a:gd name="T9" fmla="*/ 13 h 48"/>
                  <a:gd name="T10" fmla="*/ 6 w 21"/>
                  <a:gd name="T11" fmla="*/ 14 h 48"/>
                  <a:gd name="T12" fmla="*/ 3 w 21"/>
                  <a:gd name="T13" fmla="*/ 15 h 48"/>
                  <a:gd name="T14" fmla="*/ 0 w 21"/>
                  <a:gd name="T15" fmla="*/ 16 h 48"/>
                  <a:gd name="T16" fmla="*/ 0 w 21"/>
                  <a:gd name="T17" fmla="*/ 7 h 48"/>
                  <a:gd name="T18" fmla="*/ 8 w 21"/>
                  <a:gd name="T19" fmla="*/ 4 h 48"/>
                  <a:gd name="T20" fmla="*/ 15 w 21"/>
                  <a:gd name="T21" fmla="*/ 0 h 48"/>
                  <a:gd name="T22" fmla="*/ 21 w 21"/>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48">
                    <a:moveTo>
                      <a:pt x="21" y="0"/>
                    </a:moveTo>
                    <a:cubicBezTo>
                      <a:pt x="21" y="48"/>
                      <a:pt x="21" y="48"/>
                      <a:pt x="21" y="48"/>
                    </a:cubicBezTo>
                    <a:cubicBezTo>
                      <a:pt x="11" y="48"/>
                      <a:pt x="11" y="48"/>
                      <a:pt x="11" y="48"/>
                    </a:cubicBezTo>
                    <a:cubicBezTo>
                      <a:pt x="11" y="12"/>
                      <a:pt x="11" y="12"/>
                      <a:pt x="11" y="12"/>
                    </a:cubicBezTo>
                    <a:cubicBezTo>
                      <a:pt x="10" y="12"/>
                      <a:pt x="9" y="13"/>
                      <a:pt x="9" y="13"/>
                    </a:cubicBezTo>
                    <a:cubicBezTo>
                      <a:pt x="8" y="14"/>
                      <a:pt x="7" y="14"/>
                      <a:pt x="6" y="14"/>
                    </a:cubicBezTo>
                    <a:cubicBezTo>
                      <a:pt x="5" y="15"/>
                      <a:pt x="4" y="15"/>
                      <a:pt x="3" y="15"/>
                    </a:cubicBezTo>
                    <a:cubicBezTo>
                      <a:pt x="2" y="16"/>
                      <a:pt x="1" y="16"/>
                      <a:pt x="0" y="16"/>
                    </a:cubicBezTo>
                    <a:cubicBezTo>
                      <a:pt x="0" y="7"/>
                      <a:pt x="0" y="7"/>
                      <a:pt x="0" y="7"/>
                    </a:cubicBezTo>
                    <a:cubicBezTo>
                      <a:pt x="3" y="6"/>
                      <a:pt x="6" y="5"/>
                      <a:pt x="8" y="4"/>
                    </a:cubicBezTo>
                    <a:cubicBezTo>
                      <a:pt x="11" y="3"/>
                      <a:pt x="13" y="1"/>
                      <a:pt x="15" y="0"/>
                    </a:cubicBezTo>
                    <a:lnTo>
                      <a:pt x="21" y="0"/>
                    </a:ln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sp>
            <p:nvSpPr>
              <p:cNvPr id="70" name="Freeform 21"/>
              <p:cNvSpPr>
                <a:spLocks noEditPoints="1"/>
              </p:cNvSpPr>
              <p:nvPr/>
            </p:nvSpPr>
            <p:spPr bwMode="auto">
              <a:xfrm>
                <a:off x="8849233" y="5615564"/>
                <a:ext cx="74616" cy="107259"/>
              </a:xfrm>
              <a:custGeom>
                <a:avLst/>
                <a:gdLst>
                  <a:gd name="T0" fmla="*/ 17 w 34"/>
                  <a:gd name="T1" fmla="*/ 49 h 49"/>
                  <a:gd name="T2" fmla="*/ 0 w 34"/>
                  <a:gd name="T3" fmla="*/ 25 h 49"/>
                  <a:gd name="T4" fmla="*/ 4 w 34"/>
                  <a:gd name="T5" fmla="*/ 6 h 49"/>
                  <a:gd name="T6" fmla="*/ 18 w 34"/>
                  <a:gd name="T7" fmla="*/ 0 h 49"/>
                  <a:gd name="T8" fmla="*/ 34 w 34"/>
                  <a:gd name="T9" fmla="*/ 24 h 49"/>
                  <a:gd name="T10" fmla="*/ 30 w 34"/>
                  <a:gd name="T11" fmla="*/ 42 h 49"/>
                  <a:gd name="T12" fmla="*/ 17 w 34"/>
                  <a:gd name="T13" fmla="*/ 49 h 49"/>
                  <a:gd name="T14" fmla="*/ 17 w 34"/>
                  <a:gd name="T15" fmla="*/ 8 h 49"/>
                  <a:gd name="T16" fmla="*/ 10 w 34"/>
                  <a:gd name="T17" fmla="*/ 25 h 49"/>
                  <a:gd name="T18" fmla="*/ 17 w 34"/>
                  <a:gd name="T19" fmla="*/ 41 h 49"/>
                  <a:gd name="T20" fmla="*/ 23 w 34"/>
                  <a:gd name="T21" fmla="*/ 24 h 49"/>
                  <a:gd name="T22" fmla="*/ 17 w 34"/>
                  <a:gd name="T2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49">
                    <a:moveTo>
                      <a:pt x="17" y="49"/>
                    </a:moveTo>
                    <a:cubicBezTo>
                      <a:pt x="5" y="49"/>
                      <a:pt x="0" y="41"/>
                      <a:pt x="0" y="25"/>
                    </a:cubicBezTo>
                    <a:cubicBezTo>
                      <a:pt x="0" y="17"/>
                      <a:pt x="1" y="11"/>
                      <a:pt x="4" y="6"/>
                    </a:cubicBezTo>
                    <a:cubicBezTo>
                      <a:pt x="7" y="2"/>
                      <a:pt x="12" y="0"/>
                      <a:pt x="18" y="0"/>
                    </a:cubicBezTo>
                    <a:cubicBezTo>
                      <a:pt x="29" y="0"/>
                      <a:pt x="34" y="8"/>
                      <a:pt x="34" y="24"/>
                    </a:cubicBezTo>
                    <a:cubicBezTo>
                      <a:pt x="34" y="32"/>
                      <a:pt x="33" y="38"/>
                      <a:pt x="30" y="42"/>
                    </a:cubicBezTo>
                    <a:cubicBezTo>
                      <a:pt x="27" y="47"/>
                      <a:pt x="22" y="49"/>
                      <a:pt x="17" y="49"/>
                    </a:cubicBezTo>
                    <a:close/>
                    <a:moveTo>
                      <a:pt x="17" y="8"/>
                    </a:moveTo>
                    <a:cubicBezTo>
                      <a:pt x="13" y="8"/>
                      <a:pt x="10" y="14"/>
                      <a:pt x="10" y="25"/>
                    </a:cubicBezTo>
                    <a:cubicBezTo>
                      <a:pt x="10" y="36"/>
                      <a:pt x="13" y="41"/>
                      <a:pt x="17" y="41"/>
                    </a:cubicBezTo>
                    <a:cubicBezTo>
                      <a:pt x="21" y="41"/>
                      <a:pt x="23" y="35"/>
                      <a:pt x="23" y="24"/>
                    </a:cubicBezTo>
                    <a:cubicBezTo>
                      <a:pt x="23" y="13"/>
                      <a:pt x="21" y="8"/>
                      <a:pt x="17" y="8"/>
                    </a:cubicBezTo>
                    <a:close/>
                  </a:path>
                </a:pathLst>
              </a:custGeom>
              <a:grpFill/>
              <a:ln>
                <a:noFill/>
              </a:ln>
            </p:spPr>
            <p:txBody>
              <a:bodyPr vert="horz" wrap="square" lIns="67210" tIns="33605" rIns="67210" bIns="33605" numCol="1" anchor="t" anchorCtr="0" compatLnSpc="1"/>
              <a:lstStyle/>
              <a:p>
                <a:pPr defTabSz="685334">
                  <a:defRPr/>
                </a:pPr>
                <a:endParaRPr lang="en-US" sz="882" kern="0">
                  <a:solidFill>
                    <a:srgbClr val="000000"/>
                  </a:solidFill>
                </a:endParaRPr>
              </a:p>
            </p:txBody>
          </p:sp>
        </p:grpSp>
        <p:sp>
          <p:nvSpPr>
            <p:cNvPr id="50" name="Rectangle 361">
              <a:hlinkClick r:id="" action="ppaction://noaction"/>
            </p:cNvPr>
            <p:cNvSpPr/>
            <p:nvPr/>
          </p:nvSpPr>
          <p:spPr bwMode="auto">
            <a:xfrm>
              <a:off x="5041086" y="504063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68586" tIns="34293" rIns="68586" bIns="0" numCol="1" spcCol="0" rtlCol="0" fromWordArt="0" anchor="ctr" anchorCtr="0" forceAA="0" compatLnSpc="1">
              <a:noAutofit/>
            </a:bodyPr>
            <a:lstStyle/>
            <a:p>
              <a:pPr defTabSz="570680">
                <a:lnSpc>
                  <a:spcPct val="90000"/>
                </a:lnSpc>
                <a:defRPr/>
              </a:pPr>
              <a:r>
                <a:rPr lang="en-US" altLang="zh-CN" sz="1500" b="1" kern="0" dirty="0" smtClean="0">
                  <a:ln>
                    <a:solidFill>
                      <a:srgbClr val="FFFFFF">
                        <a:alpha val="0"/>
                      </a:srgbClr>
                    </a:solidFill>
                  </a:ln>
                  <a:solidFill>
                    <a:schemeClr val="bg2">
                      <a:lumMod val="25000"/>
                    </a:schemeClr>
                  </a:solidFill>
                  <a:latin typeface="微软雅黑" panose="020B0503020204020204" charset="-122"/>
                  <a:ea typeface="微软雅黑" panose="020B0503020204020204" charset="-122"/>
                  <a:cs typeface="Segoe UI Semibold" panose="020B0702040204020203" pitchFamily="34" charset="0"/>
                </a:rPr>
                <a:t> </a:t>
              </a:r>
              <a:r>
                <a:rPr lang="zh-CN" alt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创新企业</a:t>
              </a:r>
              <a:r>
                <a:rPr lang="zh-CN" altLang="en-US" sz="1400" b="1" kern="0" dirty="0" smtClean="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发展</a:t>
              </a:r>
              <a:r>
                <a:rPr lang="zh-CN" alt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动力</a:t>
              </a:r>
              <a:r>
                <a:rPr lang="zh-CN" altLang="en-US" sz="1400" b="1" kern="0" dirty="0" smtClean="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协同、共赢、产业</a:t>
              </a:r>
              <a:r>
                <a:rPr lang="zh-CN" alt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生态</a:t>
              </a:r>
              <a:r>
                <a:rPr lang="zh-CN" altLang="en-US" sz="1400" b="1" kern="0" dirty="0" smtClean="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伙伴</a:t>
              </a:r>
              <a:endParaRPr 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endParaRPr>
            </a:p>
          </p:txBody>
        </p:sp>
        <p:sp>
          <p:nvSpPr>
            <p:cNvPr id="51" name="Rectangle 371"/>
            <p:cNvSpPr/>
            <p:nvPr/>
          </p:nvSpPr>
          <p:spPr bwMode="auto">
            <a:xfrm>
              <a:off x="5040711" y="5528525"/>
              <a:ext cx="3409435" cy="1059865"/>
            </a:xfrm>
            <a:prstGeom prst="rect">
              <a:avLst/>
            </a:prstGeom>
            <a:solidFill>
              <a:srgbClr val="68217A">
                <a:lumMod val="75000"/>
              </a:srgbClr>
            </a:solidFill>
            <a:ln w="10795" cap="flat" cmpd="sng" algn="ctr">
              <a:noFill/>
              <a:prstDash val="solid"/>
            </a:ln>
            <a:effectLst/>
          </p:spPr>
          <p:txBody>
            <a:bodyPr lIns="68586" tIns="34293" rIns="68586" bIns="34293" anchor="b"/>
            <a:lstStyle/>
            <a:p>
              <a:pPr defTabSz="699585">
                <a:lnSpc>
                  <a:spcPct val="90000"/>
                </a:lnSpc>
                <a:defRPr/>
              </a:pPr>
              <a:r>
                <a:rPr lang="zh-CN" altLang="en-US" sz="1224" b="1" kern="0" dirty="0">
                  <a:gradFill>
                    <a:gsLst>
                      <a:gs pos="11024">
                        <a:srgbClr val="FFFFFF"/>
                      </a:gs>
                      <a:gs pos="23000">
                        <a:srgbClr val="FFFFFF"/>
                      </a:gs>
                    </a:gsLst>
                    <a:lin ang="5400000" scaled="1"/>
                  </a:gradFill>
                  <a:latin typeface="微软雅黑" panose="020B0503020204020204" charset="-122"/>
                  <a:ea typeface="微软雅黑" panose="020B0503020204020204" charset="-122"/>
                </a:rPr>
                <a:t>产业生态圈的分工与资源合作</a:t>
              </a:r>
              <a:endParaRPr lang="en-US" sz="1224" b="1" kern="0" dirty="0">
                <a:gradFill>
                  <a:gsLst>
                    <a:gs pos="11024">
                      <a:srgbClr val="FFFFFF"/>
                    </a:gs>
                    <a:gs pos="23000">
                      <a:srgbClr val="FFFFFF"/>
                    </a:gs>
                  </a:gsLst>
                  <a:lin ang="5400000" scaled="1"/>
                </a:gradFill>
                <a:latin typeface="微软雅黑" panose="020B0503020204020204" charset="-122"/>
                <a:ea typeface="微软雅黑" panose="020B0503020204020204" charset="-122"/>
              </a:endParaRPr>
            </a:p>
          </p:txBody>
        </p:sp>
        <p:grpSp>
          <p:nvGrpSpPr>
            <p:cNvPr id="52" name="Group 363"/>
            <p:cNvGrpSpPr/>
            <p:nvPr/>
          </p:nvGrpSpPr>
          <p:grpSpPr>
            <a:xfrm>
              <a:off x="8534110" y="5528525"/>
              <a:ext cx="3413867" cy="1059865"/>
              <a:chOff x="8527760" y="5280875"/>
              <a:chExt cx="3413867" cy="1059865"/>
            </a:xfrm>
          </p:grpSpPr>
          <p:sp>
            <p:nvSpPr>
              <p:cNvPr id="54" name="Rectangle 369"/>
              <p:cNvSpPr/>
              <p:nvPr/>
            </p:nvSpPr>
            <p:spPr bwMode="auto">
              <a:xfrm>
                <a:off x="8527760" y="5280875"/>
                <a:ext cx="3413867" cy="1059865"/>
              </a:xfrm>
              <a:prstGeom prst="rect">
                <a:avLst/>
              </a:prstGeom>
              <a:solidFill>
                <a:srgbClr val="68217A">
                  <a:lumMod val="75000"/>
                </a:srgbClr>
              </a:solidFill>
              <a:ln w="10795" cap="flat" cmpd="sng" algn="ctr">
                <a:noFill/>
                <a:prstDash val="solid"/>
              </a:ln>
              <a:effectLst/>
            </p:spPr>
            <p:txBody>
              <a:bodyPr lIns="68586" tIns="34293" rIns="68586" bIns="34293" anchor="b"/>
              <a:lstStyle/>
              <a:p>
                <a:pPr defTabSz="699585">
                  <a:lnSpc>
                    <a:spcPct val="90000"/>
                  </a:lnSpc>
                  <a:defRPr/>
                </a:pPr>
                <a:r>
                  <a:rPr lang="zh-CN" altLang="en-US" sz="1224" b="1" kern="0" dirty="0">
                    <a:gradFill>
                      <a:gsLst>
                        <a:gs pos="11024">
                          <a:srgbClr val="FFFFFF"/>
                        </a:gs>
                        <a:gs pos="23000">
                          <a:srgbClr val="FFFFFF"/>
                        </a:gs>
                      </a:gsLst>
                      <a:lin ang="5400000" scaled="1"/>
                    </a:gradFill>
                    <a:latin typeface="微软雅黑" panose="020B0503020204020204" charset="-122"/>
                    <a:ea typeface="微软雅黑" panose="020B0503020204020204" charset="-122"/>
                  </a:rPr>
                  <a:t>一体化的服务配套</a:t>
                </a:r>
                <a:endParaRPr lang="en-US" sz="1224" b="1" kern="0" dirty="0">
                  <a:gradFill>
                    <a:gsLst>
                      <a:gs pos="11024">
                        <a:srgbClr val="FFFFFF"/>
                      </a:gs>
                      <a:gs pos="23000">
                        <a:srgbClr val="FFFFFF"/>
                      </a:gs>
                    </a:gsLst>
                    <a:lin ang="5400000" scaled="1"/>
                  </a:gradFill>
                  <a:latin typeface="微软雅黑" panose="020B0503020204020204" charset="-122"/>
                  <a:ea typeface="微软雅黑" panose="020B0503020204020204" charset="-122"/>
                </a:endParaRPr>
              </a:p>
            </p:txBody>
          </p:sp>
          <p:sp>
            <p:nvSpPr>
              <p:cNvPr id="55" name="TextBox 370"/>
              <p:cNvSpPr txBox="1"/>
              <p:nvPr/>
            </p:nvSpPr>
            <p:spPr>
              <a:xfrm>
                <a:off x="10723167" y="5319355"/>
                <a:ext cx="406235" cy="415201"/>
              </a:xfrm>
              <a:prstGeom prst="rect">
                <a:avLst/>
              </a:prstGeom>
              <a:noFill/>
            </p:spPr>
            <p:txBody>
              <a:bodyPr wrap="square" lIns="0" tIns="0" rIns="0" bIns="0" rtlCol="0">
                <a:spAutoFit/>
              </a:bodyPr>
              <a:lstStyle/>
              <a:p>
                <a:pPr algn="ctr" defTabSz="684686">
                  <a:lnSpc>
                    <a:spcPct val="90000"/>
                  </a:lnSpc>
                  <a:defRPr/>
                </a:pPr>
                <a:endParaRPr lang="en-US" sz="2647" b="1" kern="0" dirty="0">
                  <a:solidFill>
                    <a:srgbClr val="FFFFFF"/>
                  </a:solidFill>
                </a:endParaRPr>
              </a:p>
            </p:txBody>
          </p:sp>
        </p:grpSp>
        <p:sp>
          <p:nvSpPr>
            <p:cNvPr id="53" name="Rectangle 120"/>
            <p:cNvSpPr/>
            <p:nvPr/>
          </p:nvSpPr>
          <p:spPr>
            <a:xfrm>
              <a:off x="7794477" y="5559668"/>
              <a:ext cx="503143" cy="334746"/>
            </a:xfrm>
            <a:prstGeom prst="rect">
              <a:avLst/>
            </a:prstGeom>
          </p:spPr>
          <p:txBody>
            <a:bodyPr wrap="square">
              <a:spAutoFit/>
            </a:bodyPr>
            <a:lstStyle/>
            <a:p>
              <a:pPr algn="ctr" defTabSz="698937">
                <a:defRPr/>
              </a:pPr>
              <a:endParaRPr lang="en-US" sz="1321" b="1" kern="0" dirty="0">
                <a:ln>
                  <a:solidFill>
                    <a:prstClr val="white">
                      <a:alpha val="0"/>
                    </a:prstClr>
                  </a:solidFill>
                </a:ln>
                <a:solidFill>
                  <a:prstClr val="white"/>
                </a:solidFill>
                <a:ea typeface="Segoe UI" panose="020B0502040204020203" pitchFamily="34" charset="0"/>
                <a:cs typeface="Segoe UI" panose="020B0502040204020203" pitchFamily="34" charset="0"/>
              </a:endParaRPr>
            </a:p>
          </p:txBody>
        </p:sp>
      </p:grpSp>
      <p:grpSp>
        <p:nvGrpSpPr>
          <p:cNvPr id="71" name="Group 337"/>
          <p:cNvGrpSpPr/>
          <p:nvPr/>
        </p:nvGrpSpPr>
        <p:grpSpPr>
          <a:xfrm>
            <a:off x="3639161" y="1440656"/>
            <a:ext cx="5198598" cy="1183429"/>
            <a:chOff x="5010754" y="1481412"/>
            <a:chExt cx="6930875" cy="1577772"/>
          </a:xfrm>
        </p:grpSpPr>
        <p:sp>
          <p:nvSpPr>
            <p:cNvPr id="72" name="Rectangle 338">
              <a:hlinkClick r:id="" action="ppaction://noaction"/>
            </p:cNvPr>
            <p:cNvSpPr/>
            <p:nvPr/>
          </p:nvSpPr>
          <p:spPr bwMode="auto">
            <a:xfrm>
              <a:off x="5034736" y="148141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68586" tIns="34293" rIns="68586" bIns="0" numCol="1" spcCol="0" rtlCol="0" fromWordArt="0" anchor="ctr" anchorCtr="0" forceAA="0" compatLnSpc="1">
              <a:noAutofit/>
            </a:bodyPr>
            <a:lstStyle/>
            <a:p>
              <a:pPr defTabSz="570680">
                <a:lnSpc>
                  <a:spcPct val="90000"/>
                </a:lnSpc>
                <a:defRPr/>
              </a:pPr>
              <a:r>
                <a:rPr lang="zh-CN" alt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精准</a:t>
              </a:r>
              <a:r>
                <a:rPr lang="zh-CN" altLang="en-US" sz="1400" b="1" kern="0" dirty="0" smtClean="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高效运营管理，安全、绿色、稳定持续发展</a:t>
              </a:r>
              <a:endParaRPr 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endParaRPr>
            </a:p>
          </p:txBody>
        </p:sp>
        <p:sp>
          <p:nvSpPr>
            <p:cNvPr id="73" name="Rectangle 352"/>
            <p:cNvSpPr/>
            <p:nvPr/>
          </p:nvSpPr>
          <p:spPr bwMode="auto">
            <a:xfrm>
              <a:off x="8542838" y="1999318"/>
              <a:ext cx="3398791" cy="1059866"/>
            </a:xfrm>
            <a:prstGeom prst="rect">
              <a:avLst/>
            </a:prstGeom>
            <a:solidFill>
              <a:srgbClr val="FF8C00"/>
            </a:solidFill>
            <a:ln w="10795" cap="flat" cmpd="sng" algn="ctr">
              <a:noFill/>
              <a:prstDash val="solid"/>
            </a:ln>
            <a:effectLst/>
          </p:spPr>
          <p:txBody>
            <a:bodyPr lIns="68586" tIns="34293" rIns="68586" bIns="34293" anchor="b"/>
            <a:lstStyle/>
            <a:p>
              <a:pPr defTabSz="699585">
                <a:lnSpc>
                  <a:spcPct val="90000"/>
                </a:lnSpc>
                <a:defRPr/>
              </a:pPr>
              <a:r>
                <a:rPr lang="zh-CN" altLang="en-US" sz="1224" b="1" kern="0" dirty="0">
                  <a:gradFill>
                    <a:gsLst>
                      <a:gs pos="11024">
                        <a:srgbClr val="FFFFFF"/>
                      </a:gs>
                      <a:gs pos="23000">
                        <a:srgbClr val="FFFFFF"/>
                      </a:gs>
                    </a:gsLst>
                    <a:lin ang="5400000" scaled="1"/>
                  </a:gradFill>
                  <a:latin typeface="微软雅黑" panose="020B0503020204020204" charset="-122"/>
                  <a:ea typeface="微软雅黑" panose="020B0503020204020204" charset="-122"/>
                </a:rPr>
                <a:t>绿色运营</a:t>
              </a:r>
              <a:endParaRPr lang="en-US" sz="1224" b="1" kern="0" dirty="0">
                <a:gradFill>
                  <a:gsLst>
                    <a:gs pos="11024">
                      <a:srgbClr val="FFFFFF"/>
                    </a:gs>
                    <a:gs pos="23000">
                      <a:srgbClr val="FFFFFF"/>
                    </a:gs>
                  </a:gsLst>
                  <a:lin ang="5400000" scaled="1"/>
                </a:gradFill>
                <a:latin typeface="微软雅黑" panose="020B0503020204020204" charset="-122"/>
                <a:ea typeface="微软雅黑" panose="020B0503020204020204" charset="-122"/>
              </a:endParaRPr>
            </a:p>
          </p:txBody>
        </p:sp>
        <p:grpSp>
          <p:nvGrpSpPr>
            <p:cNvPr id="74" name="Group 342"/>
            <p:cNvGrpSpPr/>
            <p:nvPr/>
          </p:nvGrpSpPr>
          <p:grpSpPr>
            <a:xfrm>
              <a:off x="5010754" y="1999318"/>
              <a:ext cx="3415318" cy="1059866"/>
              <a:chOff x="5013925" y="1992876"/>
              <a:chExt cx="3415318" cy="1059866"/>
            </a:xfrm>
          </p:grpSpPr>
          <p:sp>
            <p:nvSpPr>
              <p:cNvPr id="75" name="Rectangle 346"/>
              <p:cNvSpPr/>
              <p:nvPr/>
            </p:nvSpPr>
            <p:spPr bwMode="auto">
              <a:xfrm>
                <a:off x="5013925" y="1992876"/>
                <a:ext cx="3415318" cy="1059866"/>
              </a:xfrm>
              <a:prstGeom prst="rect">
                <a:avLst/>
              </a:prstGeom>
              <a:solidFill>
                <a:srgbClr val="FF8C00"/>
              </a:solidFill>
              <a:ln w="10795" cap="flat" cmpd="sng" algn="ctr">
                <a:noFill/>
                <a:prstDash val="solid"/>
              </a:ln>
              <a:effectLst/>
            </p:spPr>
            <p:txBody>
              <a:bodyPr lIns="68586" tIns="34293" rIns="68586" bIns="34293" anchor="b"/>
              <a:lstStyle/>
              <a:p>
                <a:pPr defTabSz="699585">
                  <a:lnSpc>
                    <a:spcPct val="90000"/>
                  </a:lnSpc>
                  <a:defRPr/>
                </a:pPr>
                <a:r>
                  <a:rPr lang="zh-CN" altLang="en-US" sz="1224" b="1" kern="0" dirty="0">
                    <a:gradFill>
                      <a:gsLst>
                        <a:gs pos="11024">
                          <a:srgbClr val="FFFFFF"/>
                        </a:gs>
                        <a:gs pos="23000">
                          <a:srgbClr val="FFFFFF"/>
                        </a:gs>
                      </a:gsLst>
                      <a:lin ang="5400000" scaled="1"/>
                    </a:gradFill>
                    <a:latin typeface="微软雅黑" panose="020B0503020204020204" charset="-122"/>
                    <a:ea typeface="微软雅黑" panose="020B0503020204020204" charset="-122"/>
                  </a:rPr>
                  <a:t>高效管理</a:t>
                </a:r>
                <a:endParaRPr lang="en-US" sz="1224" b="1" kern="0" dirty="0">
                  <a:gradFill>
                    <a:gsLst>
                      <a:gs pos="11024">
                        <a:srgbClr val="FFFFFF"/>
                      </a:gs>
                      <a:gs pos="23000">
                        <a:srgbClr val="FFFFFF"/>
                      </a:gs>
                    </a:gsLst>
                    <a:lin ang="5400000" scaled="1"/>
                  </a:gradFill>
                  <a:latin typeface="微软雅黑" panose="020B0503020204020204" charset="-122"/>
                  <a:ea typeface="微软雅黑" panose="020B0503020204020204" charset="-122"/>
                </a:endParaRPr>
              </a:p>
            </p:txBody>
          </p:sp>
          <p:sp>
            <p:nvSpPr>
              <p:cNvPr id="76" name="Freeform 347"/>
              <p:cNvSpPr/>
              <p:nvPr>
                <p:custDataLst>
                  <p:tags r:id="rId1"/>
                </p:custDataLst>
              </p:nvPr>
            </p:nvSpPr>
            <p:spPr>
              <a:xfrm>
                <a:off x="6929613" y="2190078"/>
                <a:ext cx="606070" cy="592970"/>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rgbClr val="FFFFFF"/>
              </a:solidFill>
              <a:ln w="19050" cap="flat" cmpd="sng" algn="ctr">
                <a:noFill/>
                <a:prstDash val="solid"/>
              </a:ln>
              <a:effectLst/>
            </p:spPr>
            <p:txBody>
              <a:bodyPr rtlCol="0" anchor="ctr"/>
              <a:lstStyle/>
              <a:p>
                <a:pPr algn="ctr" defTabSz="685334">
                  <a:defRPr/>
                </a:pPr>
                <a:endParaRPr lang="en-US" sz="1352" kern="0">
                  <a:solidFill>
                    <a:sysClr val="window" lastClr="FFFFFF"/>
                  </a:solidFill>
                  <a:latin typeface="Arial" panose="020B0604020202020204"/>
                </a:endParaRPr>
              </a:p>
            </p:txBody>
          </p:sp>
        </p:grpSp>
      </p:grpSp>
      <p:grpSp>
        <p:nvGrpSpPr>
          <p:cNvPr id="77" name="Group 9"/>
          <p:cNvGrpSpPr/>
          <p:nvPr/>
        </p:nvGrpSpPr>
        <p:grpSpPr>
          <a:xfrm>
            <a:off x="3643610" y="2816781"/>
            <a:ext cx="5180609" cy="1367075"/>
            <a:chOff x="5041086" y="3371202"/>
            <a:chExt cx="6906892" cy="1611714"/>
          </a:xfrm>
        </p:grpSpPr>
        <p:sp>
          <p:nvSpPr>
            <p:cNvPr id="78" name="Rectangle 116"/>
            <p:cNvSpPr/>
            <p:nvPr/>
          </p:nvSpPr>
          <p:spPr bwMode="auto">
            <a:xfrm>
              <a:off x="5041086" y="3866154"/>
              <a:ext cx="3398882" cy="1116762"/>
            </a:xfrm>
            <a:prstGeom prst="rect">
              <a:avLst/>
            </a:prstGeom>
            <a:solidFill>
              <a:srgbClr val="0072C6"/>
            </a:solidFill>
            <a:ln>
              <a:noFill/>
            </a:ln>
          </p:spPr>
          <p:txBody>
            <a:bodyPr rot="0" spcFirstLastPara="0" vertOverflow="overflow" horzOverflow="overflow" vert="horz" wrap="square" lIns="67220" tIns="33611" rIns="67220" bIns="33611" numCol="1" spcCol="0" rtlCol="0" fromWordArt="0" anchor="b" anchorCtr="0" forceAA="0" compatLnSpc="1">
              <a:noAutofit/>
            </a:bodyPr>
            <a:lstStyle/>
            <a:p>
              <a:pPr algn="ctr" defTabSz="699585">
                <a:lnSpc>
                  <a:spcPct val="90000"/>
                </a:lnSpc>
                <a:defRPr/>
              </a:pPr>
              <a:r>
                <a:rPr lang="zh-CN" altLang="en-US" sz="1122" kern="0" dirty="0">
                  <a:gradFill>
                    <a:gsLst>
                      <a:gs pos="11024">
                        <a:srgbClr val="FFFFFF"/>
                      </a:gs>
                      <a:gs pos="23000">
                        <a:srgbClr val="FFFFFF"/>
                      </a:gs>
                    </a:gsLst>
                    <a:lin ang="5400000" scaled="1"/>
                  </a:gradFill>
                  <a:latin typeface="微软雅黑" panose="020B0503020204020204" charset="-122"/>
                  <a:ea typeface="微软雅黑" panose="020B0503020204020204" charset="-122"/>
                </a:rPr>
                <a:t>舒适健康的工作环境</a:t>
              </a:r>
              <a:endParaRPr lang="en-US" sz="1122" kern="0" dirty="0">
                <a:gradFill>
                  <a:gsLst>
                    <a:gs pos="11024">
                      <a:srgbClr val="FFFFFF"/>
                    </a:gs>
                    <a:gs pos="23000">
                      <a:srgbClr val="FFFFFF"/>
                    </a:gs>
                  </a:gsLst>
                  <a:lin ang="5400000" scaled="1"/>
                </a:gradFill>
                <a:latin typeface="微软雅黑" panose="020B0503020204020204" charset="-122"/>
                <a:ea typeface="微软雅黑" panose="020B0503020204020204" charset="-122"/>
              </a:endParaRPr>
            </a:p>
          </p:txBody>
        </p:sp>
        <p:grpSp>
          <p:nvGrpSpPr>
            <p:cNvPr id="79" name="Group 7"/>
            <p:cNvGrpSpPr/>
            <p:nvPr/>
          </p:nvGrpSpPr>
          <p:grpSpPr>
            <a:xfrm>
              <a:off x="5041086" y="3371202"/>
              <a:ext cx="6906892" cy="1585921"/>
              <a:chOff x="5041086" y="3371202"/>
              <a:chExt cx="6906892" cy="1585921"/>
            </a:xfrm>
          </p:grpSpPr>
          <p:grpSp>
            <p:nvGrpSpPr>
              <p:cNvPr id="80" name="Group 390"/>
              <p:cNvGrpSpPr/>
              <p:nvPr/>
            </p:nvGrpSpPr>
            <p:grpSpPr>
              <a:xfrm>
                <a:off x="5041086" y="3371202"/>
                <a:ext cx="6906892" cy="1585921"/>
                <a:chOff x="5034736" y="3123552"/>
                <a:chExt cx="6906892" cy="1585921"/>
              </a:xfrm>
            </p:grpSpPr>
            <p:sp>
              <p:nvSpPr>
                <p:cNvPr id="82" name="Rectangle 391">
                  <a:hlinkClick r:id="" action="ppaction://noaction"/>
                </p:cNvPr>
                <p:cNvSpPr/>
                <p:nvPr/>
              </p:nvSpPr>
              <p:spPr bwMode="auto">
                <a:xfrm>
                  <a:off x="5034736" y="3123552"/>
                  <a:ext cx="6906892" cy="448096"/>
                </a:xfrm>
                <a:prstGeom prst="rect">
                  <a:avLst/>
                </a:prstGeom>
                <a:solidFill>
                  <a:srgbClr val="FFFFFF">
                    <a:lumMod val="75000"/>
                  </a:srgb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68586" tIns="34293" rIns="68586" bIns="0" numCol="1" spcCol="0" rtlCol="0" fromWordArt="0" anchor="ctr" anchorCtr="0" forceAA="0" compatLnSpc="1">
                  <a:noAutofit/>
                </a:bodyPr>
                <a:lstStyle/>
                <a:p>
                  <a:pPr defTabSz="570680">
                    <a:lnSpc>
                      <a:spcPct val="90000"/>
                    </a:lnSpc>
                    <a:defRPr/>
                  </a:pPr>
                  <a:r>
                    <a:rPr lang="zh-CN" alt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舒适</a:t>
                  </a:r>
                  <a:r>
                    <a:rPr lang="zh-CN" altLang="en-US" sz="1400" b="1" kern="0" dirty="0" smtClean="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便捷服务体验，</a:t>
                  </a:r>
                  <a:r>
                    <a:rPr lang="zh-CN" alt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舒适、健康</a:t>
                  </a:r>
                  <a:r>
                    <a:rPr lang="zh-CN" altLang="en-US" sz="1400" b="1" kern="0" dirty="0" smtClean="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便利</a:t>
                  </a:r>
                  <a:r>
                    <a:rPr lang="zh-CN" alt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rPr>
                    <a:t>工作环境</a:t>
                  </a:r>
                  <a:endParaRPr lang="en-US" sz="1400" b="1" kern="0" dirty="0">
                    <a:ln>
                      <a:solidFill>
                        <a:srgbClr val="FFFFFF">
                          <a:alpha val="0"/>
                        </a:srgbClr>
                      </a:solidFill>
                    </a:ln>
                    <a:gradFill>
                      <a:gsLst>
                        <a:gs pos="55000">
                          <a:srgbClr val="505050">
                            <a:lumMod val="75000"/>
                          </a:srgbClr>
                        </a:gs>
                        <a:gs pos="0">
                          <a:srgbClr val="505050">
                            <a:lumMod val="75000"/>
                          </a:srgbClr>
                        </a:gs>
                      </a:gsLst>
                      <a:lin ang="5400000" scaled="0"/>
                    </a:gradFill>
                    <a:latin typeface="微软雅黑" panose="020B0503020204020204" charset="-122"/>
                    <a:ea typeface="微软雅黑" panose="020B0503020204020204" charset="-122"/>
                    <a:cs typeface="Segoe UI Semibold" panose="020B0702040204020203" pitchFamily="34" charset="0"/>
                  </a:endParaRPr>
                </a:p>
              </p:txBody>
            </p:sp>
            <p:grpSp>
              <p:nvGrpSpPr>
                <p:cNvPr id="83" name="Group 404"/>
                <p:cNvGrpSpPr/>
                <p:nvPr/>
              </p:nvGrpSpPr>
              <p:grpSpPr>
                <a:xfrm>
                  <a:off x="10768217" y="3703548"/>
                  <a:ext cx="246751" cy="421549"/>
                  <a:chOff x="10638708" y="2707362"/>
                  <a:chExt cx="251764" cy="430113"/>
                </a:xfrm>
              </p:grpSpPr>
              <p:sp>
                <p:nvSpPr>
                  <p:cNvPr id="89" name="Freeform 405"/>
                  <p:cNvSpPr/>
                  <p:nvPr/>
                </p:nvSpPr>
                <p:spPr bwMode="auto">
                  <a:xfrm>
                    <a:off x="10669702" y="3022774"/>
                    <a:ext cx="192668" cy="114701"/>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10" tIns="33605" rIns="67210" bIns="33605" numCol="1" anchor="t" anchorCtr="0" compatLnSpc="1"/>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4730"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5695" algn="l" defTabSz="913765" rtl="0" eaLnBrk="1" latinLnBrk="0" hangingPunct="1">
                      <a:defRPr sz="1800" kern="1200">
                        <a:solidFill>
                          <a:schemeClr val="tx1"/>
                        </a:solidFill>
                        <a:latin typeface="+mn-lt"/>
                        <a:ea typeface="+mn-ea"/>
                        <a:cs typeface="+mn-cs"/>
                      </a:defRPr>
                    </a:lvl9pPr>
                  </a:lstStyle>
                  <a:p>
                    <a:pPr algn="ctr" defTabSz="419103">
                      <a:defRPr/>
                    </a:pPr>
                    <a:endParaRPr lang="en-US" sz="515" b="1" kern="0" cap="all" dirty="0">
                      <a:solidFill>
                        <a:srgbClr val="000000"/>
                      </a:solidFill>
                      <a:latin typeface="Segoe UI" panose="020B0502040204020203"/>
                    </a:endParaRPr>
                  </a:p>
                </p:txBody>
              </p:sp>
              <p:sp>
                <p:nvSpPr>
                  <p:cNvPr id="90" name="Freeform 406"/>
                  <p:cNvSpPr>
                    <a:spLocks noEditPoints="1"/>
                  </p:cNvSpPr>
                  <p:nvPr/>
                </p:nvSpPr>
                <p:spPr bwMode="auto">
                  <a:xfrm>
                    <a:off x="10638708" y="2707362"/>
                    <a:ext cx="251764" cy="3075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10" tIns="33605" rIns="67210" bIns="33605" numCol="1" anchor="t" anchorCtr="0" compatLnSpc="1"/>
                  <a:lstStyle>
                    <a:defPPr>
                      <a:defRPr lang="en-US"/>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4730"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9130" algn="l" defTabSz="913765" rtl="0" eaLnBrk="1" latinLnBrk="0" hangingPunct="1">
                      <a:defRPr sz="1800" kern="1200">
                        <a:solidFill>
                          <a:schemeClr val="tx1"/>
                        </a:solidFill>
                        <a:latin typeface="+mn-lt"/>
                        <a:ea typeface="+mn-ea"/>
                        <a:cs typeface="+mn-cs"/>
                      </a:defRPr>
                    </a:lvl8pPr>
                    <a:lvl9pPr marL="3655695" algn="l" defTabSz="913765" rtl="0" eaLnBrk="1" latinLnBrk="0" hangingPunct="1">
                      <a:defRPr sz="1800" kern="1200">
                        <a:solidFill>
                          <a:schemeClr val="tx1"/>
                        </a:solidFill>
                        <a:latin typeface="+mn-lt"/>
                        <a:ea typeface="+mn-ea"/>
                        <a:cs typeface="+mn-cs"/>
                      </a:defRPr>
                    </a:lvl9pPr>
                  </a:lstStyle>
                  <a:p>
                    <a:pPr algn="ctr" defTabSz="419103">
                      <a:defRPr/>
                    </a:pPr>
                    <a:endParaRPr lang="en-US" sz="515" b="1" kern="0" cap="all" dirty="0">
                      <a:solidFill>
                        <a:srgbClr val="000000"/>
                      </a:solidFill>
                      <a:latin typeface="Segoe UI" panose="020B0502040204020203"/>
                    </a:endParaRPr>
                  </a:p>
                </p:txBody>
              </p:sp>
            </p:grpSp>
            <p:grpSp>
              <p:nvGrpSpPr>
                <p:cNvPr id="84" name="Group 399"/>
                <p:cNvGrpSpPr/>
                <p:nvPr/>
              </p:nvGrpSpPr>
              <p:grpSpPr>
                <a:xfrm>
                  <a:off x="9316551" y="3749966"/>
                  <a:ext cx="302649" cy="351287"/>
                  <a:chOff x="9397262" y="3770949"/>
                  <a:chExt cx="302650" cy="351287"/>
                </a:xfrm>
              </p:grpSpPr>
              <p:sp>
                <p:nvSpPr>
                  <p:cNvPr id="86" name="Freeform 67"/>
                  <p:cNvSpPr/>
                  <p:nvPr/>
                </p:nvSpPr>
                <p:spPr bwMode="auto">
                  <a:xfrm>
                    <a:off x="9397262" y="3770949"/>
                    <a:ext cx="299886" cy="171085"/>
                  </a:xfrm>
                  <a:custGeom>
                    <a:avLst/>
                    <a:gdLst>
                      <a:gd name="T0" fmla="*/ 312 w 312"/>
                      <a:gd name="T1" fmla="*/ 87 h 178"/>
                      <a:gd name="T2" fmla="*/ 155 w 312"/>
                      <a:gd name="T3" fmla="*/ 0 h 178"/>
                      <a:gd name="T4" fmla="*/ 0 w 312"/>
                      <a:gd name="T5" fmla="*/ 87 h 178"/>
                      <a:gd name="T6" fmla="*/ 155 w 312"/>
                      <a:gd name="T7" fmla="*/ 178 h 178"/>
                      <a:gd name="T8" fmla="*/ 312 w 312"/>
                      <a:gd name="T9" fmla="*/ 87 h 178"/>
                    </a:gdLst>
                    <a:ahLst/>
                    <a:cxnLst>
                      <a:cxn ang="0">
                        <a:pos x="T0" y="T1"/>
                      </a:cxn>
                      <a:cxn ang="0">
                        <a:pos x="T2" y="T3"/>
                      </a:cxn>
                      <a:cxn ang="0">
                        <a:pos x="T4" y="T5"/>
                      </a:cxn>
                      <a:cxn ang="0">
                        <a:pos x="T6" y="T7"/>
                      </a:cxn>
                      <a:cxn ang="0">
                        <a:pos x="T8" y="T9"/>
                      </a:cxn>
                    </a:cxnLst>
                    <a:rect l="0" t="0" r="r" b="b"/>
                    <a:pathLst>
                      <a:path w="312" h="178">
                        <a:moveTo>
                          <a:pt x="312" y="87"/>
                        </a:moveTo>
                        <a:lnTo>
                          <a:pt x="155" y="0"/>
                        </a:lnTo>
                        <a:lnTo>
                          <a:pt x="0" y="87"/>
                        </a:lnTo>
                        <a:lnTo>
                          <a:pt x="155" y="178"/>
                        </a:lnTo>
                        <a:lnTo>
                          <a:pt x="312" y="87"/>
                        </a:lnTo>
                        <a:close/>
                      </a:path>
                    </a:pathLst>
                  </a:custGeom>
                  <a:solidFill>
                    <a:srgbClr val="FFFFFF"/>
                  </a:solidFill>
                  <a:ln>
                    <a:noFill/>
                  </a:ln>
                </p:spPr>
                <p:txBody>
                  <a:bodyPr vert="horz" wrap="square" lIns="67228" tIns="33614" rIns="67228" bIns="33614" numCol="1" anchor="t" anchorCtr="0" compatLnSpc="1"/>
                  <a:lstStyle/>
                  <a:p>
                    <a:pPr defTabSz="685334">
                      <a:defRPr/>
                    </a:pPr>
                    <a:endParaRPr lang="en-US" sz="882" kern="0">
                      <a:solidFill>
                        <a:srgbClr val="000000"/>
                      </a:solidFill>
                    </a:endParaRPr>
                  </a:p>
                </p:txBody>
              </p:sp>
              <p:sp>
                <p:nvSpPr>
                  <p:cNvPr id="87" name="Freeform 68"/>
                  <p:cNvSpPr/>
                  <p:nvPr/>
                </p:nvSpPr>
                <p:spPr bwMode="auto">
                  <a:xfrm>
                    <a:off x="9553814" y="3863685"/>
                    <a:ext cx="146098" cy="258551"/>
                  </a:xfrm>
                  <a:custGeom>
                    <a:avLst/>
                    <a:gdLst>
                      <a:gd name="T0" fmla="*/ 152 w 152"/>
                      <a:gd name="T1" fmla="*/ 0 h 269"/>
                      <a:gd name="T2" fmla="*/ 0 w 152"/>
                      <a:gd name="T3" fmla="*/ 91 h 269"/>
                      <a:gd name="T4" fmla="*/ 0 w 152"/>
                      <a:gd name="T5" fmla="*/ 269 h 269"/>
                      <a:gd name="T6" fmla="*/ 152 w 152"/>
                      <a:gd name="T7" fmla="*/ 180 h 269"/>
                      <a:gd name="T8" fmla="*/ 152 w 152"/>
                      <a:gd name="T9" fmla="*/ 0 h 269"/>
                    </a:gdLst>
                    <a:ahLst/>
                    <a:cxnLst>
                      <a:cxn ang="0">
                        <a:pos x="T0" y="T1"/>
                      </a:cxn>
                      <a:cxn ang="0">
                        <a:pos x="T2" y="T3"/>
                      </a:cxn>
                      <a:cxn ang="0">
                        <a:pos x="T4" y="T5"/>
                      </a:cxn>
                      <a:cxn ang="0">
                        <a:pos x="T6" y="T7"/>
                      </a:cxn>
                      <a:cxn ang="0">
                        <a:pos x="T8" y="T9"/>
                      </a:cxn>
                    </a:cxnLst>
                    <a:rect l="0" t="0" r="r" b="b"/>
                    <a:pathLst>
                      <a:path w="152" h="269">
                        <a:moveTo>
                          <a:pt x="152" y="0"/>
                        </a:moveTo>
                        <a:lnTo>
                          <a:pt x="0" y="91"/>
                        </a:lnTo>
                        <a:lnTo>
                          <a:pt x="0" y="269"/>
                        </a:lnTo>
                        <a:lnTo>
                          <a:pt x="152" y="180"/>
                        </a:lnTo>
                        <a:lnTo>
                          <a:pt x="152" y="0"/>
                        </a:lnTo>
                        <a:close/>
                      </a:path>
                    </a:pathLst>
                  </a:custGeom>
                  <a:solidFill>
                    <a:srgbClr val="FFFFFF"/>
                  </a:solidFill>
                  <a:ln>
                    <a:noFill/>
                  </a:ln>
                </p:spPr>
                <p:txBody>
                  <a:bodyPr vert="horz" wrap="square" lIns="67228" tIns="33614" rIns="67228" bIns="33614" numCol="1" anchor="t" anchorCtr="0" compatLnSpc="1"/>
                  <a:lstStyle/>
                  <a:p>
                    <a:pPr defTabSz="685334">
                      <a:defRPr/>
                    </a:pPr>
                    <a:endParaRPr lang="en-US" sz="882" kern="0">
                      <a:solidFill>
                        <a:srgbClr val="000000"/>
                      </a:solidFill>
                    </a:endParaRPr>
                  </a:p>
                </p:txBody>
              </p:sp>
              <p:sp>
                <p:nvSpPr>
                  <p:cNvPr id="88" name="Freeform 69"/>
                  <p:cNvSpPr/>
                  <p:nvPr/>
                </p:nvSpPr>
                <p:spPr bwMode="auto">
                  <a:xfrm>
                    <a:off x="9397262" y="3863685"/>
                    <a:ext cx="148020" cy="258551"/>
                  </a:xfrm>
                  <a:custGeom>
                    <a:avLst/>
                    <a:gdLst>
                      <a:gd name="T0" fmla="*/ 0 w 154"/>
                      <a:gd name="T1" fmla="*/ 0 h 269"/>
                      <a:gd name="T2" fmla="*/ 154 w 154"/>
                      <a:gd name="T3" fmla="*/ 91 h 269"/>
                      <a:gd name="T4" fmla="*/ 154 w 154"/>
                      <a:gd name="T5" fmla="*/ 269 h 269"/>
                      <a:gd name="T6" fmla="*/ 0 w 154"/>
                      <a:gd name="T7" fmla="*/ 180 h 269"/>
                      <a:gd name="T8" fmla="*/ 0 w 154"/>
                      <a:gd name="T9" fmla="*/ 0 h 269"/>
                    </a:gdLst>
                    <a:ahLst/>
                    <a:cxnLst>
                      <a:cxn ang="0">
                        <a:pos x="T0" y="T1"/>
                      </a:cxn>
                      <a:cxn ang="0">
                        <a:pos x="T2" y="T3"/>
                      </a:cxn>
                      <a:cxn ang="0">
                        <a:pos x="T4" y="T5"/>
                      </a:cxn>
                      <a:cxn ang="0">
                        <a:pos x="T6" y="T7"/>
                      </a:cxn>
                      <a:cxn ang="0">
                        <a:pos x="T8" y="T9"/>
                      </a:cxn>
                    </a:cxnLst>
                    <a:rect l="0" t="0" r="r" b="b"/>
                    <a:pathLst>
                      <a:path w="154" h="269">
                        <a:moveTo>
                          <a:pt x="0" y="0"/>
                        </a:moveTo>
                        <a:lnTo>
                          <a:pt x="154" y="91"/>
                        </a:lnTo>
                        <a:lnTo>
                          <a:pt x="154" y="269"/>
                        </a:lnTo>
                        <a:lnTo>
                          <a:pt x="0" y="180"/>
                        </a:lnTo>
                        <a:lnTo>
                          <a:pt x="0" y="0"/>
                        </a:lnTo>
                        <a:close/>
                      </a:path>
                    </a:pathLst>
                  </a:custGeom>
                  <a:solidFill>
                    <a:srgbClr val="FFFFFF"/>
                  </a:solidFill>
                  <a:ln>
                    <a:noFill/>
                  </a:ln>
                </p:spPr>
                <p:txBody>
                  <a:bodyPr vert="horz" wrap="square" lIns="67228" tIns="33614" rIns="67228" bIns="33614" numCol="1" anchor="t" anchorCtr="0" compatLnSpc="1"/>
                  <a:lstStyle/>
                  <a:p>
                    <a:pPr defTabSz="685334">
                      <a:defRPr/>
                    </a:pPr>
                    <a:endParaRPr lang="en-US" sz="882" kern="0">
                      <a:solidFill>
                        <a:srgbClr val="000000"/>
                      </a:solidFill>
                    </a:endParaRPr>
                  </a:p>
                </p:txBody>
              </p:sp>
            </p:grpSp>
            <p:sp>
              <p:nvSpPr>
                <p:cNvPr id="85" name="Rectangle 396"/>
                <p:cNvSpPr/>
                <p:nvPr/>
              </p:nvSpPr>
              <p:spPr bwMode="auto">
                <a:xfrm>
                  <a:off x="8605818" y="3598829"/>
                  <a:ext cx="3335810" cy="1110644"/>
                </a:xfrm>
                <a:prstGeom prst="rect">
                  <a:avLst/>
                </a:prstGeom>
                <a:solidFill>
                  <a:srgbClr val="0072C6"/>
                </a:solidFill>
                <a:ln>
                  <a:noFill/>
                </a:ln>
              </p:spPr>
              <p:txBody>
                <a:bodyPr rot="0" spcFirstLastPara="0" vertOverflow="overflow" horzOverflow="overflow" vert="horz" wrap="square" lIns="67220" tIns="33611" rIns="67220" bIns="33611" numCol="1" spcCol="0" rtlCol="0" fromWordArt="0" anchor="b" anchorCtr="0" forceAA="0" compatLnSpc="1">
                  <a:noAutofit/>
                </a:bodyPr>
                <a:lstStyle/>
                <a:p>
                  <a:pPr algn="ctr" defTabSz="699585">
                    <a:lnSpc>
                      <a:spcPct val="90000"/>
                    </a:lnSpc>
                    <a:defRPr/>
                  </a:pPr>
                  <a:r>
                    <a:rPr lang="zh-CN" altLang="en-US" sz="1122" kern="0" dirty="0">
                      <a:gradFill>
                        <a:gsLst>
                          <a:gs pos="11024">
                            <a:srgbClr val="FFFFFF"/>
                          </a:gs>
                          <a:gs pos="23000">
                            <a:srgbClr val="FFFFFF"/>
                          </a:gs>
                        </a:gsLst>
                        <a:lin ang="5400000" scaled="1"/>
                      </a:gradFill>
                      <a:latin typeface="微软雅黑" panose="020B0503020204020204" charset="-122"/>
                      <a:ea typeface="微软雅黑" panose="020B0503020204020204" charset="-122"/>
                    </a:rPr>
                    <a:t>便利的生活配套</a:t>
                  </a:r>
                  <a:endParaRPr lang="en-US" sz="1122" kern="0" dirty="0">
                    <a:gradFill>
                      <a:gsLst>
                        <a:gs pos="11024">
                          <a:srgbClr val="FFFFFF"/>
                        </a:gs>
                        <a:gs pos="23000">
                          <a:srgbClr val="FFFFFF"/>
                        </a:gs>
                      </a:gsLst>
                      <a:lin ang="5400000" scaled="1"/>
                    </a:gradFill>
                    <a:latin typeface="微软雅黑" panose="020B0503020204020204" charset="-122"/>
                    <a:ea typeface="微软雅黑" panose="020B0503020204020204" charset="-122"/>
                  </a:endParaRPr>
                </a:p>
              </p:txBody>
            </p:sp>
          </p:grpSp>
          <p:sp>
            <p:nvSpPr>
              <p:cNvPr id="81" name="Freeform 122"/>
              <p:cNvSpPr>
                <a:spLocks noEditPoints="1"/>
              </p:cNvSpPr>
              <p:nvPr/>
            </p:nvSpPr>
            <p:spPr bwMode="auto">
              <a:xfrm>
                <a:off x="5807276" y="4030837"/>
                <a:ext cx="768148" cy="489483"/>
              </a:xfrm>
              <a:custGeom>
                <a:avLst/>
                <a:gdLst>
                  <a:gd name="T0" fmla="*/ 50 w 476"/>
                  <a:gd name="T1" fmla="*/ 137 h 344"/>
                  <a:gd name="T2" fmla="*/ 74 w 476"/>
                  <a:gd name="T3" fmla="*/ 122 h 344"/>
                  <a:gd name="T4" fmla="*/ 149 w 476"/>
                  <a:gd name="T5" fmla="*/ 120 h 344"/>
                  <a:gd name="T6" fmla="*/ 346 w 476"/>
                  <a:gd name="T7" fmla="*/ 132 h 344"/>
                  <a:gd name="T8" fmla="*/ 322 w 476"/>
                  <a:gd name="T9" fmla="*/ 147 h 344"/>
                  <a:gd name="T10" fmla="*/ 168 w 476"/>
                  <a:gd name="T11" fmla="*/ 141 h 344"/>
                  <a:gd name="T12" fmla="*/ 195 w 476"/>
                  <a:gd name="T13" fmla="*/ 182 h 344"/>
                  <a:gd name="T14" fmla="*/ 299 w 476"/>
                  <a:gd name="T15" fmla="*/ 188 h 344"/>
                  <a:gd name="T16" fmla="*/ 320 w 476"/>
                  <a:gd name="T17" fmla="*/ 169 h 344"/>
                  <a:gd name="T18" fmla="*/ 177 w 476"/>
                  <a:gd name="T19" fmla="*/ 160 h 344"/>
                  <a:gd name="T20" fmla="*/ 52 w 476"/>
                  <a:gd name="T21" fmla="*/ 163 h 344"/>
                  <a:gd name="T22" fmla="*/ 29 w 476"/>
                  <a:gd name="T23" fmla="*/ 177 h 344"/>
                  <a:gd name="T24" fmla="*/ 195 w 476"/>
                  <a:gd name="T25" fmla="*/ 182 h 344"/>
                  <a:gd name="T26" fmla="*/ 238 w 476"/>
                  <a:gd name="T27" fmla="*/ 207 h 344"/>
                  <a:gd name="T28" fmla="*/ 294 w 476"/>
                  <a:gd name="T29" fmla="*/ 227 h 344"/>
                  <a:gd name="T30" fmla="*/ 238 w 476"/>
                  <a:gd name="T31" fmla="*/ 179 h 344"/>
                  <a:gd name="T32" fmla="*/ 116 w 476"/>
                  <a:gd name="T33" fmla="*/ 241 h 344"/>
                  <a:gd name="T34" fmla="*/ 9 w 476"/>
                  <a:gd name="T35" fmla="*/ 193 h 344"/>
                  <a:gd name="T36" fmla="*/ 116 w 476"/>
                  <a:gd name="T37" fmla="*/ 269 h 344"/>
                  <a:gd name="T38" fmla="*/ 473 w 476"/>
                  <a:gd name="T39" fmla="*/ 135 h 344"/>
                  <a:gd name="T40" fmla="*/ 443 w 476"/>
                  <a:gd name="T41" fmla="*/ 121 h 344"/>
                  <a:gd name="T42" fmla="*/ 435 w 476"/>
                  <a:gd name="T43" fmla="*/ 95 h 344"/>
                  <a:gd name="T44" fmla="*/ 447 w 476"/>
                  <a:gd name="T45" fmla="*/ 62 h 344"/>
                  <a:gd name="T46" fmla="*/ 404 w 476"/>
                  <a:gd name="T47" fmla="*/ 24 h 344"/>
                  <a:gd name="T48" fmla="*/ 370 w 476"/>
                  <a:gd name="T49" fmla="*/ 37 h 344"/>
                  <a:gd name="T50" fmla="*/ 348 w 476"/>
                  <a:gd name="T51" fmla="*/ 26 h 344"/>
                  <a:gd name="T52" fmla="*/ 334 w 476"/>
                  <a:gd name="T53" fmla="*/ 3 h 344"/>
                  <a:gd name="T54" fmla="*/ 276 w 476"/>
                  <a:gd name="T55" fmla="*/ 3 h 344"/>
                  <a:gd name="T56" fmla="*/ 263 w 476"/>
                  <a:gd name="T57" fmla="*/ 31 h 344"/>
                  <a:gd name="T58" fmla="*/ 237 w 476"/>
                  <a:gd name="T59" fmla="*/ 38 h 344"/>
                  <a:gd name="T60" fmla="*/ 204 w 476"/>
                  <a:gd name="T61" fmla="*/ 25 h 344"/>
                  <a:gd name="T62" fmla="*/ 166 w 476"/>
                  <a:gd name="T63" fmla="*/ 68 h 344"/>
                  <a:gd name="T64" fmla="*/ 238 w 476"/>
                  <a:gd name="T65" fmla="*/ 66 h 344"/>
                  <a:gd name="T66" fmla="*/ 378 w 476"/>
                  <a:gd name="T67" fmla="*/ 171 h 344"/>
                  <a:gd name="T68" fmla="*/ 291 w 476"/>
                  <a:gd name="T69" fmla="*/ 240 h 344"/>
                  <a:gd name="T70" fmla="*/ 265 w 476"/>
                  <a:gd name="T71" fmla="*/ 229 h 344"/>
                  <a:gd name="T72" fmla="*/ 261 w 476"/>
                  <a:gd name="T73" fmla="*/ 225 h 344"/>
                  <a:gd name="T74" fmla="*/ 215 w 476"/>
                  <a:gd name="T75" fmla="*/ 236 h 344"/>
                  <a:gd name="T76" fmla="*/ 204 w 476"/>
                  <a:gd name="T77" fmla="*/ 305 h 344"/>
                  <a:gd name="T78" fmla="*/ 235 w 476"/>
                  <a:gd name="T79" fmla="*/ 293 h 344"/>
                  <a:gd name="T80" fmla="*/ 263 w 476"/>
                  <a:gd name="T81" fmla="*/ 302 h 344"/>
                  <a:gd name="T82" fmla="*/ 276 w 476"/>
                  <a:gd name="T83" fmla="*/ 337 h 344"/>
                  <a:gd name="T84" fmla="*/ 334 w 476"/>
                  <a:gd name="T85" fmla="*/ 344 h 344"/>
                  <a:gd name="T86" fmla="*/ 348 w 476"/>
                  <a:gd name="T87" fmla="*/ 309 h 344"/>
                  <a:gd name="T88" fmla="*/ 373 w 476"/>
                  <a:gd name="T89" fmla="*/ 294 h 344"/>
                  <a:gd name="T90" fmla="*/ 404 w 476"/>
                  <a:gd name="T91" fmla="*/ 305 h 344"/>
                  <a:gd name="T92" fmla="*/ 447 w 476"/>
                  <a:gd name="T93" fmla="*/ 267 h 344"/>
                  <a:gd name="T94" fmla="*/ 435 w 476"/>
                  <a:gd name="T95" fmla="*/ 236 h 344"/>
                  <a:gd name="T96" fmla="*/ 444 w 476"/>
                  <a:gd name="T97" fmla="*/ 210 h 344"/>
                  <a:gd name="T98" fmla="*/ 473 w 476"/>
                  <a:gd name="T99" fmla="*/ 197 h 344"/>
                  <a:gd name="T100" fmla="*/ 476 w 476"/>
                  <a:gd name="T101" fmla="*/ 13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6" h="344">
                    <a:moveTo>
                      <a:pt x="116" y="169"/>
                    </a:moveTo>
                    <a:cubicBezTo>
                      <a:pt x="72" y="169"/>
                      <a:pt x="51" y="138"/>
                      <a:pt x="50" y="137"/>
                    </a:cubicBezTo>
                    <a:cubicBezTo>
                      <a:pt x="46" y="131"/>
                      <a:pt x="48" y="122"/>
                      <a:pt x="54" y="118"/>
                    </a:cubicBezTo>
                    <a:cubicBezTo>
                      <a:pt x="61" y="113"/>
                      <a:pt x="69" y="115"/>
                      <a:pt x="74" y="122"/>
                    </a:cubicBezTo>
                    <a:cubicBezTo>
                      <a:pt x="74" y="123"/>
                      <a:pt x="87" y="141"/>
                      <a:pt x="116" y="141"/>
                    </a:cubicBezTo>
                    <a:cubicBezTo>
                      <a:pt x="126" y="141"/>
                      <a:pt x="136" y="132"/>
                      <a:pt x="149" y="120"/>
                    </a:cubicBezTo>
                    <a:cubicBezTo>
                      <a:pt x="169" y="101"/>
                      <a:pt x="195" y="78"/>
                      <a:pt x="238" y="78"/>
                    </a:cubicBezTo>
                    <a:cubicBezTo>
                      <a:pt x="312" y="78"/>
                      <a:pt x="344" y="130"/>
                      <a:pt x="346" y="132"/>
                    </a:cubicBezTo>
                    <a:cubicBezTo>
                      <a:pt x="350" y="139"/>
                      <a:pt x="348" y="147"/>
                      <a:pt x="341" y="151"/>
                    </a:cubicBezTo>
                    <a:cubicBezTo>
                      <a:pt x="334" y="155"/>
                      <a:pt x="326" y="153"/>
                      <a:pt x="322" y="147"/>
                    </a:cubicBezTo>
                    <a:cubicBezTo>
                      <a:pt x="321" y="145"/>
                      <a:pt x="296" y="106"/>
                      <a:pt x="238" y="106"/>
                    </a:cubicBezTo>
                    <a:cubicBezTo>
                      <a:pt x="206" y="106"/>
                      <a:pt x="186" y="124"/>
                      <a:pt x="168" y="141"/>
                    </a:cubicBezTo>
                    <a:cubicBezTo>
                      <a:pt x="153" y="155"/>
                      <a:pt x="137" y="169"/>
                      <a:pt x="116" y="169"/>
                    </a:cubicBezTo>
                    <a:close/>
                    <a:moveTo>
                      <a:pt x="195" y="182"/>
                    </a:moveTo>
                    <a:cubicBezTo>
                      <a:pt x="211" y="169"/>
                      <a:pt x="224" y="158"/>
                      <a:pt x="238" y="158"/>
                    </a:cubicBezTo>
                    <a:cubicBezTo>
                      <a:pt x="272" y="158"/>
                      <a:pt x="299" y="187"/>
                      <a:pt x="299" y="188"/>
                    </a:cubicBezTo>
                    <a:cubicBezTo>
                      <a:pt x="304" y="193"/>
                      <a:pt x="313" y="194"/>
                      <a:pt x="319" y="189"/>
                    </a:cubicBezTo>
                    <a:cubicBezTo>
                      <a:pt x="324" y="184"/>
                      <a:pt x="325" y="175"/>
                      <a:pt x="320" y="169"/>
                    </a:cubicBezTo>
                    <a:cubicBezTo>
                      <a:pt x="319" y="168"/>
                      <a:pt x="285" y="130"/>
                      <a:pt x="238" y="130"/>
                    </a:cubicBezTo>
                    <a:cubicBezTo>
                      <a:pt x="214" y="130"/>
                      <a:pt x="195" y="145"/>
                      <a:pt x="177" y="160"/>
                    </a:cubicBezTo>
                    <a:cubicBezTo>
                      <a:pt x="158" y="176"/>
                      <a:pt x="140" y="191"/>
                      <a:pt x="116" y="191"/>
                    </a:cubicBezTo>
                    <a:cubicBezTo>
                      <a:pt x="71" y="191"/>
                      <a:pt x="53" y="164"/>
                      <a:pt x="52" y="163"/>
                    </a:cubicBezTo>
                    <a:cubicBezTo>
                      <a:pt x="48" y="156"/>
                      <a:pt x="40" y="154"/>
                      <a:pt x="33" y="158"/>
                    </a:cubicBezTo>
                    <a:cubicBezTo>
                      <a:pt x="27" y="162"/>
                      <a:pt x="25" y="171"/>
                      <a:pt x="29" y="177"/>
                    </a:cubicBezTo>
                    <a:cubicBezTo>
                      <a:pt x="30" y="179"/>
                      <a:pt x="54" y="219"/>
                      <a:pt x="116" y="219"/>
                    </a:cubicBezTo>
                    <a:cubicBezTo>
                      <a:pt x="150" y="219"/>
                      <a:pt x="174" y="199"/>
                      <a:pt x="195" y="182"/>
                    </a:cubicBezTo>
                    <a:close/>
                    <a:moveTo>
                      <a:pt x="207" y="227"/>
                    </a:moveTo>
                    <a:cubicBezTo>
                      <a:pt x="219" y="216"/>
                      <a:pt x="229" y="207"/>
                      <a:pt x="238" y="207"/>
                    </a:cubicBezTo>
                    <a:cubicBezTo>
                      <a:pt x="265" y="207"/>
                      <a:pt x="274" y="222"/>
                      <a:pt x="275" y="222"/>
                    </a:cubicBezTo>
                    <a:cubicBezTo>
                      <a:pt x="279" y="229"/>
                      <a:pt x="287" y="231"/>
                      <a:pt x="294" y="227"/>
                    </a:cubicBezTo>
                    <a:cubicBezTo>
                      <a:pt x="301" y="223"/>
                      <a:pt x="303" y="214"/>
                      <a:pt x="299" y="208"/>
                    </a:cubicBezTo>
                    <a:cubicBezTo>
                      <a:pt x="298" y="206"/>
                      <a:pt x="281" y="179"/>
                      <a:pt x="238" y="179"/>
                    </a:cubicBezTo>
                    <a:cubicBezTo>
                      <a:pt x="218" y="179"/>
                      <a:pt x="204" y="192"/>
                      <a:pt x="188" y="206"/>
                    </a:cubicBezTo>
                    <a:cubicBezTo>
                      <a:pt x="170" y="223"/>
                      <a:pt x="150" y="241"/>
                      <a:pt x="116" y="241"/>
                    </a:cubicBezTo>
                    <a:cubicBezTo>
                      <a:pt x="57" y="241"/>
                      <a:pt x="29" y="199"/>
                      <a:pt x="28" y="197"/>
                    </a:cubicBezTo>
                    <a:cubicBezTo>
                      <a:pt x="24" y="191"/>
                      <a:pt x="15" y="189"/>
                      <a:pt x="9" y="193"/>
                    </a:cubicBezTo>
                    <a:cubicBezTo>
                      <a:pt x="2" y="197"/>
                      <a:pt x="0" y="206"/>
                      <a:pt x="4" y="212"/>
                    </a:cubicBezTo>
                    <a:cubicBezTo>
                      <a:pt x="6" y="214"/>
                      <a:pt x="40" y="269"/>
                      <a:pt x="116" y="269"/>
                    </a:cubicBezTo>
                    <a:cubicBezTo>
                      <a:pt x="161" y="269"/>
                      <a:pt x="188" y="245"/>
                      <a:pt x="207" y="227"/>
                    </a:cubicBezTo>
                    <a:close/>
                    <a:moveTo>
                      <a:pt x="473" y="135"/>
                    </a:moveTo>
                    <a:cubicBezTo>
                      <a:pt x="447" y="125"/>
                      <a:pt x="447" y="125"/>
                      <a:pt x="447" y="125"/>
                    </a:cubicBezTo>
                    <a:cubicBezTo>
                      <a:pt x="446" y="125"/>
                      <a:pt x="444" y="123"/>
                      <a:pt x="443" y="121"/>
                    </a:cubicBezTo>
                    <a:cubicBezTo>
                      <a:pt x="435" y="101"/>
                      <a:pt x="435" y="101"/>
                      <a:pt x="435" y="101"/>
                    </a:cubicBezTo>
                    <a:cubicBezTo>
                      <a:pt x="434" y="99"/>
                      <a:pt x="434" y="97"/>
                      <a:pt x="435" y="95"/>
                    </a:cubicBezTo>
                    <a:cubicBezTo>
                      <a:pt x="448" y="68"/>
                      <a:pt x="448" y="68"/>
                      <a:pt x="448" y="68"/>
                    </a:cubicBezTo>
                    <a:cubicBezTo>
                      <a:pt x="449" y="66"/>
                      <a:pt x="449" y="64"/>
                      <a:pt x="447" y="62"/>
                    </a:cubicBezTo>
                    <a:cubicBezTo>
                      <a:pt x="409" y="25"/>
                      <a:pt x="409" y="25"/>
                      <a:pt x="409" y="25"/>
                    </a:cubicBezTo>
                    <a:cubicBezTo>
                      <a:pt x="408" y="23"/>
                      <a:pt x="406" y="23"/>
                      <a:pt x="404" y="24"/>
                    </a:cubicBezTo>
                    <a:cubicBezTo>
                      <a:pt x="377" y="37"/>
                      <a:pt x="377" y="37"/>
                      <a:pt x="377" y="37"/>
                    </a:cubicBezTo>
                    <a:cubicBezTo>
                      <a:pt x="375" y="38"/>
                      <a:pt x="372" y="38"/>
                      <a:pt x="370" y="37"/>
                    </a:cubicBezTo>
                    <a:cubicBezTo>
                      <a:pt x="352" y="30"/>
                      <a:pt x="352" y="30"/>
                      <a:pt x="352" y="30"/>
                    </a:cubicBezTo>
                    <a:cubicBezTo>
                      <a:pt x="350" y="29"/>
                      <a:pt x="349" y="27"/>
                      <a:pt x="348" y="26"/>
                    </a:cubicBezTo>
                    <a:cubicBezTo>
                      <a:pt x="338" y="3"/>
                      <a:pt x="338" y="3"/>
                      <a:pt x="338" y="3"/>
                    </a:cubicBezTo>
                    <a:cubicBezTo>
                      <a:pt x="338" y="0"/>
                      <a:pt x="335" y="3"/>
                      <a:pt x="334" y="3"/>
                    </a:cubicBezTo>
                    <a:cubicBezTo>
                      <a:pt x="281" y="3"/>
                      <a:pt x="281" y="3"/>
                      <a:pt x="281" y="3"/>
                    </a:cubicBezTo>
                    <a:cubicBezTo>
                      <a:pt x="279" y="3"/>
                      <a:pt x="277" y="0"/>
                      <a:pt x="276" y="3"/>
                    </a:cubicBezTo>
                    <a:cubicBezTo>
                      <a:pt x="267" y="27"/>
                      <a:pt x="267" y="27"/>
                      <a:pt x="267" y="27"/>
                    </a:cubicBezTo>
                    <a:cubicBezTo>
                      <a:pt x="267" y="29"/>
                      <a:pt x="264" y="30"/>
                      <a:pt x="263" y="31"/>
                    </a:cubicBezTo>
                    <a:cubicBezTo>
                      <a:pt x="244" y="38"/>
                      <a:pt x="244" y="38"/>
                      <a:pt x="244" y="38"/>
                    </a:cubicBezTo>
                    <a:cubicBezTo>
                      <a:pt x="242" y="39"/>
                      <a:pt x="239" y="38"/>
                      <a:pt x="237" y="38"/>
                    </a:cubicBezTo>
                    <a:cubicBezTo>
                      <a:pt x="210" y="24"/>
                      <a:pt x="210" y="24"/>
                      <a:pt x="210" y="24"/>
                    </a:cubicBezTo>
                    <a:cubicBezTo>
                      <a:pt x="208" y="23"/>
                      <a:pt x="205" y="24"/>
                      <a:pt x="204" y="25"/>
                    </a:cubicBezTo>
                    <a:cubicBezTo>
                      <a:pt x="166" y="62"/>
                      <a:pt x="166" y="62"/>
                      <a:pt x="166" y="62"/>
                    </a:cubicBezTo>
                    <a:cubicBezTo>
                      <a:pt x="165" y="64"/>
                      <a:pt x="164" y="66"/>
                      <a:pt x="166" y="68"/>
                    </a:cubicBezTo>
                    <a:cubicBezTo>
                      <a:pt x="169" y="75"/>
                      <a:pt x="172" y="81"/>
                      <a:pt x="174" y="85"/>
                    </a:cubicBezTo>
                    <a:cubicBezTo>
                      <a:pt x="190" y="75"/>
                      <a:pt x="211" y="66"/>
                      <a:pt x="238" y="66"/>
                    </a:cubicBezTo>
                    <a:cubicBezTo>
                      <a:pt x="294" y="66"/>
                      <a:pt x="329" y="94"/>
                      <a:pt x="345" y="112"/>
                    </a:cubicBezTo>
                    <a:cubicBezTo>
                      <a:pt x="365" y="124"/>
                      <a:pt x="378" y="146"/>
                      <a:pt x="378" y="171"/>
                    </a:cubicBezTo>
                    <a:cubicBezTo>
                      <a:pt x="378" y="210"/>
                      <a:pt x="346" y="242"/>
                      <a:pt x="307" y="242"/>
                    </a:cubicBezTo>
                    <a:cubicBezTo>
                      <a:pt x="301" y="242"/>
                      <a:pt x="296" y="242"/>
                      <a:pt x="291" y="240"/>
                    </a:cubicBezTo>
                    <a:cubicBezTo>
                      <a:pt x="289" y="241"/>
                      <a:pt x="288" y="241"/>
                      <a:pt x="287" y="241"/>
                    </a:cubicBezTo>
                    <a:cubicBezTo>
                      <a:pt x="278" y="241"/>
                      <a:pt x="269" y="236"/>
                      <a:pt x="265" y="229"/>
                    </a:cubicBezTo>
                    <a:cubicBezTo>
                      <a:pt x="265" y="228"/>
                      <a:pt x="264" y="228"/>
                      <a:pt x="264" y="228"/>
                    </a:cubicBezTo>
                    <a:cubicBezTo>
                      <a:pt x="263" y="227"/>
                      <a:pt x="262" y="226"/>
                      <a:pt x="261" y="225"/>
                    </a:cubicBezTo>
                    <a:cubicBezTo>
                      <a:pt x="257" y="222"/>
                      <a:pt x="250" y="219"/>
                      <a:pt x="238" y="219"/>
                    </a:cubicBezTo>
                    <a:cubicBezTo>
                      <a:pt x="234" y="219"/>
                      <a:pt x="224" y="228"/>
                      <a:pt x="215" y="236"/>
                    </a:cubicBezTo>
                    <a:cubicBezTo>
                      <a:pt x="204" y="246"/>
                      <a:pt x="189" y="260"/>
                      <a:pt x="168" y="269"/>
                    </a:cubicBezTo>
                    <a:cubicBezTo>
                      <a:pt x="204" y="304"/>
                      <a:pt x="204" y="305"/>
                      <a:pt x="204" y="305"/>
                    </a:cubicBezTo>
                    <a:cubicBezTo>
                      <a:pt x="205" y="306"/>
                      <a:pt x="208" y="307"/>
                      <a:pt x="210" y="305"/>
                    </a:cubicBezTo>
                    <a:cubicBezTo>
                      <a:pt x="235" y="293"/>
                      <a:pt x="235" y="293"/>
                      <a:pt x="235" y="293"/>
                    </a:cubicBezTo>
                    <a:cubicBezTo>
                      <a:pt x="237" y="292"/>
                      <a:pt x="240" y="292"/>
                      <a:pt x="241" y="293"/>
                    </a:cubicBezTo>
                    <a:cubicBezTo>
                      <a:pt x="263" y="302"/>
                      <a:pt x="263" y="302"/>
                      <a:pt x="263" y="302"/>
                    </a:cubicBezTo>
                    <a:cubicBezTo>
                      <a:pt x="264" y="303"/>
                      <a:pt x="267" y="305"/>
                      <a:pt x="267" y="307"/>
                    </a:cubicBezTo>
                    <a:cubicBezTo>
                      <a:pt x="276" y="337"/>
                      <a:pt x="276" y="337"/>
                      <a:pt x="276" y="337"/>
                    </a:cubicBezTo>
                    <a:cubicBezTo>
                      <a:pt x="277" y="338"/>
                      <a:pt x="279" y="344"/>
                      <a:pt x="281" y="344"/>
                    </a:cubicBezTo>
                    <a:cubicBezTo>
                      <a:pt x="334" y="344"/>
                      <a:pt x="334" y="344"/>
                      <a:pt x="334" y="344"/>
                    </a:cubicBezTo>
                    <a:cubicBezTo>
                      <a:pt x="335" y="344"/>
                      <a:pt x="338" y="338"/>
                      <a:pt x="338" y="337"/>
                    </a:cubicBezTo>
                    <a:cubicBezTo>
                      <a:pt x="348" y="309"/>
                      <a:pt x="348" y="309"/>
                      <a:pt x="348" y="309"/>
                    </a:cubicBezTo>
                    <a:cubicBezTo>
                      <a:pt x="349" y="307"/>
                      <a:pt x="350" y="304"/>
                      <a:pt x="352" y="303"/>
                    </a:cubicBezTo>
                    <a:cubicBezTo>
                      <a:pt x="373" y="294"/>
                      <a:pt x="373" y="294"/>
                      <a:pt x="373" y="294"/>
                    </a:cubicBezTo>
                    <a:cubicBezTo>
                      <a:pt x="375" y="293"/>
                      <a:pt x="377" y="293"/>
                      <a:pt x="379" y="294"/>
                    </a:cubicBezTo>
                    <a:cubicBezTo>
                      <a:pt x="404" y="305"/>
                      <a:pt x="404" y="305"/>
                      <a:pt x="404" y="305"/>
                    </a:cubicBezTo>
                    <a:cubicBezTo>
                      <a:pt x="406" y="307"/>
                      <a:pt x="408" y="306"/>
                      <a:pt x="409" y="305"/>
                    </a:cubicBezTo>
                    <a:cubicBezTo>
                      <a:pt x="447" y="267"/>
                      <a:pt x="447" y="267"/>
                      <a:pt x="447" y="267"/>
                    </a:cubicBezTo>
                    <a:cubicBezTo>
                      <a:pt x="449" y="266"/>
                      <a:pt x="449" y="263"/>
                      <a:pt x="448" y="262"/>
                    </a:cubicBezTo>
                    <a:cubicBezTo>
                      <a:pt x="435" y="236"/>
                      <a:pt x="435" y="236"/>
                      <a:pt x="435" y="236"/>
                    </a:cubicBezTo>
                    <a:cubicBezTo>
                      <a:pt x="435" y="234"/>
                      <a:pt x="435" y="231"/>
                      <a:pt x="435" y="230"/>
                    </a:cubicBezTo>
                    <a:cubicBezTo>
                      <a:pt x="444" y="210"/>
                      <a:pt x="444" y="210"/>
                      <a:pt x="444" y="210"/>
                    </a:cubicBezTo>
                    <a:cubicBezTo>
                      <a:pt x="444" y="209"/>
                      <a:pt x="446" y="207"/>
                      <a:pt x="448" y="206"/>
                    </a:cubicBezTo>
                    <a:cubicBezTo>
                      <a:pt x="473" y="197"/>
                      <a:pt x="473" y="197"/>
                      <a:pt x="473" y="197"/>
                    </a:cubicBezTo>
                    <a:cubicBezTo>
                      <a:pt x="475" y="196"/>
                      <a:pt x="476" y="195"/>
                      <a:pt x="476" y="192"/>
                    </a:cubicBezTo>
                    <a:cubicBezTo>
                      <a:pt x="476" y="139"/>
                      <a:pt x="476" y="139"/>
                      <a:pt x="476" y="139"/>
                    </a:cubicBezTo>
                    <a:cubicBezTo>
                      <a:pt x="476" y="138"/>
                      <a:pt x="475" y="136"/>
                      <a:pt x="473" y="13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10" tIns="33605" rIns="67210" bIns="33605" numCol="1" anchor="t" anchorCtr="0" compatLnSpc="1"/>
              <a:lstStyle/>
              <a:p>
                <a:pPr defTabSz="671731">
                  <a:defRPr/>
                </a:pPr>
                <a:endParaRPr lang="en-US" sz="1250" kern="0">
                  <a:solidFill>
                    <a:srgbClr val="000000"/>
                  </a:solidFill>
                </a:endParaRPr>
              </a:p>
            </p:txBody>
          </p:sp>
        </p:grpSp>
      </p:grpSp>
      <p:sp>
        <p:nvSpPr>
          <p:cNvPr id="91" name="Freeform 61"/>
          <p:cNvSpPr>
            <a:spLocks noChangeAspect="1" noEditPoints="1"/>
          </p:cNvSpPr>
          <p:nvPr/>
        </p:nvSpPr>
        <p:spPr bwMode="auto">
          <a:xfrm>
            <a:off x="6789634" y="3345656"/>
            <a:ext cx="524708" cy="39408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ysClr val="window" lastClr="FFFFFF"/>
          </a:solidFill>
          <a:ln>
            <a:solidFill>
              <a:sysClr val="window" lastClr="FFFFFF"/>
            </a:solidFill>
          </a:ln>
        </p:spPr>
        <p:txBody>
          <a:bodyPr vert="horz" wrap="square" lIns="93282" tIns="46641" rIns="93282" bIns="46641" numCol="1" anchor="t" anchorCtr="0" compatLnSpc="1"/>
          <a:lstStyle/>
          <a:p>
            <a:pPr defTabSz="950917">
              <a:defRPr/>
            </a:pPr>
            <a:endParaRPr lang="en-US" sz="1836" kern="0">
              <a:solidFill>
                <a:srgbClr val="00188F"/>
              </a:solidFill>
            </a:endParaRPr>
          </a:p>
        </p:txBody>
      </p:sp>
      <p:sp>
        <p:nvSpPr>
          <p:cNvPr id="92" name="KSO_Shape"/>
          <p:cNvSpPr/>
          <p:nvPr/>
        </p:nvSpPr>
        <p:spPr bwMode="auto">
          <a:xfrm>
            <a:off x="7684886" y="3345656"/>
            <a:ext cx="410083" cy="372831"/>
          </a:xfrm>
          <a:custGeom>
            <a:avLst/>
            <a:gdLst>
              <a:gd name="T0" fmla="*/ 2147483646 w 5069"/>
              <a:gd name="T1" fmla="*/ 2147483646 h 4548"/>
              <a:gd name="T2" fmla="*/ 2147483646 w 5069"/>
              <a:gd name="T3" fmla="*/ 2147483646 h 4548"/>
              <a:gd name="T4" fmla="*/ 2147483646 w 5069"/>
              <a:gd name="T5" fmla="*/ 2147483646 h 4548"/>
              <a:gd name="T6" fmla="*/ 2147483646 w 5069"/>
              <a:gd name="T7" fmla="*/ 2147483646 h 4548"/>
              <a:gd name="T8" fmla="*/ 2147483646 w 5069"/>
              <a:gd name="T9" fmla="*/ 317954395 h 4548"/>
              <a:gd name="T10" fmla="*/ 2147483646 w 5069"/>
              <a:gd name="T11" fmla="*/ 2147483646 h 4548"/>
              <a:gd name="T12" fmla="*/ 2147483646 w 5069"/>
              <a:gd name="T13" fmla="*/ 2147483646 h 4548"/>
              <a:gd name="T14" fmla="*/ 2147483646 w 5069"/>
              <a:gd name="T15" fmla="*/ 2147483646 h 4548"/>
              <a:gd name="T16" fmla="*/ 2147483646 w 5069"/>
              <a:gd name="T17" fmla="*/ 2147483646 h 4548"/>
              <a:gd name="T18" fmla="*/ 2147483646 w 5069"/>
              <a:gd name="T19" fmla="*/ 2147483646 h 4548"/>
              <a:gd name="T20" fmla="*/ 2147483646 w 5069"/>
              <a:gd name="T21" fmla="*/ 2147483646 h 4548"/>
              <a:gd name="T22" fmla="*/ 2147483646 w 5069"/>
              <a:gd name="T23" fmla="*/ 2147483646 h 4548"/>
              <a:gd name="T24" fmla="*/ 2016991000 w 5069"/>
              <a:gd name="T25" fmla="*/ 2147483646 h 4548"/>
              <a:gd name="T26" fmla="*/ 2147483646 w 5069"/>
              <a:gd name="T27" fmla="*/ 2147483646 h 4548"/>
              <a:gd name="T28" fmla="*/ 2147483646 w 5069"/>
              <a:gd name="T29" fmla="*/ 2147483646 h 4548"/>
              <a:gd name="T30" fmla="*/ 2147483646 w 5069"/>
              <a:gd name="T31" fmla="*/ 2147483646 h 4548"/>
              <a:gd name="T32" fmla="*/ 2147483646 w 5069"/>
              <a:gd name="T33" fmla="*/ 2147483646 h 4548"/>
              <a:gd name="T34" fmla="*/ 2147483646 w 5069"/>
              <a:gd name="T35" fmla="*/ 2147483646 h 4548"/>
              <a:gd name="T36" fmla="*/ 2147483646 w 5069"/>
              <a:gd name="T37" fmla="*/ 2147483646 h 4548"/>
              <a:gd name="T38" fmla="*/ 2147483646 w 5069"/>
              <a:gd name="T39" fmla="*/ 2147483646 h 4548"/>
              <a:gd name="T40" fmla="*/ 2147483646 w 5069"/>
              <a:gd name="T41" fmla="*/ 2147483646 h 4548"/>
              <a:gd name="T42" fmla="*/ 2147483646 w 5069"/>
              <a:gd name="T43" fmla="*/ 2147483646 h 4548"/>
              <a:gd name="T44" fmla="*/ 2147483646 w 5069"/>
              <a:gd name="T45" fmla="*/ 2147483646 h 4548"/>
              <a:gd name="T46" fmla="*/ 2147483646 w 5069"/>
              <a:gd name="T47" fmla="*/ 2147483646 h 4548"/>
              <a:gd name="T48" fmla="*/ 2147483646 w 5069"/>
              <a:gd name="T49" fmla="*/ 2147483646 h 4548"/>
              <a:gd name="T50" fmla="*/ 2147483646 w 5069"/>
              <a:gd name="T51" fmla="*/ 2147483646 h 4548"/>
              <a:gd name="T52" fmla="*/ 2147483646 w 5069"/>
              <a:gd name="T53" fmla="*/ 2147483646 h 4548"/>
              <a:gd name="T54" fmla="*/ 2147483646 w 5069"/>
              <a:gd name="T55" fmla="*/ 2147483646 h 4548"/>
              <a:gd name="T56" fmla="*/ 2147483646 w 5069"/>
              <a:gd name="T57" fmla="*/ 2147483646 h 4548"/>
              <a:gd name="T58" fmla="*/ 2147483646 w 5069"/>
              <a:gd name="T59" fmla="*/ 2147483646 h 4548"/>
              <a:gd name="T60" fmla="*/ 2147483646 w 5069"/>
              <a:gd name="T61" fmla="*/ 2147483646 h 4548"/>
              <a:gd name="T62" fmla="*/ 2147483646 w 5069"/>
              <a:gd name="T63" fmla="*/ 2147483646 h 4548"/>
              <a:gd name="T64" fmla="*/ 2147483646 w 5069"/>
              <a:gd name="T65" fmla="*/ 2147483646 h 4548"/>
              <a:gd name="T66" fmla="*/ 2147483646 w 5069"/>
              <a:gd name="T67" fmla="*/ 2147483646 h 4548"/>
              <a:gd name="T68" fmla="*/ 2147483646 w 5069"/>
              <a:gd name="T69" fmla="*/ 2147483646 h 4548"/>
              <a:gd name="T70" fmla="*/ 2147483646 w 5069"/>
              <a:gd name="T71" fmla="*/ 2147483646 h 4548"/>
              <a:gd name="T72" fmla="*/ 2147483646 w 5069"/>
              <a:gd name="T73" fmla="*/ 2147483646 h 4548"/>
              <a:gd name="T74" fmla="*/ 2147483646 w 5069"/>
              <a:gd name="T75" fmla="*/ 2147483646 h 4548"/>
              <a:gd name="T76" fmla="*/ 2147483646 w 5069"/>
              <a:gd name="T77" fmla="*/ 2147483646 h 4548"/>
              <a:gd name="T78" fmla="*/ 2147483646 w 5069"/>
              <a:gd name="T79" fmla="*/ 2147483646 h 4548"/>
              <a:gd name="T80" fmla="*/ 2147483646 w 5069"/>
              <a:gd name="T81" fmla="*/ 2147483646 h 4548"/>
              <a:gd name="T82" fmla="*/ 2147483646 w 5069"/>
              <a:gd name="T83" fmla="*/ 2147483646 h 4548"/>
              <a:gd name="T84" fmla="*/ 2147483646 w 5069"/>
              <a:gd name="T85" fmla="*/ 2147483646 h 4548"/>
              <a:gd name="T86" fmla="*/ 2147483646 w 5069"/>
              <a:gd name="T87" fmla="*/ 2147483646 h 4548"/>
              <a:gd name="T88" fmla="*/ 2147483646 w 5069"/>
              <a:gd name="T89" fmla="*/ 2147483646 h 4548"/>
              <a:gd name="T90" fmla="*/ 2147483646 w 5069"/>
              <a:gd name="T91" fmla="*/ 2147483646 h 4548"/>
              <a:gd name="T92" fmla="*/ 2147483646 w 5069"/>
              <a:gd name="T93" fmla="*/ 2147483646 h 4548"/>
              <a:gd name="T94" fmla="*/ 2147483646 w 5069"/>
              <a:gd name="T95" fmla="*/ 2147483646 h 4548"/>
              <a:gd name="T96" fmla="*/ 2147483646 w 5069"/>
              <a:gd name="T97" fmla="*/ 2147483646 h 4548"/>
              <a:gd name="T98" fmla="*/ 2147483646 w 5069"/>
              <a:gd name="T99" fmla="*/ 2147483646 h 4548"/>
              <a:gd name="T100" fmla="*/ 2147483646 w 5069"/>
              <a:gd name="T101" fmla="*/ 2147483646 h 4548"/>
              <a:gd name="T102" fmla="*/ 2147483646 w 5069"/>
              <a:gd name="T103" fmla="*/ 2147483646 h 4548"/>
              <a:gd name="T104" fmla="*/ 2147483646 w 5069"/>
              <a:gd name="T105" fmla="*/ 2147483646 h 4548"/>
              <a:gd name="T106" fmla="*/ 2147483646 w 5069"/>
              <a:gd name="T107" fmla="*/ 2147483646 h 4548"/>
              <a:gd name="T108" fmla="*/ 2147483646 w 5069"/>
              <a:gd name="T109" fmla="*/ 2147483646 h 4548"/>
              <a:gd name="T110" fmla="*/ 2147483646 w 5069"/>
              <a:gd name="T111" fmla="*/ 2147483646 h 4548"/>
              <a:gd name="T112" fmla="*/ 2147483646 w 5069"/>
              <a:gd name="T113" fmla="*/ 2147483646 h 4548"/>
              <a:gd name="T114" fmla="*/ 2147483646 w 5069"/>
              <a:gd name="T115" fmla="*/ 2147483646 h 4548"/>
              <a:gd name="T116" fmla="*/ 2147483646 w 5069"/>
              <a:gd name="T117" fmla="*/ 2147483646 h 4548"/>
              <a:gd name="T118" fmla="*/ 2147483646 w 5069"/>
              <a:gd name="T119" fmla="*/ 2147483646 h 4548"/>
              <a:gd name="T120" fmla="*/ 2147483646 w 5069"/>
              <a:gd name="T121" fmla="*/ 2147483646 h 454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069" h="4548">
                <a:moveTo>
                  <a:pt x="4612" y="1885"/>
                </a:moveTo>
                <a:lnTo>
                  <a:pt x="4196" y="822"/>
                </a:lnTo>
                <a:lnTo>
                  <a:pt x="4180" y="784"/>
                </a:lnTo>
                <a:lnTo>
                  <a:pt x="4162" y="747"/>
                </a:lnTo>
                <a:lnTo>
                  <a:pt x="4152" y="730"/>
                </a:lnTo>
                <a:lnTo>
                  <a:pt x="4142" y="712"/>
                </a:lnTo>
                <a:lnTo>
                  <a:pt x="4130" y="694"/>
                </a:lnTo>
                <a:lnTo>
                  <a:pt x="4120" y="677"/>
                </a:lnTo>
                <a:lnTo>
                  <a:pt x="4107" y="661"/>
                </a:lnTo>
                <a:lnTo>
                  <a:pt x="4094" y="645"/>
                </a:lnTo>
                <a:lnTo>
                  <a:pt x="4081" y="630"/>
                </a:lnTo>
                <a:lnTo>
                  <a:pt x="4066" y="613"/>
                </a:lnTo>
                <a:lnTo>
                  <a:pt x="4052" y="599"/>
                </a:lnTo>
                <a:lnTo>
                  <a:pt x="4035" y="585"/>
                </a:lnTo>
                <a:lnTo>
                  <a:pt x="4019" y="571"/>
                </a:lnTo>
                <a:lnTo>
                  <a:pt x="4003" y="558"/>
                </a:lnTo>
                <a:lnTo>
                  <a:pt x="3985" y="545"/>
                </a:lnTo>
                <a:lnTo>
                  <a:pt x="3966" y="534"/>
                </a:lnTo>
                <a:lnTo>
                  <a:pt x="3947" y="522"/>
                </a:lnTo>
                <a:lnTo>
                  <a:pt x="3927" y="512"/>
                </a:lnTo>
                <a:lnTo>
                  <a:pt x="3907" y="501"/>
                </a:lnTo>
                <a:lnTo>
                  <a:pt x="3885" y="493"/>
                </a:lnTo>
                <a:lnTo>
                  <a:pt x="3864" y="484"/>
                </a:lnTo>
                <a:lnTo>
                  <a:pt x="3840" y="476"/>
                </a:lnTo>
                <a:lnTo>
                  <a:pt x="3816" y="470"/>
                </a:lnTo>
                <a:lnTo>
                  <a:pt x="3792" y="463"/>
                </a:lnTo>
                <a:lnTo>
                  <a:pt x="3767" y="458"/>
                </a:lnTo>
                <a:lnTo>
                  <a:pt x="3741" y="454"/>
                </a:lnTo>
                <a:lnTo>
                  <a:pt x="3714" y="450"/>
                </a:lnTo>
                <a:lnTo>
                  <a:pt x="3686" y="448"/>
                </a:lnTo>
                <a:lnTo>
                  <a:pt x="3656" y="446"/>
                </a:lnTo>
                <a:lnTo>
                  <a:pt x="3627" y="446"/>
                </a:lnTo>
                <a:lnTo>
                  <a:pt x="3039" y="446"/>
                </a:lnTo>
                <a:lnTo>
                  <a:pt x="3031" y="427"/>
                </a:lnTo>
                <a:lnTo>
                  <a:pt x="3008" y="377"/>
                </a:lnTo>
                <a:lnTo>
                  <a:pt x="2973" y="305"/>
                </a:lnTo>
                <a:lnTo>
                  <a:pt x="2954" y="265"/>
                </a:lnTo>
                <a:lnTo>
                  <a:pt x="2931" y="224"/>
                </a:lnTo>
                <a:lnTo>
                  <a:pt x="2909" y="182"/>
                </a:lnTo>
                <a:lnTo>
                  <a:pt x="2885" y="142"/>
                </a:lnTo>
                <a:lnTo>
                  <a:pt x="2861" y="104"/>
                </a:lnTo>
                <a:lnTo>
                  <a:pt x="2836" y="71"/>
                </a:lnTo>
                <a:lnTo>
                  <a:pt x="2825" y="55"/>
                </a:lnTo>
                <a:lnTo>
                  <a:pt x="2814" y="42"/>
                </a:lnTo>
                <a:lnTo>
                  <a:pt x="2802" y="31"/>
                </a:lnTo>
                <a:lnTo>
                  <a:pt x="2791" y="20"/>
                </a:lnTo>
                <a:lnTo>
                  <a:pt x="2780" y="12"/>
                </a:lnTo>
                <a:lnTo>
                  <a:pt x="2769" y="6"/>
                </a:lnTo>
                <a:lnTo>
                  <a:pt x="2760" y="3"/>
                </a:lnTo>
                <a:lnTo>
                  <a:pt x="2750" y="0"/>
                </a:lnTo>
                <a:lnTo>
                  <a:pt x="2326" y="0"/>
                </a:lnTo>
                <a:lnTo>
                  <a:pt x="2317" y="3"/>
                </a:lnTo>
                <a:lnTo>
                  <a:pt x="2306" y="6"/>
                </a:lnTo>
                <a:lnTo>
                  <a:pt x="2297" y="12"/>
                </a:lnTo>
                <a:lnTo>
                  <a:pt x="2286" y="20"/>
                </a:lnTo>
                <a:lnTo>
                  <a:pt x="2274" y="31"/>
                </a:lnTo>
                <a:lnTo>
                  <a:pt x="2263" y="42"/>
                </a:lnTo>
                <a:lnTo>
                  <a:pt x="2251" y="55"/>
                </a:lnTo>
                <a:lnTo>
                  <a:pt x="2239" y="71"/>
                </a:lnTo>
                <a:lnTo>
                  <a:pt x="2216" y="104"/>
                </a:lnTo>
                <a:lnTo>
                  <a:pt x="2192" y="142"/>
                </a:lnTo>
                <a:lnTo>
                  <a:pt x="2168" y="182"/>
                </a:lnTo>
                <a:lnTo>
                  <a:pt x="2144" y="224"/>
                </a:lnTo>
                <a:lnTo>
                  <a:pt x="2123" y="265"/>
                </a:lnTo>
                <a:lnTo>
                  <a:pt x="2102" y="305"/>
                </a:lnTo>
                <a:lnTo>
                  <a:pt x="2069" y="377"/>
                </a:lnTo>
                <a:lnTo>
                  <a:pt x="2045" y="427"/>
                </a:lnTo>
                <a:lnTo>
                  <a:pt x="2038" y="446"/>
                </a:lnTo>
                <a:lnTo>
                  <a:pt x="1442" y="446"/>
                </a:lnTo>
                <a:lnTo>
                  <a:pt x="1413" y="446"/>
                </a:lnTo>
                <a:lnTo>
                  <a:pt x="1384" y="448"/>
                </a:lnTo>
                <a:lnTo>
                  <a:pt x="1355" y="450"/>
                </a:lnTo>
                <a:lnTo>
                  <a:pt x="1328" y="454"/>
                </a:lnTo>
                <a:lnTo>
                  <a:pt x="1303" y="458"/>
                </a:lnTo>
                <a:lnTo>
                  <a:pt x="1278" y="463"/>
                </a:lnTo>
                <a:lnTo>
                  <a:pt x="1253" y="470"/>
                </a:lnTo>
                <a:lnTo>
                  <a:pt x="1229" y="476"/>
                </a:lnTo>
                <a:lnTo>
                  <a:pt x="1206" y="484"/>
                </a:lnTo>
                <a:lnTo>
                  <a:pt x="1184" y="493"/>
                </a:lnTo>
                <a:lnTo>
                  <a:pt x="1163" y="501"/>
                </a:lnTo>
                <a:lnTo>
                  <a:pt x="1143" y="512"/>
                </a:lnTo>
                <a:lnTo>
                  <a:pt x="1122" y="522"/>
                </a:lnTo>
                <a:lnTo>
                  <a:pt x="1103" y="534"/>
                </a:lnTo>
                <a:lnTo>
                  <a:pt x="1085" y="545"/>
                </a:lnTo>
                <a:lnTo>
                  <a:pt x="1067" y="558"/>
                </a:lnTo>
                <a:lnTo>
                  <a:pt x="1050" y="571"/>
                </a:lnTo>
                <a:lnTo>
                  <a:pt x="1034" y="585"/>
                </a:lnTo>
                <a:lnTo>
                  <a:pt x="1019" y="599"/>
                </a:lnTo>
                <a:lnTo>
                  <a:pt x="1004" y="613"/>
                </a:lnTo>
                <a:lnTo>
                  <a:pt x="990" y="630"/>
                </a:lnTo>
                <a:lnTo>
                  <a:pt x="976" y="645"/>
                </a:lnTo>
                <a:lnTo>
                  <a:pt x="963" y="661"/>
                </a:lnTo>
                <a:lnTo>
                  <a:pt x="951" y="677"/>
                </a:lnTo>
                <a:lnTo>
                  <a:pt x="939" y="694"/>
                </a:lnTo>
                <a:lnTo>
                  <a:pt x="928" y="712"/>
                </a:lnTo>
                <a:lnTo>
                  <a:pt x="917" y="730"/>
                </a:lnTo>
                <a:lnTo>
                  <a:pt x="908" y="747"/>
                </a:lnTo>
                <a:lnTo>
                  <a:pt x="890" y="784"/>
                </a:lnTo>
                <a:lnTo>
                  <a:pt x="874" y="822"/>
                </a:lnTo>
                <a:lnTo>
                  <a:pt x="457" y="1885"/>
                </a:lnTo>
                <a:lnTo>
                  <a:pt x="441" y="1888"/>
                </a:lnTo>
                <a:lnTo>
                  <a:pt x="425" y="1891"/>
                </a:lnTo>
                <a:lnTo>
                  <a:pt x="408" y="1896"/>
                </a:lnTo>
                <a:lnTo>
                  <a:pt x="391" y="1901"/>
                </a:lnTo>
                <a:lnTo>
                  <a:pt x="372" y="1908"/>
                </a:lnTo>
                <a:lnTo>
                  <a:pt x="354" y="1915"/>
                </a:lnTo>
                <a:lnTo>
                  <a:pt x="336" y="1924"/>
                </a:lnTo>
                <a:lnTo>
                  <a:pt x="316" y="1933"/>
                </a:lnTo>
                <a:lnTo>
                  <a:pt x="298" y="1943"/>
                </a:lnTo>
                <a:lnTo>
                  <a:pt x="278" y="1955"/>
                </a:lnTo>
                <a:lnTo>
                  <a:pt x="259" y="1967"/>
                </a:lnTo>
                <a:lnTo>
                  <a:pt x="241" y="1981"/>
                </a:lnTo>
                <a:lnTo>
                  <a:pt x="221" y="1995"/>
                </a:lnTo>
                <a:lnTo>
                  <a:pt x="203" y="2011"/>
                </a:lnTo>
                <a:lnTo>
                  <a:pt x="184" y="2027"/>
                </a:lnTo>
                <a:lnTo>
                  <a:pt x="167" y="2045"/>
                </a:lnTo>
                <a:lnTo>
                  <a:pt x="150" y="2063"/>
                </a:lnTo>
                <a:lnTo>
                  <a:pt x="133" y="2082"/>
                </a:lnTo>
                <a:lnTo>
                  <a:pt x="116" y="2103"/>
                </a:lnTo>
                <a:lnTo>
                  <a:pt x="101" y="2124"/>
                </a:lnTo>
                <a:lnTo>
                  <a:pt x="87" y="2147"/>
                </a:lnTo>
                <a:lnTo>
                  <a:pt x="73" y="2171"/>
                </a:lnTo>
                <a:lnTo>
                  <a:pt x="60" y="2196"/>
                </a:lnTo>
                <a:lnTo>
                  <a:pt x="48" y="2221"/>
                </a:lnTo>
                <a:lnTo>
                  <a:pt x="38" y="2248"/>
                </a:lnTo>
                <a:lnTo>
                  <a:pt x="28" y="2275"/>
                </a:lnTo>
                <a:lnTo>
                  <a:pt x="20" y="2304"/>
                </a:lnTo>
                <a:lnTo>
                  <a:pt x="13" y="2333"/>
                </a:lnTo>
                <a:lnTo>
                  <a:pt x="7" y="2364"/>
                </a:lnTo>
                <a:lnTo>
                  <a:pt x="3" y="2395"/>
                </a:lnTo>
                <a:lnTo>
                  <a:pt x="1" y="2428"/>
                </a:lnTo>
                <a:lnTo>
                  <a:pt x="0" y="2461"/>
                </a:lnTo>
                <a:lnTo>
                  <a:pt x="0" y="3815"/>
                </a:lnTo>
                <a:lnTo>
                  <a:pt x="468" y="3815"/>
                </a:lnTo>
                <a:lnTo>
                  <a:pt x="468" y="4151"/>
                </a:lnTo>
                <a:lnTo>
                  <a:pt x="469" y="4176"/>
                </a:lnTo>
                <a:lnTo>
                  <a:pt x="470" y="4200"/>
                </a:lnTo>
                <a:lnTo>
                  <a:pt x="473" y="4223"/>
                </a:lnTo>
                <a:lnTo>
                  <a:pt x="476" y="4244"/>
                </a:lnTo>
                <a:lnTo>
                  <a:pt x="480" y="4266"/>
                </a:lnTo>
                <a:lnTo>
                  <a:pt x="484" y="4286"/>
                </a:lnTo>
                <a:lnTo>
                  <a:pt x="490" y="4307"/>
                </a:lnTo>
                <a:lnTo>
                  <a:pt x="496" y="4325"/>
                </a:lnTo>
                <a:lnTo>
                  <a:pt x="503" y="4344"/>
                </a:lnTo>
                <a:lnTo>
                  <a:pt x="510" y="4361"/>
                </a:lnTo>
                <a:lnTo>
                  <a:pt x="518" y="4378"/>
                </a:lnTo>
                <a:lnTo>
                  <a:pt x="528" y="4394"/>
                </a:lnTo>
                <a:lnTo>
                  <a:pt x="536" y="4409"/>
                </a:lnTo>
                <a:lnTo>
                  <a:pt x="546" y="4423"/>
                </a:lnTo>
                <a:lnTo>
                  <a:pt x="557" y="4437"/>
                </a:lnTo>
                <a:lnTo>
                  <a:pt x="568" y="4449"/>
                </a:lnTo>
                <a:lnTo>
                  <a:pt x="579" y="4461"/>
                </a:lnTo>
                <a:lnTo>
                  <a:pt x="591" y="4473"/>
                </a:lnTo>
                <a:lnTo>
                  <a:pt x="603" y="4484"/>
                </a:lnTo>
                <a:lnTo>
                  <a:pt x="616" y="4493"/>
                </a:lnTo>
                <a:lnTo>
                  <a:pt x="629" y="4502"/>
                </a:lnTo>
                <a:lnTo>
                  <a:pt x="642" y="4510"/>
                </a:lnTo>
                <a:lnTo>
                  <a:pt x="655" y="4517"/>
                </a:lnTo>
                <a:lnTo>
                  <a:pt x="669" y="4524"/>
                </a:lnTo>
                <a:lnTo>
                  <a:pt x="683" y="4529"/>
                </a:lnTo>
                <a:lnTo>
                  <a:pt x="697" y="4535"/>
                </a:lnTo>
                <a:lnTo>
                  <a:pt x="712" y="4539"/>
                </a:lnTo>
                <a:lnTo>
                  <a:pt x="726" y="4542"/>
                </a:lnTo>
                <a:lnTo>
                  <a:pt x="741" y="4544"/>
                </a:lnTo>
                <a:lnTo>
                  <a:pt x="756" y="4546"/>
                </a:lnTo>
                <a:lnTo>
                  <a:pt x="770" y="4548"/>
                </a:lnTo>
                <a:lnTo>
                  <a:pt x="786" y="4548"/>
                </a:lnTo>
                <a:lnTo>
                  <a:pt x="801" y="4548"/>
                </a:lnTo>
                <a:lnTo>
                  <a:pt x="816" y="4546"/>
                </a:lnTo>
                <a:lnTo>
                  <a:pt x="830" y="4544"/>
                </a:lnTo>
                <a:lnTo>
                  <a:pt x="845" y="4541"/>
                </a:lnTo>
                <a:lnTo>
                  <a:pt x="859" y="4538"/>
                </a:lnTo>
                <a:lnTo>
                  <a:pt x="874" y="4534"/>
                </a:lnTo>
                <a:lnTo>
                  <a:pt x="888" y="4528"/>
                </a:lnTo>
                <a:lnTo>
                  <a:pt x="902" y="4523"/>
                </a:lnTo>
                <a:lnTo>
                  <a:pt x="916" y="4516"/>
                </a:lnTo>
                <a:lnTo>
                  <a:pt x="929" y="4509"/>
                </a:lnTo>
                <a:lnTo>
                  <a:pt x="942" y="4500"/>
                </a:lnTo>
                <a:lnTo>
                  <a:pt x="955" y="4491"/>
                </a:lnTo>
                <a:lnTo>
                  <a:pt x="968" y="4482"/>
                </a:lnTo>
                <a:lnTo>
                  <a:pt x="980" y="4471"/>
                </a:lnTo>
                <a:lnTo>
                  <a:pt x="992" y="4460"/>
                </a:lnTo>
                <a:lnTo>
                  <a:pt x="1004" y="4448"/>
                </a:lnTo>
                <a:lnTo>
                  <a:pt x="1014" y="4435"/>
                </a:lnTo>
                <a:lnTo>
                  <a:pt x="1025" y="4421"/>
                </a:lnTo>
                <a:lnTo>
                  <a:pt x="1035" y="4407"/>
                </a:lnTo>
                <a:lnTo>
                  <a:pt x="1045" y="4392"/>
                </a:lnTo>
                <a:lnTo>
                  <a:pt x="1053" y="4376"/>
                </a:lnTo>
                <a:lnTo>
                  <a:pt x="1061" y="4360"/>
                </a:lnTo>
                <a:lnTo>
                  <a:pt x="1068" y="4342"/>
                </a:lnTo>
                <a:lnTo>
                  <a:pt x="1075" y="4324"/>
                </a:lnTo>
                <a:lnTo>
                  <a:pt x="1081" y="4305"/>
                </a:lnTo>
                <a:lnTo>
                  <a:pt x="1087" y="4285"/>
                </a:lnTo>
                <a:lnTo>
                  <a:pt x="1092" y="4265"/>
                </a:lnTo>
                <a:lnTo>
                  <a:pt x="1095" y="4244"/>
                </a:lnTo>
                <a:lnTo>
                  <a:pt x="1099" y="4222"/>
                </a:lnTo>
                <a:lnTo>
                  <a:pt x="1101" y="4199"/>
                </a:lnTo>
                <a:lnTo>
                  <a:pt x="1102" y="4175"/>
                </a:lnTo>
                <a:lnTo>
                  <a:pt x="1103" y="4151"/>
                </a:lnTo>
                <a:lnTo>
                  <a:pt x="1103" y="3815"/>
                </a:lnTo>
                <a:lnTo>
                  <a:pt x="3967" y="3815"/>
                </a:lnTo>
                <a:lnTo>
                  <a:pt x="3967" y="4151"/>
                </a:lnTo>
                <a:lnTo>
                  <a:pt x="3967" y="4175"/>
                </a:lnTo>
                <a:lnTo>
                  <a:pt x="3968" y="4199"/>
                </a:lnTo>
                <a:lnTo>
                  <a:pt x="3972" y="4222"/>
                </a:lnTo>
                <a:lnTo>
                  <a:pt x="3974" y="4244"/>
                </a:lnTo>
                <a:lnTo>
                  <a:pt x="3978" y="4265"/>
                </a:lnTo>
                <a:lnTo>
                  <a:pt x="3982" y="4285"/>
                </a:lnTo>
                <a:lnTo>
                  <a:pt x="3988" y="4305"/>
                </a:lnTo>
                <a:lnTo>
                  <a:pt x="3994" y="4324"/>
                </a:lnTo>
                <a:lnTo>
                  <a:pt x="4001" y="4342"/>
                </a:lnTo>
                <a:lnTo>
                  <a:pt x="4008" y="4360"/>
                </a:lnTo>
                <a:lnTo>
                  <a:pt x="4017" y="4376"/>
                </a:lnTo>
                <a:lnTo>
                  <a:pt x="4026" y="4392"/>
                </a:lnTo>
                <a:lnTo>
                  <a:pt x="4035" y="4407"/>
                </a:lnTo>
                <a:lnTo>
                  <a:pt x="4045" y="4421"/>
                </a:lnTo>
                <a:lnTo>
                  <a:pt x="4055" y="4435"/>
                </a:lnTo>
                <a:lnTo>
                  <a:pt x="4067" y="4448"/>
                </a:lnTo>
                <a:lnTo>
                  <a:pt x="4077" y="4460"/>
                </a:lnTo>
                <a:lnTo>
                  <a:pt x="4089" y="4471"/>
                </a:lnTo>
                <a:lnTo>
                  <a:pt x="4101" y="4482"/>
                </a:lnTo>
                <a:lnTo>
                  <a:pt x="4114" y="4491"/>
                </a:lnTo>
                <a:lnTo>
                  <a:pt x="4127" y="4500"/>
                </a:lnTo>
                <a:lnTo>
                  <a:pt x="4140" y="4509"/>
                </a:lnTo>
                <a:lnTo>
                  <a:pt x="4154" y="4516"/>
                </a:lnTo>
                <a:lnTo>
                  <a:pt x="4168" y="4523"/>
                </a:lnTo>
                <a:lnTo>
                  <a:pt x="4182" y="4528"/>
                </a:lnTo>
                <a:lnTo>
                  <a:pt x="4196" y="4534"/>
                </a:lnTo>
                <a:lnTo>
                  <a:pt x="4210" y="4538"/>
                </a:lnTo>
                <a:lnTo>
                  <a:pt x="4225" y="4541"/>
                </a:lnTo>
                <a:lnTo>
                  <a:pt x="4239" y="4544"/>
                </a:lnTo>
                <a:lnTo>
                  <a:pt x="4254" y="4546"/>
                </a:lnTo>
                <a:lnTo>
                  <a:pt x="4270" y="4548"/>
                </a:lnTo>
                <a:lnTo>
                  <a:pt x="4284" y="4548"/>
                </a:lnTo>
                <a:lnTo>
                  <a:pt x="4299" y="4548"/>
                </a:lnTo>
                <a:lnTo>
                  <a:pt x="4314" y="4546"/>
                </a:lnTo>
                <a:lnTo>
                  <a:pt x="4329" y="4544"/>
                </a:lnTo>
                <a:lnTo>
                  <a:pt x="4343" y="4542"/>
                </a:lnTo>
                <a:lnTo>
                  <a:pt x="4358" y="4539"/>
                </a:lnTo>
                <a:lnTo>
                  <a:pt x="4372" y="4535"/>
                </a:lnTo>
                <a:lnTo>
                  <a:pt x="4386" y="4529"/>
                </a:lnTo>
                <a:lnTo>
                  <a:pt x="4400" y="4524"/>
                </a:lnTo>
                <a:lnTo>
                  <a:pt x="4414" y="4517"/>
                </a:lnTo>
                <a:lnTo>
                  <a:pt x="4428" y="4510"/>
                </a:lnTo>
                <a:lnTo>
                  <a:pt x="4441" y="4502"/>
                </a:lnTo>
                <a:lnTo>
                  <a:pt x="4454" y="4493"/>
                </a:lnTo>
                <a:lnTo>
                  <a:pt x="4467" y="4484"/>
                </a:lnTo>
                <a:lnTo>
                  <a:pt x="4479" y="4473"/>
                </a:lnTo>
                <a:lnTo>
                  <a:pt x="4491" y="4461"/>
                </a:lnTo>
                <a:lnTo>
                  <a:pt x="4502" y="4449"/>
                </a:lnTo>
                <a:lnTo>
                  <a:pt x="4512" y="4437"/>
                </a:lnTo>
                <a:lnTo>
                  <a:pt x="4523" y="4423"/>
                </a:lnTo>
                <a:lnTo>
                  <a:pt x="4533" y="4409"/>
                </a:lnTo>
                <a:lnTo>
                  <a:pt x="4543" y="4394"/>
                </a:lnTo>
                <a:lnTo>
                  <a:pt x="4551" y="4378"/>
                </a:lnTo>
                <a:lnTo>
                  <a:pt x="4560" y="4361"/>
                </a:lnTo>
                <a:lnTo>
                  <a:pt x="4567" y="4344"/>
                </a:lnTo>
                <a:lnTo>
                  <a:pt x="4574" y="4325"/>
                </a:lnTo>
                <a:lnTo>
                  <a:pt x="4580" y="4307"/>
                </a:lnTo>
                <a:lnTo>
                  <a:pt x="4586" y="4286"/>
                </a:lnTo>
                <a:lnTo>
                  <a:pt x="4590" y="4266"/>
                </a:lnTo>
                <a:lnTo>
                  <a:pt x="4594" y="4244"/>
                </a:lnTo>
                <a:lnTo>
                  <a:pt x="4597" y="4223"/>
                </a:lnTo>
                <a:lnTo>
                  <a:pt x="4599" y="4200"/>
                </a:lnTo>
                <a:lnTo>
                  <a:pt x="4601" y="4176"/>
                </a:lnTo>
                <a:lnTo>
                  <a:pt x="4601" y="4151"/>
                </a:lnTo>
                <a:lnTo>
                  <a:pt x="4601" y="3815"/>
                </a:lnTo>
                <a:lnTo>
                  <a:pt x="5069" y="3815"/>
                </a:lnTo>
                <a:lnTo>
                  <a:pt x="5069" y="2461"/>
                </a:lnTo>
                <a:lnTo>
                  <a:pt x="5068" y="2428"/>
                </a:lnTo>
                <a:lnTo>
                  <a:pt x="5066" y="2395"/>
                </a:lnTo>
                <a:lnTo>
                  <a:pt x="5062" y="2364"/>
                </a:lnTo>
                <a:lnTo>
                  <a:pt x="5056" y="2333"/>
                </a:lnTo>
                <a:lnTo>
                  <a:pt x="5050" y="2304"/>
                </a:lnTo>
                <a:lnTo>
                  <a:pt x="5041" y="2275"/>
                </a:lnTo>
                <a:lnTo>
                  <a:pt x="5032" y="2248"/>
                </a:lnTo>
                <a:lnTo>
                  <a:pt x="5021" y="2221"/>
                </a:lnTo>
                <a:lnTo>
                  <a:pt x="5010" y="2196"/>
                </a:lnTo>
                <a:lnTo>
                  <a:pt x="4997" y="2171"/>
                </a:lnTo>
                <a:lnTo>
                  <a:pt x="4983" y="2147"/>
                </a:lnTo>
                <a:lnTo>
                  <a:pt x="4968" y="2124"/>
                </a:lnTo>
                <a:lnTo>
                  <a:pt x="4953" y="2103"/>
                </a:lnTo>
                <a:lnTo>
                  <a:pt x="4937" y="2082"/>
                </a:lnTo>
                <a:lnTo>
                  <a:pt x="4920" y="2063"/>
                </a:lnTo>
                <a:lnTo>
                  <a:pt x="4903" y="2045"/>
                </a:lnTo>
                <a:lnTo>
                  <a:pt x="4885" y="2027"/>
                </a:lnTo>
                <a:lnTo>
                  <a:pt x="4866" y="2011"/>
                </a:lnTo>
                <a:lnTo>
                  <a:pt x="4848" y="1995"/>
                </a:lnTo>
                <a:lnTo>
                  <a:pt x="4830" y="1981"/>
                </a:lnTo>
                <a:lnTo>
                  <a:pt x="4810" y="1967"/>
                </a:lnTo>
                <a:lnTo>
                  <a:pt x="4791" y="1955"/>
                </a:lnTo>
                <a:lnTo>
                  <a:pt x="4772" y="1943"/>
                </a:lnTo>
                <a:lnTo>
                  <a:pt x="4753" y="1933"/>
                </a:lnTo>
                <a:lnTo>
                  <a:pt x="4735" y="1924"/>
                </a:lnTo>
                <a:lnTo>
                  <a:pt x="4715" y="1915"/>
                </a:lnTo>
                <a:lnTo>
                  <a:pt x="4697" y="1908"/>
                </a:lnTo>
                <a:lnTo>
                  <a:pt x="4680" y="1901"/>
                </a:lnTo>
                <a:lnTo>
                  <a:pt x="4661" y="1896"/>
                </a:lnTo>
                <a:lnTo>
                  <a:pt x="4644" y="1891"/>
                </a:lnTo>
                <a:lnTo>
                  <a:pt x="4628" y="1888"/>
                </a:lnTo>
                <a:lnTo>
                  <a:pt x="4612" y="1885"/>
                </a:lnTo>
                <a:close/>
                <a:moveTo>
                  <a:pt x="1020" y="2995"/>
                </a:moveTo>
                <a:lnTo>
                  <a:pt x="1020" y="2995"/>
                </a:lnTo>
                <a:lnTo>
                  <a:pt x="1001" y="2994"/>
                </a:lnTo>
                <a:lnTo>
                  <a:pt x="983" y="2993"/>
                </a:lnTo>
                <a:lnTo>
                  <a:pt x="965" y="2991"/>
                </a:lnTo>
                <a:lnTo>
                  <a:pt x="947" y="2988"/>
                </a:lnTo>
                <a:lnTo>
                  <a:pt x="930" y="2984"/>
                </a:lnTo>
                <a:lnTo>
                  <a:pt x="913" y="2978"/>
                </a:lnTo>
                <a:lnTo>
                  <a:pt x="897" y="2973"/>
                </a:lnTo>
                <a:lnTo>
                  <a:pt x="879" y="2966"/>
                </a:lnTo>
                <a:lnTo>
                  <a:pt x="864" y="2959"/>
                </a:lnTo>
                <a:lnTo>
                  <a:pt x="848" y="2951"/>
                </a:lnTo>
                <a:lnTo>
                  <a:pt x="833" y="2942"/>
                </a:lnTo>
                <a:lnTo>
                  <a:pt x="819" y="2933"/>
                </a:lnTo>
                <a:lnTo>
                  <a:pt x="805" y="2922"/>
                </a:lnTo>
                <a:lnTo>
                  <a:pt x="791" y="2911"/>
                </a:lnTo>
                <a:lnTo>
                  <a:pt x="778" y="2899"/>
                </a:lnTo>
                <a:lnTo>
                  <a:pt x="766" y="2888"/>
                </a:lnTo>
                <a:lnTo>
                  <a:pt x="754" y="2875"/>
                </a:lnTo>
                <a:lnTo>
                  <a:pt x="742" y="2862"/>
                </a:lnTo>
                <a:lnTo>
                  <a:pt x="732" y="2848"/>
                </a:lnTo>
                <a:lnTo>
                  <a:pt x="722" y="2834"/>
                </a:lnTo>
                <a:lnTo>
                  <a:pt x="712" y="2818"/>
                </a:lnTo>
                <a:lnTo>
                  <a:pt x="704" y="2803"/>
                </a:lnTo>
                <a:lnTo>
                  <a:pt x="696" y="2787"/>
                </a:lnTo>
                <a:lnTo>
                  <a:pt x="688" y="2771"/>
                </a:lnTo>
                <a:lnTo>
                  <a:pt x="682" y="2755"/>
                </a:lnTo>
                <a:lnTo>
                  <a:pt x="677" y="2738"/>
                </a:lnTo>
                <a:lnTo>
                  <a:pt x="671" y="2720"/>
                </a:lnTo>
                <a:lnTo>
                  <a:pt x="668" y="2703"/>
                </a:lnTo>
                <a:lnTo>
                  <a:pt x="665" y="2685"/>
                </a:lnTo>
                <a:lnTo>
                  <a:pt x="663" y="2666"/>
                </a:lnTo>
                <a:lnTo>
                  <a:pt x="660" y="2648"/>
                </a:lnTo>
                <a:lnTo>
                  <a:pt x="660" y="2629"/>
                </a:lnTo>
                <a:lnTo>
                  <a:pt x="660" y="2610"/>
                </a:lnTo>
                <a:lnTo>
                  <a:pt x="663" y="2591"/>
                </a:lnTo>
                <a:lnTo>
                  <a:pt x="665" y="2572"/>
                </a:lnTo>
                <a:lnTo>
                  <a:pt x="668" y="2555"/>
                </a:lnTo>
                <a:lnTo>
                  <a:pt x="671" y="2537"/>
                </a:lnTo>
                <a:lnTo>
                  <a:pt x="677" y="2520"/>
                </a:lnTo>
                <a:lnTo>
                  <a:pt x="682" y="2502"/>
                </a:lnTo>
                <a:lnTo>
                  <a:pt x="688" y="2486"/>
                </a:lnTo>
                <a:lnTo>
                  <a:pt x="696" y="2470"/>
                </a:lnTo>
                <a:lnTo>
                  <a:pt x="704" y="2454"/>
                </a:lnTo>
                <a:lnTo>
                  <a:pt x="712" y="2439"/>
                </a:lnTo>
                <a:lnTo>
                  <a:pt x="722" y="2423"/>
                </a:lnTo>
                <a:lnTo>
                  <a:pt x="732" y="2409"/>
                </a:lnTo>
                <a:lnTo>
                  <a:pt x="742" y="2395"/>
                </a:lnTo>
                <a:lnTo>
                  <a:pt x="754" y="2382"/>
                </a:lnTo>
                <a:lnTo>
                  <a:pt x="766" y="2369"/>
                </a:lnTo>
                <a:lnTo>
                  <a:pt x="778" y="2358"/>
                </a:lnTo>
                <a:lnTo>
                  <a:pt x="791" y="2346"/>
                </a:lnTo>
                <a:lnTo>
                  <a:pt x="805" y="2335"/>
                </a:lnTo>
                <a:lnTo>
                  <a:pt x="819" y="2325"/>
                </a:lnTo>
                <a:lnTo>
                  <a:pt x="833" y="2316"/>
                </a:lnTo>
                <a:lnTo>
                  <a:pt x="848" y="2307"/>
                </a:lnTo>
                <a:lnTo>
                  <a:pt x="864" y="2298"/>
                </a:lnTo>
                <a:lnTo>
                  <a:pt x="879" y="2291"/>
                </a:lnTo>
                <a:lnTo>
                  <a:pt x="897" y="2284"/>
                </a:lnTo>
                <a:lnTo>
                  <a:pt x="913" y="2279"/>
                </a:lnTo>
                <a:lnTo>
                  <a:pt x="930" y="2273"/>
                </a:lnTo>
                <a:lnTo>
                  <a:pt x="947" y="2269"/>
                </a:lnTo>
                <a:lnTo>
                  <a:pt x="965" y="2267"/>
                </a:lnTo>
                <a:lnTo>
                  <a:pt x="983" y="2264"/>
                </a:lnTo>
                <a:lnTo>
                  <a:pt x="1001" y="2263"/>
                </a:lnTo>
                <a:lnTo>
                  <a:pt x="1020" y="2263"/>
                </a:lnTo>
                <a:lnTo>
                  <a:pt x="1038" y="2263"/>
                </a:lnTo>
                <a:lnTo>
                  <a:pt x="1056" y="2264"/>
                </a:lnTo>
                <a:lnTo>
                  <a:pt x="1075" y="2267"/>
                </a:lnTo>
                <a:lnTo>
                  <a:pt x="1092" y="2269"/>
                </a:lnTo>
                <a:lnTo>
                  <a:pt x="1109" y="2273"/>
                </a:lnTo>
                <a:lnTo>
                  <a:pt x="1127" y="2279"/>
                </a:lnTo>
                <a:lnTo>
                  <a:pt x="1143" y="2284"/>
                </a:lnTo>
                <a:lnTo>
                  <a:pt x="1160" y="2291"/>
                </a:lnTo>
                <a:lnTo>
                  <a:pt x="1175" y="2298"/>
                </a:lnTo>
                <a:lnTo>
                  <a:pt x="1191" y="2307"/>
                </a:lnTo>
                <a:lnTo>
                  <a:pt x="1206" y="2316"/>
                </a:lnTo>
                <a:lnTo>
                  <a:pt x="1221" y="2325"/>
                </a:lnTo>
                <a:lnTo>
                  <a:pt x="1235" y="2335"/>
                </a:lnTo>
                <a:lnTo>
                  <a:pt x="1249" y="2346"/>
                </a:lnTo>
                <a:lnTo>
                  <a:pt x="1262" y="2358"/>
                </a:lnTo>
                <a:lnTo>
                  <a:pt x="1273" y="2369"/>
                </a:lnTo>
                <a:lnTo>
                  <a:pt x="1285" y="2382"/>
                </a:lnTo>
                <a:lnTo>
                  <a:pt x="1297" y="2395"/>
                </a:lnTo>
                <a:lnTo>
                  <a:pt x="1308" y="2409"/>
                </a:lnTo>
                <a:lnTo>
                  <a:pt x="1318" y="2423"/>
                </a:lnTo>
                <a:lnTo>
                  <a:pt x="1327" y="2439"/>
                </a:lnTo>
                <a:lnTo>
                  <a:pt x="1336" y="2454"/>
                </a:lnTo>
                <a:lnTo>
                  <a:pt x="1344" y="2470"/>
                </a:lnTo>
                <a:lnTo>
                  <a:pt x="1351" y="2486"/>
                </a:lnTo>
                <a:lnTo>
                  <a:pt x="1358" y="2502"/>
                </a:lnTo>
                <a:lnTo>
                  <a:pt x="1363" y="2520"/>
                </a:lnTo>
                <a:lnTo>
                  <a:pt x="1367" y="2537"/>
                </a:lnTo>
                <a:lnTo>
                  <a:pt x="1372" y="2555"/>
                </a:lnTo>
                <a:lnTo>
                  <a:pt x="1375" y="2572"/>
                </a:lnTo>
                <a:lnTo>
                  <a:pt x="1377" y="2591"/>
                </a:lnTo>
                <a:lnTo>
                  <a:pt x="1379" y="2610"/>
                </a:lnTo>
                <a:lnTo>
                  <a:pt x="1379" y="2629"/>
                </a:lnTo>
                <a:lnTo>
                  <a:pt x="1379" y="2648"/>
                </a:lnTo>
                <a:lnTo>
                  <a:pt x="1377" y="2666"/>
                </a:lnTo>
                <a:lnTo>
                  <a:pt x="1375" y="2685"/>
                </a:lnTo>
                <a:lnTo>
                  <a:pt x="1372" y="2703"/>
                </a:lnTo>
                <a:lnTo>
                  <a:pt x="1367" y="2720"/>
                </a:lnTo>
                <a:lnTo>
                  <a:pt x="1363" y="2738"/>
                </a:lnTo>
                <a:lnTo>
                  <a:pt x="1358" y="2755"/>
                </a:lnTo>
                <a:lnTo>
                  <a:pt x="1351" y="2771"/>
                </a:lnTo>
                <a:lnTo>
                  <a:pt x="1344" y="2787"/>
                </a:lnTo>
                <a:lnTo>
                  <a:pt x="1336" y="2803"/>
                </a:lnTo>
                <a:lnTo>
                  <a:pt x="1327" y="2818"/>
                </a:lnTo>
                <a:lnTo>
                  <a:pt x="1318" y="2834"/>
                </a:lnTo>
                <a:lnTo>
                  <a:pt x="1308" y="2848"/>
                </a:lnTo>
                <a:lnTo>
                  <a:pt x="1297" y="2862"/>
                </a:lnTo>
                <a:lnTo>
                  <a:pt x="1285" y="2875"/>
                </a:lnTo>
                <a:lnTo>
                  <a:pt x="1273" y="2888"/>
                </a:lnTo>
                <a:lnTo>
                  <a:pt x="1262" y="2899"/>
                </a:lnTo>
                <a:lnTo>
                  <a:pt x="1249" y="2911"/>
                </a:lnTo>
                <a:lnTo>
                  <a:pt x="1235" y="2922"/>
                </a:lnTo>
                <a:lnTo>
                  <a:pt x="1221" y="2933"/>
                </a:lnTo>
                <a:lnTo>
                  <a:pt x="1206" y="2942"/>
                </a:lnTo>
                <a:lnTo>
                  <a:pt x="1191" y="2951"/>
                </a:lnTo>
                <a:lnTo>
                  <a:pt x="1175" y="2959"/>
                </a:lnTo>
                <a:lnTo>
                  <a:pt x="1160" y="2966"/>
                </a:lnTo>
                <a:lnTo>
                  <a:pt x="1143" y="2973"/>
                </a:lnTo>
                <a:lnTo>
                  <a:pt x="1127" y="2978"/>
                </a:lnTo>
                <a:lnTo>
                  <a:pt x="1109" y="2984"/>
                </a:lnTo>
                <a:lnTo>
                  <a:pt x="1092" y="2988"/>
                </a:lnTo>
                <a:lnTo>
                  <a:pt x="1075" y="2991"/>
                </a:lnTo>
                <a:lnTo>
                  <a:pt x="1056" y="2993"/>
                </a:lnTo>
                <a:lnTo>
                  <a:pt x="1038" y="2994"/>
                </a:lnTo>
                <a:lnTo>
                  <a:pt x="1020" y="2995"/>
                </a:lnTo>
                <a:close/>
                <a:moveTo>
                  <a:pt x="888" y="1860"/>
                </a:moveTo>
                <a:lnTo>
                  <a:pt x="1202" y="1038"/>
                </a:lnTo>
                <a:lnTo>
                  <a:pt x="1210" y="1016"/>
                </a:lnTo>
                <a:lnTo>
                  <a:pt x="1218" y="996"/>
                </a:lnTo>
                <a:lnTo>
                  <a:pt x="1227" y="975"/>
                </a:lnTo>
                <a:lnTo>
                  <a:pt x="1236" y="957"/>
                </a:lnTo>
                <a:lnTo>
                  <a:pt x="1246" y="938"/>
                </a:lnTo>
                <a:lnTo>
                  <a:pt x="1257" y="922"/>
                </a:lnTo>
                <a:lnTo>
                  <a:pt x="1270" y="906"/>
                </a:lnTo>
                <a:lnTo>
                  <a:pt x="1283" y="892"/>
                </a:lnTo>
                <a:lnTo>
                  <a:pt x="1297" y="879"/>
                </a:lnTo>
                <a:lnTo>
                  <a:pt x="1313" y="867"/>
                </a:lnTo>
                <a:lnTo>
                  <a:pt x="1330" y="857"/>
                </a:lnTo>
                <a:lnTo>
                  <a:pt x="1348" y="850"/>
                </a:lnTo>
                <a:lnTo>
                  <a:pt x="1368" y="842"/>
                </a:lnTo>
                <a:lnTo>
                  <a:pt x="1390" y="838"/>
                </a:lnTo>
                <a:lnTo>
                  <a:pt x="1413" y="835"/>
                </a:lnTo>
                <a:lnTo>
                  <a:pt x="1437" y="834"/>
                </a:lnTo>
                <a:lnTo>
                  <a:pt x="3633" y="834"/>
                </a:lnTo>
                <a:lnTo>
                  <a:pt x="3658" y="835"/>
                </a:lnTo>
                <a:lnTo>
                  <a:pt x="3680" y="838"/>
                </a:lnTo>
                <a:lnTo>
                  <a:pt x="3702" y="842"/>
                </a:lnTo>
                <a:lnTo>
                  <a:pt x="3721" y="850"/>
                </a:lnTo>
                <a:lnTo>
                  <a:pt x="3740" y="857"/>
                </a:lnTo>
                <a:lnTo>
                  <a:pt x="3757" y="867"/>
                </a:lnTo>
                <a:lnTo>
                  <a:pt x="3772" y="879"/>
                </a:lnTo>
                <a:lnTo>
                  <a:pt x="3786" y="892"/>
                </a:lnTo>
                <a:lnTo>
                  <a:pt x="3800" y="906"/>
                </a:lnTo>
                <a:lnTo>
                  <a:pt x="3812" y="922"/>
                </a:lnTo>
                <a:lnTo>
                  <a:pt x="3823" y="938"/>
                </a:lnTo>
                <a:lnTo>
                  <a:pt x="3834" y="957"/>
                </a:lnTo>
                <a:lnTo>
                  <a:pt x="3843" y="975"/>
                </a:lnTo>
                <a:lnTo>
                  <a:pt x="3852" y="996"/>
                </a:lnTo>
                <a:lnTo>
                  <a:pt x="3859" y="1016"/>
                </a:lnTo>
                <a:lnTo>
                  <a:pt x="3867" y="1038"/>
                </a:lnTo>
                <a:lnTo>
                  <a:pt x="4181" y="1860"/>
                </a:lnTo>
                <a:lnTo>
                  <a:pt x="888" y="1860"/>
                </a:lnTo>
                <a:close/>
                <a:moveTo>
                  <a:pt x="4050" y="2995"/>
                </a:moveTo>
                <a:lnTo>
                  <a:pt x="4050" y="2995"/>
                </a:lnTo>
                <a:lnTo>
                  <a:pt x="4031" y="2994"/>
                </a:lnTo>
                <a:lnTo>
                  <a:pt x="4014" y="2993"/>
                </a:lnTo>
                <a:lnTo>
                  <a:pt x="3995" y="2991"/>
                </a:lnTo>
                <a:lnTo>
                  <a:pt x="3977" y="2988"/>
                </a:lnTo>
                <a:lnTo>
                  <a:pt x="3960" y="2984"/>
                </a:lnTo>
                <a:lnTo>
                  <a:pt x="3944" y="2978"/>
                </a:lnTo>
                <a:lnTo>
                  <a:pt x="3926" y="2973"/>
                </a:lnTo>
                <a:lnTo>
                  <a:pt x="3910" y="2966"/>
                </a:lnTo>
                <a:lnTo>
                  <a:pt x="3894" y="2959"/>
                </a:lnTo>
                <a:lnTo>
                  <a:pt x="3879" y="2951"/>
                </a:lnTo>
                <a:lnTo>
                  <a:pt x="3864" y="2942"/>
                </a:lnTo>
                <a:lnTo>
                  <a:pt x="3849" y="2933"/>
                </a:lnTo>
                <a:lnTo>
                  <a:pt x="3835" y="2922"/>
                </a:lnTo>
                <a:lnTo>
                  <a:pt x="3822" y="2911"/>
                </a:lnTo>
                <a:lnTo>
                  <a:pt x="3809" y="2899"/>
                </a:lnTo>
                <a:lnTo>
                  <a:pt x="3796" y="2888"/>
                </a:lnTo>
                <a:lnTo>
                  <a:pt x="3784" y="2875"/>
                </a:lnTo>
                <a:lnTo>
                  <a:pt x="3773" y="2862"/>
                </a:lnTo>
                <a:lnTo>
                  <a:pt x="3762" y="2848"/>
                </a:lnTo>
                <a:lnTo>
                  <a:pt x="3753" y="2834"/>
                </a:lnTo>
                <a:lnTo>
                  <a:pt x="3743" y="2818"/>
                </a:lnTo>
                <a:lnTo>
                  <a:pt x="3734" y="2803"/>
                </a:lnTo>
                <a:lnTo>
                  <a:pt x="3727" y="2787"/>
                </a:lnTo>
                <a:lnTo>
                  <a:pt x="3719" y="2771"/>
                </a:lnTo>
                <a:lnTo>
                  <a:pt x="3713" y="2755"/>
                </a:lnTo>
                <a:lnTo>
                  <a:pt x="3707" y="2738"/>
                </a:lnTo>
                <a:lnTo>
                  <a:pt x="3702" y="2720"/>
                </a:lnTo>
                <a:lnTo>
                  <a:pt x="3698" y="2703"/>
                </a:lnTo>
                <a:lnTo>
                  <a:pt x="3695" y="2685"/>
                </a:lnTo>
                <a:lnTo>
                  <a:pt x="3692" y="2666"/>
                </a:lnTo>
                <a:lnTo>
                  <a:pt x="3691" y="2648"/>
                </a:lnTo>
                <a:lnTo>
                  <a:pt x="3691" y="2629"/>
                </a:lnTo>
                <a:lnTo>
                  <a:pt x="3691" y="2610"/>
                </a:lnTo>
                <a:lnTo>
                  <a:pt x="3692" y="2591"/>
                </a:lnTo>
                <a:lnTo>
                  <a:pt x="3695" y="2572"/>
                </a:lnTo>
                <a:lnTo>
                  <a:pt x="3698" y="2555"/>
                </a:lnTo>
                <a:lnTo>
                  <a:pt x="3702" y="2537"/>
                </a:lnTo>
                <a:lnTo>
                  <a:pt x="3707" y="2520"/>
                </a:lnTo>
                <a:lnTo>
                  <a:pt x="3713" y="2502"/>
                </a:lnTo>
                <a:lnTo>
                  <a:pt x="3719" y="2486"/>
                </a:lnTo>
                <a:lnTo>
                  <a:pt x="3727" y="2470"/>
                </a:lnTo>
                <a:lnTo>
                  <a:pt x="3734" y="2454"/>
                </a:lnTo>
                <a:lnTo>
                  <a:pt x="3743" y="2439"/>
                </a:lnTo>
                <a:lnTo>
                  <a:pt x="3753" y="2423"/>
                </a:lnTo>
                <a:lnTo>
                  <a:pt x="3762" y="2409"/>
                </a:lnTo>
                <a:lnTo>
                  <a:pt x="3773" y="2395"/>
                </a:lnTo>
                <a:lnTo>
                  <a:pt x="3784" y="2382"/>
                </a:lnTo>
                <a:lnTo>
                  <a:pt x="3796" y="2369"/>
                </a:lnTo>
                <a:lnTo>
                  <a:pt x="3809" y="2358"/>
                </a:lnTo>
                <a:lnTo>
                  <a:pt x="3822" y="2346"/>
                </a:lnTo>
                <a:lnTo>
                  <a:pt x="3835" y="2335"/>
                </a:lnTo>
                <a:lnTo>
                  <a:pt x="3849" y="2325"/>
                </a:lnTo>
                <a:lnTo>
                  <a:pt x="3864" y="2316"/>
                </a:lnTo>
                <a:lnTo>
                  <a:pt x="3879" y="2307"/>
                </a:lnTo>
                <a:lnTo>
                  <a:pt x="3894" y="2298"/>
                </a:lnTo>
                <a:lnTo>
                  <a:pt x="3910" y="2291"/>
                </a:lnTo>
                <a:lnTo>
                  <a:pt x="3926" y="2284"/>
                </a:lnTo>
                <a:lnTo>
                  <a:pt x="3944" y="2279"/>
                </a:lnTo>
                <a:lnTo>
                  <a:pt x="3960" y="2273"/>
                </a:lnTo>
                <a:lnTo>
                  <a:pt x="3977" y="2269"/>
                </a:lnTo>
                <a:lnTo>
                  <a:pt x="3995" y="2267"/>
                </a:lnTo>
                <a:lnTo>
                  <a:pt x="4014" y="2264"/>
                </a:lnTo>
                <a:lnTo>
                  <a:pt x="4031" y="2263"/>
                </a:lnTo>
                <a:lnTo>
                  <a:pt x="4050" y="2263"/>
                </a:lnTo>
                <a:lnTo>
                  <a:pt x="4069" y="2263"/>
                </a:lnTo>
                <a:lnTo>
                  <a:pt x="4087" y="2264"/>
                </a:lnTo>
                <a:lnTo>
                  <a:pt x="4104" y="2267"/>
                </a:lnTo>
                <a:lnTo>
                  <a:pt x="4123" y="2269"/>
                </a:lnTo>
                <a:lnTo>
                  <a:pt x="4140" y="2273"/>
                </a:lnTo>
                <a:lnTo>
                  <a:pt x="4157" y="2279"/>
                </a:lnTo>
                <a:lnTo>
                  <a:pt x="4173" y="2284"/>
                </a:lnTo>
                <a:lnTo>
                  <a:pt x="4190" y="2291"/>
                </a:lnTo>
                <a:lnTo>
                  <a:pt x="4206" y="2298"/>
                </a:lnTo>
                <a:lnTo>
                  <a:pt x="4221" y="2307"/>
                </a:lnTo>
                <a:lnTo>
                  <a:pt x="4236" y="2316"/>
                </a:lnTo>
                <a:lnTo>
                  <a:pt x="4251" y="2325"/>
                </a:lnTo>
                <a:lnTo>
                  <a:pt x="4265" y="2335"/>
                </a:lnTo>
                <a:lnTo>
                  <a:pt x="4278" y="2346"/>
                </a:lnTo>
                <a:lnTo>
                  <a:pt x="4292" y="2358"/>
                </a:lnTo>
                <a:lnTo>
                  <a:pt x="4304" y="2369"/>
                </a:lnTo>
                <a:lnTo>
                  <a:pt x="4316" y="2382"/>
                </a:lnTo>
                <a:lnTo>
                  <a:pt x="4328" y="2395"/>
                </a:lnTo>
                <a:lnTo>
                  <a:pt x="4338" y="2409"/>
                </a:lnTo>
                <a:lnTo>
                  <a:pt x="4348" y="2423"/>
                </a:lnTo>
                <a:lnTo>
                  <a:pt x="4357" y="2439"/>
                </a:lnTo>
                <a:lnTo>
                  <a:pt x="4366" y="2454"/>
                </a:lnTo>
                <a:lnTo>
                  <a:pt x="4374" y="2470"/>
                </a:lnTo>
                <a:lnTo>
                  <a:pt x="4381" y="2486"/>
                </a:lnTo>
                <a:lnTo>
                  <a:pt x="4387" y="2502"/>
                </a:lnTo>
                <a:lnTo>
                  <a:pt x="4394" y="2520"/>
                </a:lnTo>
                <a:lnTo>
                  <a:pt x="4398" y="2537"/>
                </a:lnTo>
                <a:lnTo>
                  <a:pt x="4402" y="2555"/>
                </a:lnTo>
                <a:lnTo>
                  <a:pt x="4406" y="2572"/>
                </a:lnTo>
                <a:lnTo>
                  <a:pt x="4408" y="2591"/>
                </a:lnTo>
                <a:lnTo>
                  <a:pt x="4409" y="2610"/>
                </a:lnTo>
                <a:lnTo>
                  <a:pt x="4410" y="2629"/>
                </a:lnTo>
                <a:lnTo>
                  <a:pt x="4409" y="2648"/>
                </a:lnTo>
                <a:lnTo>
                  <a:pt x="4408" y="2666"/>
                </a:lnTo>
                <a:lnTo>
                  <a:pt x="4406" y="2685"/>
                </a:lnTo>
                <a:lnTo>
                  <a:pt x="4402" y="2703"/>
                </a:lnTo>
                <a:lnTo>
                  <a:pt x="4398" y="2720"/>
                </a:lnTo>
                <a:lnTo>
                  <a:pt x="4394" y="2738"/>
                </a:lnTo>
                <a:lnTo>
                  <a:pt x="4387" y="2755"/>
                </a:lnTo>
                <a:lnTo>
                  <a:pt x="4381" y="2771"/>
                </a:lnTo>
                <a:lnTo>
                  <a:pt x="4374" y="2787"/>
                </a:lnTo>
                <a:lnTo>
                  <a:pt x="4366" y="2803"/>
                </a:lnTo>
                <a:lnTo>
                  <a:pt x="4357" y="2818"/>
                </a:lnTo>
                <a:lnTo>
                  <a:pt x="4348" y="2834"/>
                </a:lnTo>
                <a:lnTo>
                  <a:pt x="4338" y="2848"/>
                </a:lnTo>
                <a:lnTo>
                  <a:pt x="4328" y="2862"/>
                </a:lnTo>
                <a:lnTo>
                  <a:pt x="4316" y="2875"/>
                </a:lnTo>
                <a:lnTo>
                  <a:pt x="4304" y="2888"/>
                </a:lnTo>
                <a:lnTo>
                  <a:pt x="4292" y="2899"/>
                </a:lnTo>
                <a:lnTo>
                  <a:pt x="4278" y="2911"/>
                </a:lnTo>
                <a:lnTo>
                  <a:pt x="4265" y="2922"/>
                </a:lnTo>
                <a:lnTo>
                  <a:pt x="4251" y="2933"/>
                </a:lnTo>
                <a:lnTo>
                  <a:pt x="4236" y="2942"/>
                </a:lnTo>
                <a:lnTo>
                  <a:pt x="4221" y="2951"/>
                </a:lnTo>
                <a:lnTo>
                  <a:pt x="4206" y="2959"/>
                </a:lnTo>
                <a:lnTo>
                  <a:pt x="4190" y="2966"/>
                </a:lnTo>
                <a:lnTo>
                  <a:pt x="4173" y="2973"/>
                </a:lnTo>
                <a:lnTo>
                  <a:pt x="4157" y="2978"/>
                </a:lnTo>
                <a:lnTo>
                  <a:pt x="4140" y="2984"/>
                </a:lnTo>
                <a:lnTo>
                  <a:pt x="4123" y="2988"/>
                </a:lnTo>
                <a:lnTo>
                  <a:pt x="4104" y="2991"/>
                </a:lnTo>
                <a:lnTo>
                  <a:pt x="4087" y="2993"/>
                </a:lnTo>
                <a:lnTo>
                  <a:pt x="4069" y="2994"/>
                </a:lnTo>
                <a:lnTo>
                  <a:pt x="4050" y="2995"/>
                </a:lnTo>
                <a:close/>
              </a:path>
            </a:pathLst>
          </a:custGeom>
          <a:solidFill>
            <a:sysClr val="window" lastClr="FFFFFF"/>
          </a:solidFill>
          <a:ln>
            <a:noFill/>
          </a:ln>
        </p:spPr>
        <p:txBody>
          <a:bodyPr anchor="ctr">
            <a:scene3d>
              <a:camera prst="orthographicFront"/>
              <a:lightRig rig="threePt" dir="t"/>
            </a:scene3d>
            <a:sp3d>
              <a:contourClr>
                <a:srgbClr val="FFFFFF"/>
              </a:contourClr>
            </a:sp3d>
          </a:bodyPr>
          <a:lstStyle/>
          <a:p>
            <a:pPr algn="ctr" defTabSz="932779">
              <a:defRPr/>
            </a:pPr>
            <a:endParaRPr lang="zh-CN" altLang="en-US" sz="1836" kern="0">
              <a:solidFill>
                <a:srgbClr val="FFFFFF"/>
              </a:solidFill>
            </a:endParaRPr>
          </a:p>
        </p:txBody>
      </p:sp>
      <p:pic>
        <p:nvPicPr>
          <p:cNvPr id="93" name="Picture 2"/>
          <p:cNvPicPr>
            <a:picLocks noChangeAspect="1" noChangeArrowheads="1"/>
          </p:cNvPicPr>
          <p:nvPr/>
        </p:nvPicPr>
        <p:blipFill>
          <a:blip r:embed="rId3" cstate="email">
            <a:biLevel thresh="50000"/>
          </a:blip>
          <a:srcRect/>
          <a:stretch>
            <a:fillRect/>
          </a:stretch>
        </p:blipFill>
        <p:spPr bwMode="auto">
          <a:xfrm>
            <a:off x="4404188" y="4818658"/>
            <a:ext cx="584398" cy="584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4" name="Group 4"/>
          <p:cNvGrpSpPr>
            <a:grpSpLocks noChangeAspect="1"/>
          </p:cNvGrpSpPr>
          <p:nvPr/>
        </p:nvGrpSpPr>
        <p:grpSpPr bwMode="auto">
          <a:xfrm>
            <a:off x="7599040" y="4869656"/>
            <a:ext cx="769249" cy="667669"/>
            <a:chOff x="850" y="-460"/>
            <a:chExt cx="6134" cy="5324"/>
          </a:xfrm>
          <a:solidFill>
            <a:sysClr val="window" lastClr="FFFFFF"/>
          </a:solidFill>
        </p:grpSpPr>
        <p:sp>
          <p:nvSpPr>
            <p:cNvPr id="95" name="Freeform 5"/>
            <p:cNvSpPr/>
            <p:nvPr/>
          </p:nvSpPr>
          <p:spPr bwMode="auto">
            <a:xfrm>
              <a:off x="5355" y="2075"/>
              <a:ext cx="168" cy="71"/>
            </a:xfrm>
            <a:custGeom>
              <a:avLst/>
              <a:gdLst>
                <a:gd name="T0" fmla="*/ 0 w 168"/>
                <a:gd name="T1" fmla="*/ 0 h 71"/>
                <a:gd name="T2" fmla="*/ 168 w 168"/>
                <a:gd name="T3" fmla="*/ 0 h 71"/>
                <a:gd name="T4" fmla="*/ 168 w 168"/>
                <a:gd name="T5" fmla="*/ 71 h 71"/>
                <a:gd name="T6" fmla="*/ 0 w 168"/>
                <a:gd name="T7" fmla="*/ 71 h 71"/>
                <a:gd name="T8" fmla="*/ 0 w 168"/>
                <a:gd name="T9" fmla="*/ 0 h 71"/>
                <a:gd name="T10" fmla="*/ 0 w 168"/>
                <a:gd name="T11" fmla="*/ 0 h 71"/>
              </a:gdLst>
              <a:ahLst/>
              <a:cxnLst>
                <a:cxn ang="0">
                  <a:pos x="T0" y="T1"/>
                </a:cxn>
                <a:cxn ang="0">
                  <a:pos x="T2" y="T3"/>
                </a:cxn>
                <a:cxn ang="0">
                  <a:pos x="T4" y="T5"/>
                </a:cxn>
                <a:cxn ang="0">
                  <a:pos x="T6" y="T7"/>
                </a:cxn>
                <a:cxn ang="0">
                  <a:pos x="T8" y="T9"/>
                </a:cxn>
                <a:cxn ang="0">
                  <a:pos x="T10" y="T11"/>
                </a:cxn>
              </a:cxnLst>
              <a:rect l="0" t="0" r="r" b="b"/>
              <a:pathLst>
                <a:path w="168" h="71">
                  <a:moveTo>
                    <a:pt x="0" y="0"/>
                  </a:moveTo>
                  <a:lnTo>
                    <a:pt x="168" y="0"/>
                  </a:lnTo>
                  <a:lnTo>
                    <a:pt x="168" y="71"/>
                  </a:lnTo>
                  <a:lnTo>
                    <a:pt x="0" y="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96" name="Freeform 6"/>
            <p:cNvSpPr/>
            <p:nvPr/>
          </p:nvSpPr>
          <p:spPr bwMode="auto">
            <a:xfrm>
              <a:off x="5691" y="2075"/>
              <a:ext cx="163" cy="71"/>
            </a:xfrm>
            <a:custGeom>
              <a:avLst/>
              <a:gdLst>
                <a:gd name="T0" fmla="*/ 0 w 163"/>
                <a:gd name="T1" fmla="*/ 0 h 71"/>
                <a:gd name="T2" fmla="*/ 163 w 163"/>
                <a:gd name="T3" fmla="*/ 0 h 71"/>
                <a:gd name="T4" fmla="*/ 163 w 163"/>
                <a:gd name="T5" fmla="*/ 71 h 71"/>
                <a:gd name="T6" fmla="*/ 0 w 163"/>
                <a:gd name="T7" fmla="*/ 71 h 71"/>
                <a:gd name="T8" fmla="*/ 0 w 163"/>
                <a:gd name="T9" fmla="*/ 0 h 71"/>
                <a:gd name="T10" fmla="*/ 0 w 163"/>
                <a:gd name="T11" fmla="*/ 0 h 71"/>
              </a:gdLst>
              <a:ahLst/>
              <a:cxnLst>
                <a:cxn ang="0">
                  <a:pos x="T0" y="T1"/>
                </a:cxn>
                <a:cxn ang="0">
                  <a:pos x="T2" y="T3"/>
                </a:cxn>
                <a:cxn ang="0">
                  <a:pos x="T4" y="T5"/>
                </a:cxn>
                <a:cxn ang="0">
                  <a:pos x="T6" y="T7"/>
                </a:cxn>
                <a:cxn ang="0">
                  <a:pos x="T8" y="T9"/>
                </a:cxn>
                <a:cxn ang="0">
                  <a:pos x="T10" y="T11"/>
                </a:cxn>
              </a:cxnLst>
              <a:rect l="0" t="0" r="r" b="b"/>
              <a:pathLst>
                <a:path w="163" h="71">
                  <a:moveTo>
                    <a:pt x="0" y="0"/>
                  </a:moveTo>
                  <a:lnTo>
                    <a:pt x="163" y="0"/>
                  </a:lnTo>
                  <a:lnTo>
                    <a:pt x="163" y="71"/>
                  </a:lnTo>
                  <a:lnTo>
                    <a:pt x="0" y="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97" name="Freeform 7"/>
            <p:cNvSpPr/>
            <p:nvPr/>
          </p:nvSpPr>
          <p:spPr bwMode="auto">
            <a:xfrm>
              <a:off x="1765" y="2075"/>
              <a:ext cx="168" cy="71"/>
            </a:xfrm>
            <a:custGeom>
              <a:avLst/>
              <a:gdLst>
                <a:gd name="T0" fmla="*/ 0 w 168"/>
                <a:gd name="T1" fmla="*/ 0 h 71"/>
                <a:gd name="T2" fmla="*/ 168 w 168"/>
                <a:gd name="T3" fmla="*/ 0 h 71"/>
                <a:gd name="T4" fmla="*/ 168 w 168"/>
                <a:gd name="T5" fmla="*/ 71 h 71"/>
                <a:gd name="T6" fmla="*/ 0 w 168"/>
                <a:gd name="T7" fmla="*/ 71 h 71"/>
                <a:gd name="T8" fmla="*/ 0 w 168"/>
                <a:gd name="T9" fmla="*/ 0 h 71"/>
                <a:gd name="T10" fmla="*/ 0 w 168"/>
                <a:gd name="T11" fmla="*/ 0 h 71"/>
              </a:gdLst>
              <a:ahLst/>
              <a:cxnLst>
                <a:cxn ang="0">
                  <a:pos x="T0" y="T1"/>
                </a:cxn>
                <a:cxn ang="0">
                  <a:pos x="T2" y="T3"/>
                </a:cxn>
                <a:cxn ang="0">
                  <a:pos x="T4" y="T5"/>
                </a:cxn>
                <a:cxn ang="0">
                  <a:pos x="T6" y="T7"/>
                </a:cxn>
                <a:cxn ang="0">
                  <a:pos x="T8" y="T9"/>
                </a:cxn>
                <a:cxn ang="0">
                  <a:pos x="T10" y="T11"/>
                </a:cxn>
              </a:cxnLst>
              <a:rect l="0" t="0" r="r" b="b"/>
              <a:pathLst>
                <a:path w="168" h="71">
                  <a:moveTo>
                    <a:pt x="0" y="0"/>
                  </a:moveTo>
                  <a:lnTo>
                    <a:pt x="168" y="0"/>
                  </a:lnTo>
                  <a:lnTo>
                    <a:pt x="168" y="71"/>
                  </a:lnTo>
                  <a:lnTo>
                    <a:pt x="0" y="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98" name="Freeform 8"/>
            <p:cNvSpPr/>
            <p:nvPr/>
          </p:nvSpPr>
          <p:spPr bwMode="auto">
            <a:xfrm>
              <a:off x="2105" y="2075"/>
              <a:ext cx="166" cy="71"/>
            </a:xfrm>
            <a:custGeom>
              <a:avLst/>
              <a:gdLst>
                <a:gd name="T0" fmla="*/ 0 w 166"/>
                <a:gd name="T1" fmla="*/ 0 h 71"/>
                <a:gd name="T2" fmla="*/ 166 w 166"/>
                <a:gd name="T3" fmla="*/ 0 h 71"/>
                <a:gd name="T4" fmla="*/ 166 w 166"/>
                <a:gd name="T5" fmla="*/ 71 h 71"/>
                <a:gd name="T6" fmla="*/ 0 w 166"/>
                <a:gd name="T7" fmla="*/ 71 h 71"/>
                <a:gd name="T8" fmla="*/ 0 w 166"/>
                <a:gd name="T9" fmla="*/ 0 h 71"/>
                <a:gd name="T10" fmla="*/ 0 w 166"/>
                <a:gd name="T11" fmla="*/ 0 h 71"/>
              </a:gdLst>
              <a:ahLst/>
              <a:cxnLst>
                <a:cxn ang="0">
                  <a:pos x="T0" y="T1"/>
                </a:cxn>
                <a:cxn ang="0">
                  <a:pos x="T2" y="T3"/>
                </a:cxn>
                <a:cxn ang="0">
                  <a:pos x="T4" y="T5"/>
                </a:cxn>
                <a:cxn ang="0">
                  <a:pos x="T6" y="T7"/>
                </a:cxn>
                <a:cxn ang="0">
                  <a:pos x="T8" y="T9"/>
                </a:cxn>
                <a:cxn ang="0">
                  <a:pos x="T10" y="T11"/>
                </a:cxn>
              </a:cxnLst>
              <a:rect l="0" t="0" r="r" b="b"/>
              <a:pathLst>
                <a:path w="166" h="71">
                  <a:moveTo>
                    <a:pt x="0" y="0"/>
                  </a:moveTo>
                  <a:lnTo>
                    <a:pt x="166" y="0"/>
                  </a:lnTo>
                  <a:lnTo>
                    <a:pt x="166" y="71"/>
                  </a:lnTo>
                  <a:lnTo>
                    <a:pt x="0" y="7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99" name="Freeform 9"/>
            <p:cNvSpPr/>
            <p:nvPr/>
          </p:nvSpPr>
          <p:spPr bwMode="auto">
            <a:xfrm>
              <a:off x="2943" y="857"/>
              <a:ext cx="149" cy="180"/>
            </a:xfrm>
            <a:custGeom>
              <a:avLst/>
              <a:gdLst>
                <a:gd name="T0" fmla="*/ 82 w 149"/>
                <a:gd name="T1" fmla="*/ 180 h 180"/>
                <a:gd name="T2" fmla="*/ 149 w 149"/>
                <a:gd name="T3" fmla="*/ 147 h 180"/>
                <a:gd name="T4" fmla="*/ 61 w 149"/>
                <a:gd name="T5" fmla="*/ 0 h 180"/>
                <a:gd name="T6" fmla="*/ 0 w 149"/>
                <a:gd name="T7" fmla="*/ 40 h 180"/>
                <a:gd name="T8" fmla="*/ 82 w 149"/>
                <a:gd name="T9" fmla="*/ 180 h 180"/>
                <a:gd name="T10" fmla="*/ 82 w 149"/>
                <a:gd name="T11" fmla="*/ 180 h 180"/>
                <a:gd name="T12" fmla="*/ 82 w 149"/>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49" h="180">
                  <a:moveTo>
                    <a:pt x="82" y="180"/>
                  </a:moveTo>
                  <a:lnTo>
                    <a:pt x="149" y="147"/>
                  </a:lnTo>
                  <a:lnTo>
                    <a:pt x="61" y="0"/>
                  </a:lnTo>
                  <a:lnTo>
                    <a:pt x="0" y="40"/>
                  </a:lnTo>
                  <a:lnTo>
                    <a:pt x="82" y="180"/>
                  </a:lnTo>
                  <a:lnTo>
                    <a:pt x="82" y="180"/>
                  </a:lnTo>
                  <a:lnTo>
                    <a:pt x="82" y="18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0" name="Freeform 10"/>
            <p:cNvSpPr/>
            <p:nvPr/>
          </p:nvSpPr>
          <p:spPr bwMode="auto">
            <a:xfrm>
              <a:off x="3111" y="1153"/>
              <a:ext cx="144" cy="180"/>
            </a:xfrm>
            <a:custGeom>
              <a:avLst/>
              <a:gdLst>
                <a:gd name="T0" fmla="*/ 82 w 144"/>
                <a:gd name="T1" fmla="*/ 180 h 180"/>
                <a:gd name="T2" fmla="*/ 144 w 144"/>
                <a:gd name="T3" fmla="*/ 139 h 180"/>
                <a:gd name="T4" fmla="*/ 61 w 144"/>
                <a:gd name="T5" fmla="*/ 0 h 180"/>
                <a:gd name="T6" fmla="*/ 0 w 144"/>
                <a:gd name="T7" fmla="*/ 33 h 180"/>
                <a:gd name="T8" fmla="*/ 82 w 144"/>
                <a:gd name="T9" fmla="*/ 180 h 180"/>
                <a:gd name="T10" fmla="*/ 82 w 144"/>
                <a:gd name="T11" fmla="*/ 180 h 180"/>
                <a:gd name="T12" fmla="*/ 82 w 144"/>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44" h="180">
                  <a:moveTo>
                    <a:pt x="82" y="180"/>
                  </a:moveTo>
                  <a:lnTo>
                    <a:pt x="144" y="139"/>
                  </a:lnTo>
                  <a:lnTo>
                    <a:pt x="61" y="0"/>
                  </a:lnTo>
                  <a:lnTo>
                    <a:pt x="0" y="33"/>
                  </a:lnTo>
                  <a:lnTo>
                    <a:pt x="82" y="180"/>
                  </a:lnTo>
                  <a:lnTo>
                    <a:pt x="82" y="180"/>
                  </a:lnTo>
                  <a:lnTo>
                    <a:pt x="82" y="18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1" name="Freeform 11"/>
            <p:cNvSpPr/>
            <p:nvPr/>
          </p:nvSpPr>
          <p:spPr bwMode="auto">
            <a:xfrm>
              <a:off x="4352" y="1153"/>
              <a:ext cx="144" cy="180"/>
            </a:xfrm>
            <a:custGeom>
              <a:avLst/>
              <a:gdLst>
                <a:gd name="T0" fmla="*/ 62 w 144"/>
                <a:gd name="T1" fmla="*/ 180 h 180"/>
                <a:gd name="T2" fmla="*/ 144 w 144"/>
                <a:gd name="T3" fmla="*/ 33 h 180"/>
                <a:gd name="T4" fmla="*/ 85 w 144"/>
                <a:gd name="T5" fmla="*/ 0 h 180"/>
                <a:gd name="T6" fmla="*/ 0 w 144"/>
                <a:gd name="T7" fmla="*/ 139 h 180"/>
                <a:gd name="T8" fmla="*/ 62 w 144"/>
                <a:gd name="T9" fmla="*/ 180 h 180"/>
                <a:gd name="T10" fmla="*/ 62 w 144"/>
                <a:gd name="T11" fmla="*/ 180 h 180"/>
                <a:gd name="T12" fmla="*/ 62 w 144"/>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44" h="180">
                  <a:moveTo>
                    <a:pt x="62" y="180"/>
                  </a:moveTo>
                  <a:lnTo>
                    <a:pt x="144" y="33"/>
                  </a:lnTo>
                  <a:lnTo>
                    <a:pt x="85" y="0"/>
                  </a:lnTo>
                  <a:lnTo>
                    <a:pt x="0" y="139"/>
                  </a:lnTo>
                  <a:lnTo>
                    <a:pt x="62" y="180"/>
                  </a:lnTo>
                  <a:lnTo>
                    <a:pt x="62" y="180"/>
                  </a:lnTo>
                  <a:lnTo>
                    <a:pt x="62" y="18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2" name="Freeform 12"/>
            <p:cNvSpPr/>
            <p:nvPr/>
          </p:nvSpPr>
          <p:spPr bwMode="auto">
            <a:xfrm>
              <a:off x="4520" y="857"/>
              <a:ext cx="144" cy="180"/>
            </a:xfrm>
            <a:custGeom>
              <a:avLst/>
              <a:gdLst>
                <a:gd name="T0" fmla="*/ 62 w 144"/>
                <a:gd name="T1" fmla="*/ 180 h 180"/>
                <a:gd name="T2" fmla="*/ 144 w 144"/>
                <a:gd name="T3" fmla="*/ 40 h 180"/>
                <a:gd name="T4" fmla="*/ 85 w 144"/>
                <a:gd name="T5" fmla="*/ 0 h 180"/>
                <a:gd name="T6" fmla="*/ 0 w 144"/>
                <a:gd name="T7" fmla="*/ 147 h 180"/>
                <a:gd name="T8" fmla="*/ 62 w 144"/>
                <a:gd name="T9" fmla="*/ 180 h 180"/>
                <a:gd name="T10" fmla="*/ 62 w 144"/>
                <a:gd name="T11" fmla="*/ 180 h 180"/>
                <a:gd name="T12" fmla="*/ 62 w 144"/>
                <a:gd name="T13" fmla="*/ 180 h 180"/>
              </a:gdLst>
              <a:ahLst/>
              <a:cxnLst>
                <a:cxn ang="0">
                  <a:pos x="T0" y="T1"/>
                </a:cxn>
                <a:cxn ang="0">
                  <a:pos x="T2" y="T3"/>
                </a:cxn>
                <a:cxn ang="0">
                  <a:pos x="T4" y="T5"/>
                </a:cxn>
                <a:cxn ang="0">
                  <a:pos x="T6" y="T7"/>
                </a:cxn>
                <a:cxn ang="0">
                  <a:pos x="T8" y="T9"/>
                </a:cxn>
                <a:cxn ang="0">
                  <a:pos x="T10" y="T11"/>
                </a:cxn>
                <a:cxn ang="0">
                  <a:pos x="T12" y="T13"/>
                </a:cxn>
              </a:cxnLst>
              <a:rect l="0" t="0" r="r" b="b"/>
              <a:pathLst>
                <a:path w="144" h="180">
                  <a:moveTo>
                    <a:pt x="62" y="180"/>
                  </a:moveTo>
                  <a:lnTo>
                    <a:pt x="144" y="40"/>
                  </a:lnTo>
                  <a:lnTo>
                    <a:pt x="85" y="0"/>
                  </a:lnTo>
                  <a:lnTo>
                    <a:pt x="0" y="147"/>
                  </a:lnTo>
                  <a:lnTo>
                    <a:pt x="62" y="180"/>
                  </a:lnTo>
                  <a:lnTo>
                    <a:pt x="62" y="180"/>
                  </a:lnTo>
                  <a:lnTo>
                    <a:pt x="62" y="18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3" name="Freeform 13"/>
            <p:cNvSpPr/>
            <p:nvPr/>
          </p:nvSpPr>
          <p:spPr bwMode="auto">
            <a:xfrm>
              <a:off x="3111" y="3010"/>
              <a:ext cx="144" cy="184"/>
            </a:xfrm>
            <a:custGeom>
              <a:avLst/>
              <a:gdLst>
                <a:gd name="T0" fmla="*/ 0 w 144"/>
                <a:gd name="T1" fmla="*/ 151 h 184"/>
                <a:gd name="T2" fmla="*/ 61 w 144"/>
                <a:gd name="T3" fmla="*/ 184 h 184"/>
                <a:gd name="T4" fmla="*/ 144 w 144"/>
                <a:gd name="T5" fmla="*/ 33 h 184"/>
                <a:gd name="T6" fmla="*/ 82 w 144"/>
                <a:gd name="T7" fmla="*/ 0 h 184"/>
                <a:gd name="T8" fmla="*/ 0 w 144"/>
                <a:gd name="T9" fmla="*/ 151 h 184"/>
                <a:gd name="T10" fmla="*/ 0 w 144"/>
                <a:gd name="T11" fmla="*/ 151 h 184"/>
                <a:gd name="T12" fmla="*/ 0 w 144"/>
                <a:gd name="T13" fmla="*/ 151 h 184"/>
              </a:gdLst>
              <a:ahLst/>
              <a:cxnLst>
                <a:cxn ang="0">
                  <a:pos x="T0" y="T1"/>
                </a:cxn>
                <a:cxn ang="0">
                  <a:pos x="T2" y="T3"/>
                </a:cxn>
                <a:cxn ang="0">
                  <a:pos x="T4" y="T5"/>
                </a:cxn>
                <a:cxn ang="0">
                  <a:pos x="T6" y="T7"/>
                </a:cxn>
                <a:cxn ang="0">
                  <a:pos x="T8" y="T9"/>
                </a:cxn>
                <a:cxn ang="0">
                  <a:pos x="T10" y="T11"/>
                </a:cxn>
                <a:cxn ang="0">
                  <a:pos x="T12" y="T13"/>
                </a:cxn>
              </a:cxnLst>
              <a:rect l="0" t="0" r="r" b="b"/>
              <a:pathLst>
                <a:path w="144" h="184">
                  <a:moveTo>
                    <a:pt x="0" y="151"/>
                  </a:moveTo>
                  <a:lnTo>
                    <a:pt x="61" y="184"/>
                  </a:lnTo>
                  <a:lnTo>
                    <a:pt x="144" y="33"/>
                  </a:lnTo>
                  <a:lnTo>
                    <a:pt x="82" y="0"/>
                  </a:lnTo>
                  <a:lnTo>
                    <a:pt x="0" y="151"/>
                  </a:lnTo>
                  <a:lnTo>
                    <a:pt x="0" y="151"/>
                  </a:lnTo>
                  <a:lnTo>
                    <a:pt x="0" y="15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4" name="Freeform 14"/>
            <p:cNvSpPr/>
            <p:nvPr/>
          </p:nvSpPr>
          <p:spPr bwMode="auto">
            <a:xfrm>
              <a:off x="2943" y="3300"/>
              <a:ext cx="149" cy="185"/>
            </a:xfrm>
            <a:custGeom>
              <a:avLst/>
              <a:gdLst>
                <a:gd name="T0" fmla="*/ 0 w 149"/>
                <a:gd name="T1" fmla="*/ 147 h 185"/>
                <a:gd name="T2" fmla="*/ 61 w 149"/>
                <a:gd name="T3" fmla="*/ 185 h 185"/>
                <a:gd name="T4" fmla="*/ 149 w 149"/>
                <a:gd name="T5" fmla="*/ 41 h 185"/>
                <a:gd name="T6" fmla="*/ 82 w 149"/>
                <a:gd name="T7" fmla="*/ 0 h 185"/>
                <a:gd name="T8" fmla="*/ 0 w 149"/>
                <a:gd name="T9" fmla="*/ 147 h 185"/>
                <a:gd name="T10" fmla="*/ 0 w 149"/>
                <a:gd name="T11" fmla="*/ 147 h 185"/>
                <a:gd name="T12" fmla="*/ 0 w 149"/>
                <a:gd name="T13" fmla="*/ 147 h 185"/>
              </a:gdLst>
              <a:ahLst/>
              <a:cxnLst>
                <a:cxn ang="0">
                  <a:pos x="T0" y="T1"/>
                </a:cxn>
                <a:cxn ang="0">
                  <a:pos x="T2" y="T3"/>
                </a:cxn>
                <a:cxn ang="0">
                  <a:pos x="T4" y="T5"/>
                </a:cxn>
                <a:cxn ang="0">
                  <a:pos x="T6" y="T7"/>
                </a:cxn>
                <a:cxn ang="0">
                  <a:pos x="T8" y="T9"/>
                </a:cxn>
                <a:cxn ang="0">
                  <a:pos x="T10" y="T11"/>
                </a:cxn>
                <a:cxn ang="0">
                  <a:pos x="T12" y="T13"/>
                </a:cxn>
              </a:cxnLst>
              <a:rect l="0" t="0" r="r" b="b"/>
              <a:pathLst>
                <a:path w="149" h="185">
                  <a:moveTo>
                    <a:pt x="0" y="147"/>
                  </a:moveTo>
                  <a:lnTo>
                    <a:pt x="61" y="185"/>
                  </a:lnTo>
                  <a:lnTo>
                    <a:pt x="149" y="41"/>
                  </a:lnTo>
                  <a:lnTo>
                    <a:pt x="82" y="0"/>
                  </a:lnTo>
                  <a:lnTo>
                    <a:pt x="0" y="147"/>
                  </a:lnTo>
                  <a:lnTo>
                    <a:pt x="0" y="147"/>
                  </a:lnTo>
                  <a:lnTo>
                    <a:pt x="0" y="1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5" name="Freeform 15"/>
            <p:cNvSpPr/>
            <p:nvPr/>
          </p:nvSpPr>
          <p:spPr bwMode="auto">
            <a:xfrm>
              <a:off x="4520" y="3300"/>
              <a:ext cx="144" cy="185"/>
            </a:xfrm>
            <a:custGeom>
              <a:avLst/>
              <a:gdLst>
                <a:gd name="T0" fmla="*/ 62 w 144"/>
                <a:gd name="T1" fmla="*/ 0 h 185"/>
                <a:gd name="T2" fmla="*/ 0 w 144"/>
                <a:gd name="T3" fmla="*/ 41 h 185"/>
                <a:gd name="T4" fmla="*/ 85 w 144"/>
                <a:gd name="T5" fmla="*/ 185 h 185"/>
                <a:gd name="T6" fmla="*/ 144 w 144"/>
                <a:gd name="T7" fmla="*/ 147 h 185"/>
                <a:gd name="T8" fmla="*/ 62 w 144"/>
                <a:gd name="T9" fmla="*/ 0 h 185"/>
                <a:gd name="T10" fmla="*/ 62 w 144"/>
                <a:gd name="T11" fmla="*/ 0 h 185"/>
                <a:gd name="T12" fmla="*/ 62 w 144"/>
                <a:gd name="T13" fmla="*/ 0 h 185"/>
              </a:gdLst>
              <a:ahLst/>
              <a:cxnLst>
                <a:cxn ang="0">
                  <a:pos x="T0" y="T1"/>
                </a:cxn>
                <a:cxn ang="0">
                  <a:pos x="T2" y="T3"/>
                </a:cxn>
                <a:cxn ang="0">
                  <a:pos x="T4" y="T5"/>
                </a:cxn>
                <a:cxn ang="0">
                  <a:pos x="T6" y="T7"/>
                </a:cxn>
                <a:cxn ang="0">
                  <a:pos x="T8" y="T9"/>
                </a:cxn>
                <a:cxn ang="0">
                  <a:pos x="T10" y="T11"/>
                </a:cxn>
                <a:cxn ang="0">
                  <a:pos x="T12" y="T13"/>
                </a:cxn>
              </a:cxnLst>
              <a:rect l="0" t="0" r="r" b="b"/>
              <a:pathLst>
                <a:path w="144" h="185">
                  <a:moveTo>
                    <a:pt x="62" y="0"/>
                  </a:moveTo>
                  <a:lnTo>
                    <a:pt x="0" y="41"/>
                  </a:lnTo>
                  <a:lnTo>
                    <a:pt x="85" y="185"/>
                  </a:lnTo>
                  <a:lnTo>
                    <a:pt x="144" y="147"/>
                  </a:lnTo>
                  <a:lnTo>
                    <a:pt x="62" y="0"/>
                  </a:lnTo>
                  <a:lnTo>
                    <a:pt x="62" y="0"/>
                  </a:lnTo>
                  <a:lnTo>
                    <a:pt x="6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6" name="Freeform 16"/>
            <p:cNvSpPr/>
            <p:nvPr/>
          </p:nvSpPr>
          <p:spPr bwMode="auto">
            <a:xfrm>
              <a:off x="4352" y="3010"/>
              <a:ext cx="144" cy="184"/>
            </a:xfrm>
            <a:custGeom>
              <a:avLst/>
              <a:gdLst>
                <a:gd name="T0" fmla="*/ 0 w 144"/>
                <a:gd name="T1" fmla="*/ 33 h 184"/>
                <a:gd name="T2" fmla="*/ 85 w 144"/>
                <a:gd name="T3" fmla="*/ 184 h 184"/>
                <a:gd name="T4" fmla="*/ 144 w 144"/>
                <a:gd name="T5" fmla="*/ 151 h 184"/>
                <a:gd name="T6" fmla="*/ 62 w 144"/>
                <a:gd name="T7" fmla="*/ 0 h 184"/>
                <a:gd name="T8" fmla="*/ 0 w 144"/>
                <a:gd name="T9" fmla="*/ 33 h 184"/>
                <a:gd name="T10" fmla="*/ 0 w 144"/>
                <a:gd name="T11" fmla="*/ 33 h 184"/>
                <a:gd name="T12" fmla="*/ 0 w 144"/>
                <a:gd name="T13" fmla="*/ 33 h 184"/>
              </a:gdLst>
              <a:ahLst/>
              <a:cxnLst>
                <a:cxn ang="0">
                  <a:pos x="T0" y="T1"/>
                </a:cxn>
                <a:cxn ang="0">
                  <a:pos x="T2" y="T3"/>
                </a:cxn>
                <a:cxn ang="0">
                  <a:pos x="T4" y="T5"/>
                </a:cxn>
                <a:cxn ang="0">
                  <a:pos x="T6" y="T7"/>
                </a:cxn>
                <a:cxn ang="0">
                  <a:pos x="T8" y="T9"/>
                </a:cxn>
                <a:cxn ang="0">
                  <a:pos x="T10" y="T11"/>
                </a:cxn>
                <a:cxn ang="0">
                  <a:pos x="T12" y="T13"/>
                </a:cxn>
              </a:cxnLst>
              <a:rect l="0" t="0" r="r" b="b"/>
              <a:pathLst>
                <a:path w="144" h="184">
                  <a:moveTo>
                    <a:pt x="0" y="33"/>
                  </a:moveTo>
                  <a:lnTo>
                    <a:pt x="85" y="184"/>
                  </a:lnTo>
                  <a:lnTo>
                    <a:pt x="144" y="151"/>
                  </a:lnTo>
                  <a:lnTo>
                    <a:pt x="62" y="0"/>
                  </a:lnTo>
                  <a:lnTo>
                    <a:pt x="0" y="33"/>
                  </a:lnTo>
                  <a:lnTo>
                    <a:pt x="0" y="33"/>
                  </a:lnTo>
                  <a:lnTo>
                    <a:pt x="0" y="3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7" name="Freeform 17"/>
            <p:cNvSpPr/>
            <p:nvPr/>
          </p:nvSpPr>
          <p:spPr bwMode="auto">
            <a:xfrm>
              <a:off x="2472" y="1415"/>
              <a:ext cx="2663" cy="1554"/>
            </a:xfrm>
            <a:custGeom>
              <a:avLst/>
              <a:gdLst>
                <a:gd name="T0" fmla="*/ 956 w 1126"/>
                <a:gd name="T1" fmla="*/ 512 h 657"/>
                <a:gd name="T2" fmla="*/ 1126 w 1126"/>
                <a:gd name="T3" fmla="*/ 342 h 657"/>
                <a:gd name="T4" fmla="*/ 956 w 1126"/>
                <a:gd name="T5" fmla="*/ 171 h 657"/>
                <a:gd name="T6" fmla="*/ 931 w 1126"/>
                <a:gd name="T7" fmla="*/ 173 h 657"/>
                <a:gd name="T8" fmla="*/ 679 w 1126"/>
                <a:gd name="T9" fmla="*/ 0 h 657"/>
                <a:gd name="T10" fmla="*/ 491 w 1126"/>
                <a:gd name="T11" fmla="*/ 79 h 657"/>
                <a:gd name="T12" fmla="*/ 373 w 1126"/>
                <a:gd name="T13" fmla="*/ 42 h 657"/>
                <a:gd name="T14" fmla="*/ 163 w 1126"/>
                <a:gd name="T15" fmla="*/ 224 h 657"/>
                <a:gd name="T16" fmla="*/ 129 w 1126"/>
                <a:gd name="T17" fmla="*/ 219 h 657"/>
                <a:gd name="T18" fmla="*/ 0 w 1126"/>
                <a:gd name="T19" fmla="*/ 348 h 657"/>
                <a:gd name="T20" fmla="*/ 129 w 1126"/>
                <a:gd name="T21" fmla="*/ 480 h 657"/>
                <a:gd name="T22" fmla="*/ 180 w 1126"/>
                <a:gd name="T23" fmla="*/ 468 h 657"/>
                <a:gd name="T24" fmla="*/ 325 w 1126"/>
                <a:gd name="T25" fmla="*/ 593 h 657"/>
                <a:gd name="T26" fmla="*/ 410 w 1126"/>
                <a:gd name="T27" fmla="*/ 563 h 657"/>
                <a:gd name="T28" fmla="*/ 555 w 1126"/>
                <a:gd name="T29" fmla="*/ 657 h 657"/>
                <a:gd name="T30" fmla="*/ 684 w 1126"/>
                <a:gd name="T31" fmla="*/ 588 h 657"/>
                <a:gd name="T32" fmla="*/ 765 w 1126"/>
                <a:gd name="T33" fmla="*/ 616 h 657"/>
                <a:gd name="T34" fmla="*/ 898 w 1126"/>
                <a:gd name="T35" fmla="*/ 501 h 657"/>
                <a:gd name="T36" fmla="*/ 956 w 1126"/>
                <a:gd name="T37" fmla="*/ 512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6" h="657">
                  <a:moveTo>
                    <a:pt x="956" y="512"/>
                  </a:moveTo>
                  <a:cubicBezTo>
                    <a:pt x="1050" y="512"/>
                    <a:pt x="1126" y="436"/>
                    <a:pt x="1126" y="342"/>
                  </a:cubicBezTo>
                  <a:cubicBezTo>
                    <a:pt x="1126" y="247"/>
                    <a:pt x="1050" y="171"/>
                    <a:pt x="956" y="171"/>
                  </a:cubicBezTo>
                  <a:cubicBezTo>
                    <a:pt x="947" y="171"/>
                    <a:pt x="937" y="171"/>
                    <a:pt x="931" y="173"/>
                  </a:cubicBezTo>
                  <a:cubicBezTo>
                    <a:pt x="891" y="72"/>
                    <a:pt x="795" y="0"/>
                    <a:pt x="679" y="0"/>
                  </a:cubicBezTo>
                  <a:cubicBezTo>
                    <a:pt x="606" y="0"/>
                    <a:pt x="539" y="30"/>
                    <a:pt x="491" y="79"/>
                  </a:cubicBezTo>
                  <a:cubicBezTo>
                    <a:pt x="458" y="56"/>
                    <a:pt x="417" y="42"/>
                    <a:pt x="373" y="42"/>
                  </a:cubicBezTo>
                  <a:cubicBezTo>
                    <a:pt x="265" y="42"/>
                    <a:pt x="177" y="120"/>
                    <a:pt x="163" y="224"/>
                  </a:cubicBezTo>
                  <a:cubicBezTo>
                    <a:pt x="152" y="222"/>
                    <a:pt x="140" y="219"/>
                    <a:pt x="129" y="219"/>
                  </a:cubicBezTo>
                  <a:cubicBezTo>
                    <a:pt x="58" y="219"/>
                    <a:pt x="0" y="277"/>
                    <a:pt x="0" y="348"/>
                  </a:cubicBezTo>
                  <a:cubicBezTo>
                    <a:pt x="0" y="420"/>
                    <a:pt x="58" y="480"/>
                    <a:pt x="129" y="480"/>
                  </a:cubicBezTo>
                  <a:cubicBezTo>
                    <a:pt x="147" y="480"/>
                    <a:pt x="163" y="475"/>
                    <a:pt x="180" y="468"/>
                  </a:cubicBezTo>
                  <a:cubicBezTo>
                    <a:pt x="191" y="540"/>
                    <a:pt x="251" y="593"/>
                    <a:pt x="325" y="593"/>
                  </a:cubicBezTo>
                  <a:cubicBezTo>
                    <a:pt x="357" y="593"/>
                    <a:pt x="387" y="581"/>
                    <a:pt x="410" y="563"/>
                  </a:cubicBezTo>
                  <a:cubicBezTo>
                    <a:pt x="435" y="618"/>
                    <a:pt x="491" y="657"/>
                    <a:pt x="555" y="657"/>
                  </a:cubicBezTo>
                  <a:cubicBezTo>
                    <a:pt x="608" y="657"/>
                    <a:pt x="656" y="630"/>
                    <a:pt x="684" y="588"/>
                  </a:cubicBezTo>
                  <a:cubicBezTo>
                    <a:pt x="707" y="607"/>
                    <a:pt x="735" y="616"/>
                    <a:pt x="765" y="616"/>
                  </a:cubicBezTo>
                  <a:cubicBezTo>
                    <a:pt x="831" y="616"/>
                    <a:pt x="889" y="567"/>
                    <a:pt x="898" y="501"/>
                  </a:cubicBezTo>
                  <a:cubicBezTo>
                    <a:pt x="914" y="507"/>
                    <a:pt x="935" y="512"/>
                    <a:pt x="956" y="51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8" name="Freeform 18"/>
            <p:cNvSpPr>
              <a:spLocks noEditPoints="1"/>
            </p:cNvSpPr>
            <p:nvPr/>
          </p:nvSpPr>
          <p:spPr bwMode="auto">
            <a:xfrm>
              <a:off x="2096" y="-460"/>
              <a:ext cx="1090" cy="759"/>
            </a:xfrm>
            <a:custGeom>
              <a:avLst/>
              <a:gdLst>
                <a:gd name="T0" fmla="*/ 401 w 461"/>
                <a:gd name="T1" fmla="*/ 0 h 321"/>
                <a:gd name="T2" fmla="*/ 60 w 461"/>
                <a:gd name="T3" fmla="*/ 0 h 321"/>
                <a:gd name="T4" fmla="*/ 0 w 461"/>
                <a:gd name="T5" fmla="*/ 62 h 321"/>
                <a:gd name="T6" fmla="*/ 0 w 461"/>
                <a:gd name="T7" fmla="*/ 261 h 321"/>
                <a:gd name="T8" fmla="*/ 60 w 461"/>
                <a:gd name="T9" fmla="*/ 321 h 321"/>
                <a:gd name="T10" fmla="*/ 401 w 461"/>
                <a:gd name="T11" fmla="*/ 321 h 321"/>
                <a:gd name="T12" fmla="*/ 461 w 461"/>
                <a:gd name="T13" fmla="*/ 261 h 321"/>
                <a:gd name="T14" fmla="*/ 461 w 461"/>
                <a:gd name="T15" fmla="*/ 62 h 321"/>
                <a:gd name="T16" fmla="*/ 401 w 461"/>
                <a:gd name="T17" fmla="*/ 0 h 321"/>
                <a:gd name="T18" fmla="*/ 427 w 461"/>
                <a:gd name="T19" fmla="*/ 261 h 321"/>
                <a:gd name="T20" fmla="*/ 401 w 461"/>
                <a:gd name="T21" fmla="*/ 286 h 321"/>
                <a:gd name="T22" fmla="*/ 60 w 461"/>
                <a:gd name="T23" fmla="*/ 286 h 321"/>
                <a:gd name="T24" fmla="*/ 35 w 461"/>
                <a:gd name="T25" fmla="*/ 261 h 321"/>
                <a:gd name="T26" fmla="*/ 35 w 461"/>
                <a:gd name="T27" fmla="*/ 62 h 321"/>
                <a:gd name="T28" fmla="*/ 60 w 461"/>
                <a:gd name="T29" fmla="*/ 37 h 321"/>
                <a:gd name="T30" fmla="*/ 401 w 461"/>
                <a:gd name="T31" fmla="*/ 37 h 321"/>
                <a:gd name="T32" fmla="*/ 427 w 461"/>
                <a:gd name="T33" fmla="*/ 62 h 321"/>
                <a:gd name="T34" fmla="*/ 427 w 461"/>
                <a:gd name="T35" fmla="*/ 261 h 321"/>
                <a:gd name="T36" fmla="*/ 427 w 461"/>
                <a:gd name="T37" fmla="*/ 26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321">
                  <a:moveTo>
                    <a:pt x="401" y="0"/>
                  </a:moveTo>
                  <a:cubicBezTo>
                    <a:pt x="60" y="0"/>
                    <a:pt x="60" y="0"/>
                    <a:pt x="60" y="0"/>
                  </a:cubicBezTo>
                  <a:cubicBezTo>
                    <a:pt x="28" y="0"/>
                    <a:pt x="0" y="27"/>
                    <a:pt x="0" y="62"/>
                  </a:cubicBezTo>
                  <a:cubicBezTo>
                    <a:pt x="0" y="261"/>
                    <a:pt x="0" y="261"/>
                    <a:pt x="0" y="261"/>
                  </a:cubicBezTo>
                  <a:cubicBezTo>
                    <a:pt x="0" y="293"/>
                    <a:pt x="28" y="321"/>
                    <a:pt x="60" y="321"/>
                  </a:cubicBezTo>
                  <a:cubicBezTo>
                    <a:pt x="401" y="321"/>
                    <a:pt x="401" y="321"/>
                    <a:pt x="401" y="321"/>
                  </a:cubicBezTo>
                  <a:cubicBezTo>
                    <a:pt x="434" y="321"/>
                    <a:pt x="461" y="293"/>
                    <a:pt x="461" y="261"/>
                  </a:cubicBezTo>
                  <a:cubicBezTo>
                    <a:pt x="461" y="62"/>
                    <a:pt x="461" y="62"/>
                    <a:pt x="461" y="62"/>
                  </a:cubicBezTo>
                  <a:cubicBezTo>
                    <a:pt x="461" y="27"/>
                    <a:pt x="434" y="0"/>
                    <a:pt x="401" y="0"/>
                  </a:cubicBezTo>
                  <a:moveTo>
                    <a:pt x="427" y="261"/>
                  </a:moveTo>
                  <a:cubicBezTo>
                    <a:pt x="427" y="274"/>
                    <a:pt x="415" y="286"/>
                    <a:pt x="401" y="286"/>
                  </a:cubicBezTo>
                  <a:cubicBezTo>
                    <a:pt x="60" y="286"/>
                    <a:pt x="60" y="286"/>
                    <a:pt x="60" y="286"/>
                  </a:cubicBezTo>
                  <a:cubicBezTo>
                    <a:pt x="46" y="286"/>
                    <a:pt x="35" y="274"/>
                    <a:pt x="35" y="261"/>
                  </a:cubicBezTo>
                  <a:cubicBezTo>
                    <a:pt x="35" y="62"/>
                    <a:pt x="35" y="62"/>
                    <a:pt x="35" y="62"/>
                  </a:cubicBezTo>
                  <a:cubicBezTo>
                    <a:pt x="35" y="48"/>
                    <a:pt x="46" y="37"/>
                    <a:pt x="60" y="37"/>
                  </a:cubicBezTo>
                  <a:cubicBezTo>
                    <a:pt x="401" y="37"/>
                    <a:pt x="401" y="37"/>
                    <a:pt x="401" y="37"/>
                  </a:cubicBezTo>
                  <a:cubicBezTo>
                    <a:pt x="415" y="37"/>
                    <a:pt x="427" y="48"/>
                    <a:pt x="427" y="62"/>
                  </a:cubicBezTo>
                  <a:cubicBezTo>
                    <a:pt x="427" y="261"/>
                    <a:pt x="427" y="261"/>
                    <a:pt x="427" y="261"/>
                  </a:cubicBezTo>
                  <a:cubicBezTo>
                    <a:pt x="427" y="261"/>
                    <a:pt x="427" y="261"/>
                    <a:pt x="427" y="26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09" name="Freeform 19"/>
            <p:cNvSpPr/>
            <p:nvPr/>
          </p:nvSpPr>
          <p:spPr bwMode="auto">
            <a:xfrm>
              <a:off x="1888" y="346"/>
              <a:ext cx="1506" cy="348"/>
            </a:xfrm>
            <a:custGeom>
              <a:avLst/>
              <a:gdLst>
                <a:gd name="T0" fmla="*/ 17 w 637"/>
                <a:gd name="T1" fmla="*/ 147 h 147"/>
                <a:gd name="T2" fmla="*/ 621 w 637"/>
                <a:gd name="T3" fmla="*/ 147 h 147"/>
                <a:gd name="T4" fmla="*/ 637 w 637"/>
                <a:gd name="T5" fmla="*/ 131 h 147"/>
                <a:gd name="T6" fmla="*/ 637 w 637"/>
                <a:gd name="T7" fmla="*/ 124 h 147"/>
                <a:gd name="T8" fmla="*/ 628 w 637"/>
                <a:gd name="T9" fmla="*/ 96 h 147"/>
                <a:gd name="T10" fmla="*/ 554 w 637"/>
                <a:gd name="T11" fmla="*/ 11 h 147"/>
                <a:gd name="T12" fmla="*/ 529 w 637"/>
                <a:gd name="T13" fmla="*/ 0 h 147"/>
                <a:gd name="T14" fmla="*/ 109 w 637"/>
                <a:gd name="T15" fmla="*/ 0 h 147"/>
                <a:gd name="T16" fmla="*/ 83 w 637"/>
                <a:gd name="T17" fmla="*/ 11 h 147"/>
                <a:gd name="T18" fmla="*/ 10 w 637"/>
                <a:gd name="T19" fmla="*/ 96 h 147"/>
                <a:gd name="T20" fmla="*/ 0 w 637"/>
                <a:gd name="T21" fmla="*/ 124 h 147"/>
                <a:gd name="T22" fmla="*/ 0 w 637"/>
                <a:gd name="T23" fmla="*/ 131 h 147"/>
                <a:gd name="T24" fmla="*/ 17 w 637"/>
                <a:gd name="T25"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7" h="147">
                  <a:moveTo>
                    <a:pt x="17" y="147"/>
                  </a:moveTo>
                  <a:cubicBezTo>
                    <a:pt x="621" y="147"/>
                    <a:pt x="621" y="147"/>
                    <a:pt x="621" y="147"/>
                  </a:cubicBezTo>
                  <a:cubicBezTo>
                    <a:pt x="630" y="147"/>
                    <a:pt x="637" y="140"/>
                    <a:pt x="637" y="131"/>
                  </a:cubicBezTo>
                  <a:cubicBezTo>
                    <a:pt x="637" y="124"/>
                    <a:pt x="637" y="124"/>
                    <a:pt x="637" y="124"/>
                  </a:cubicBezTo>
                  <a:cubicBezTo>
                    <a:pt x="637" y="115"/>
                    <a:pt x="632" y="103"/>
                    <a:pt x="628" y="96"/>
                  </a:cubicBezTo>
                  <a:cubicBezTo>
                    <a:pt x="554" y="11"/>
                    <a:pt x="554" y="11"/>
                    <a:pt x="554" y="11"/>
                  </a:cubicBezTo>
                  <a:cubicBezTo>
                    <a:pt x="549" y="4"/>
                    <a:pt x="538" y="0"/>
                    <a:pt x="529" y="0"/>
                  </a:cubicBezTo>
                  <a:cubicBezTo>
                    <a:pt x="109" y="0"/>
                    <a:pt x="109" y="0"/>
                    <a:pt x="109" y="0"/>
                  </a:cubicBezTo>
                  <a:cubicBezTo>
                    <a:pt x="100" y="0"/>
                    <a:pt x="88" y="4"/>
                    <a:pt x="83" y="11"/>
                  </a:cubicBezTo>
                  <a:cubicBezTo>
                    <a:pt x="10" y="96"/>
                    <a:pt x="10" y="96"/>
                    <a:pt x="10" y="96"/>
                  </a:cubicBezTo>
                  <a:cubicBezTo>
                    <a:pt x="5" y="103"/>
                    <a:pt x="0" y="115"/>
                    <a:pt x="0" y="124"/>
                  </a:cubicBezTo>
                  <a:cubicBezTo>
                    <a:pt x="0" y="131"/>
                    <a:pt x="0" y="131"/>
                    <a:pt x="0" y="131"/>
                  </a:cubicBezTo>
                  <a:cubicBezTo>
                    <a:pt x="0" y="140"/>
                    <a:pt x="7" y="147"/>
                    <a:pt x="17" y="14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0" name="Freeform 20"/>
            <p:cNvSpPr>
              <a:spLocks noEditPoints="1"/>
            </p:cNvSpPr>
            <p:nvPr/>
          </p:nvSpPr>
          <p:spPr bwMode="auto">
            <a:xfrm>
              <a:off x="4146" y="-401"/>
              <a:ext cx="1133" cy="882"/>
            </a:xfrm>
            <a:custGeom>
              <a:avLst/>
              <a:gdLst>
                <a:gd name="T0" fmla="*/ 408 w 479"/>
                <a:gd name="T1" fmla="*/ 0 h 373"/>
                <a:gd name="T2" fmla="*/ 71 w 479"/>
                <a:gd name="T3" fmla="*/ 0 h 373"/>
                <a:gd name="T4" fmla="*/ 0 w 479"/>
                <a:gd name="T5" fmla="*/ 71 h 373"/>
                <a:gd name="T6" fmla="*/ 0 w 479"/>
                <a:gd name="T7" fmla="*/ 302 h 373"/>
                <a:gd name="T8" fmla="*/ 71 w 479"/>
                <a:gd name="T9" fmla="*/ 373 h 373"/>
                <a:gd name="T10" fmla="*/ 408 w 479"/>
                <a:gd name="T11" fmla="*/ 373 h 373"/>
                <a:gd name="T12" fmla="*/ 479 w 479"/>
                <a:gd name="T13" fmla="*/ 302 h 373"/>
                <a:gd name="T14" fmla="*/ 479 w 479"/>
                <a:gd name="T15" fmla="*/ 71 h 373"/>
                <a:gd name="T16" fmla="*/ 408 w 479"/>
                <a:gd name="T17" fmla="*/ 0 h 373"/>
                <a:gd name="T18" fmla="*/ 438 w 479"/>
                <a:gd name="T19" fmla="*/ 302 h 373"/>
                <a:gd name="T20" fmla="*/ 408 w 479"/>
                <a:gd name="T21" fmla="*/ 332 h 373"/>
                <a:gd name="T22" fmla="*/ 71 w 479"/>
                <a:gd name="T23" fmla="*/ 332 h 373"/>
                <a:gd name="T24" fmla="*/ 41 w 479"/>
                <a:gd name="T25" fmla="*/ 302 h 373"/>
                <a:gd name="T26" fmla="*/ 41 w 479"/>
                <a:gd name="T27" fmla="*/ 71 h 373"/>
                <a:gd name="T28" fmla="*/ 71 w 479"/>
                <a:gd name="T29" fmla="*/ 41 h 373"/>
                <a:gd name="T30" fmla="*/ 408 w 479"/>
                <a:gd name="T31" fmla="*/ 41 h 373"/>
                <a:gd name="T32" fmla="*/ 438 w 479"/>
                <a:gd name="T33" fmla="*/ 71 h 373"/>
                <a:gd name="T34" fmla="*/ 438 w 479"/>
                <a:gd name="T35" fmla="*/ 302 h 373"/>
                <a:gd name="T36" fmla="*/ 438 w 479"/>
                <a:gd name="T37" fmla="*/ 30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9" h="373">
                  <a:moveTo>
                    <a:pt x="408" y="0"/>
                  </a:moveTo>
                  <a:cubicBezTo>
                    <a:pt x="71" y="0"/>
                    <a:pt x="71" y="0"/>
                    <a:pt x="71" y="0"/>
                  </a:cubicBezTo>
                  <a:cubicBezTo>
                    <a:pt x="32" y="0"/>
                    <a:pt x="0" y="32"/>
                    <a:pt x="0" y="71"/>
                  </a:cubicBezTo>
                  <a:cubicBezTo>
                    <a:pt x="0" y="302"/>
                    <a:pt x="0" y="302"/>
                    <a:pt x="0" y="302"/>
                  </a:cubicBezTo>
                  <a:cubicBezTo>
                    <a:pt x="0" y="341"/>
                    <a:pt x="32" y="373"/>
                    <a:pt x="71" y="373"/>
                  </a:cubicBezTo>
                  <a:cubicBezTo>
                    <a:pt x="408" y="373"/>
                    <a:pt x="408" y="373"/>
                    <a:pt x="408" y="373"/>
                  </a:cubicBezTo>
                  <a:cubicBezTo>
                    <a:pt x="447" y="373"/>
                    <a:pt x="479" y="341"/>
                    <a:pt x="479" y="302"/>
                  </a:cubicBezTo>
                  <a:cubicBezTo>
                    <a:pt x="479" y="71"/>
                    <a:pt x="479" y="71"/>
                    <a:pt x="479" y="71"/>
                  </a:cubicBezTo>
                  <a:cubicBezTo>
                    <a:pt x="479" y="32"/>
                    <a:pt x="447" y="0"/>
                    <a:pt x="408" y="0"/>
                  </a:cubicBezTo>
                  <a:moveTo>
                    <a:pt x="438" y="302"/>
                  </a:moveTo>
                  <a:cubicBezTo>
                    <a:pt x="438" y="318"/>
                    <a:pt x="424" y="332"/>
                    <a:pt x="408" y="332"/>
                  </a:cubicBezTo>
                  <a:cubicBezTo>
                    <a:pt x="71" y="332"/>
                    <a:pt x="71" y="332"/>
                    <a:pt x="71" y="332"/>
                  </a:cubicBezTo>
                  <a:cubicBezTo>
                    <a:pt x="55" y="332"/>
                    <a:pt x="41" y="318"/>
                    <a:pt x="41" y="302"/>
                  </a:cubicBezTo>
                  <a:cubicBezTo>
                    <a:pt x="41" y="71"/>
                    <a:pt x="41" y="71"/>
                    <a:pt x="41" y="71"/>
                  </a:cubicBezTo>
                  <a:cubicBezTo>
                    <a:pt x="41" y="55"/>
                    <a:pt x="55" y="41"/>
                    <a:pt x="71" y="41"/>
                  </a:cubicBezTo>
                  <a:cubicBezTo>
                    <a:pt x="408" y="41"/>
                    <a:pt x="408" y="41"/>
                    <a:pt x="408" y="41"/>
                  </a:cubicBezTo>
                  <a:cubicBezTo>
                    <a:pt x="424" y="41"/>
                    <a:pt x="438" y="55"/>
                    <a:pt x="438" y="71"/>
                  </a:cubicBezTo>
                  <a:cubicBezTo>
                    <a:pt x="438" y="302"/>
                    <a:pt x="438" y="302"/>
                    <a:pt x="438" y="302"/>
                  </a:cubicBezTo>
                  <a:cubicBezTo>
                    <a:pt x="438" y="302"/>
                    <a:pt x="438" y="302"/>
                    <a:pt x="438" y="30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1" name="Freeform 21"/>
            <p:cNvSpPr/>
            <p:nvPr/>
          </p:nvSpPr>
          <p:spPr bwMode="auto">
            <a:xfrm>
              <a:off x="4409" y="543"/>
              <a:ext cx="608" cy="151"/>
            </a:xfrm>
            <a:custGeom>
              <a:avLst/>
              <a:gdLst>
                <a:gd name="T0" fmla="*/ 257 w 257"/>
                <a:gd name="T1" fmla="*/ 57 h 64"/>
                <a:gd name="T2" fmla="*/ 257 w 257"/>
                <a:gd name="T3" fmla="*/ 52 h 64"/>
                <a:gd name="T4" fmla="*/ 252 w 257"/>
                <a:gd name="T5" fmla="*/ 41 h 64"/>
                <a:gd name="T6" fmla="*/ 220 w 257"/>
                <a:gd name="T7" fmla="*/ 4 h 64"/>
                <a:gd name="T8" fmla="*/ 209 w 257"/>
                <a:gd name="T9" fmla="*/ 0 h 64"/>
                <a:gd name="T10" fmla="*/ 48 w 257"/>
                <a:gd name="T11" fmla="*/ 0 h 64"/>
                <a:gd name="T12" fmla="*/ 37 w 257"/>
                <a:gd name="T13" fmla="*/ 4 h 64"/>
                <a:gd name="T14" fmla="*/ 5 w 257"/>
                <a:gd name="T15" fmla="*/ 41 h 64"/>
                <a:gd name="T16" fmla="*/ 0 w 257"/>
                <a:gd name="T17" fmla="*/ 52 h 64"/>
                <a:gd name="T18" fmla="*/ 0 w 257"/>
                <a:gd name="T19" fmla="*/ 57 h 64"/>
                <a:gd name="T20" fmla="*/ 7 w 257"/>
                <a:gd name="T21" fmla="*/ 64 h 64"/>
                <a:gd name="T22" fmla="*/ 250 w 257"/>
                <a:gd name="T23" fmla="*/ 64 h 64"/>
                <a:gd name="T24" fmla="*/ 257 w 257"/>
                <a:gd name="T2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7" h="64">
                  <a:moveTo>
                    <a:pt x="257" y="57"/>
                  </a:moveTo>
                  <a:cubicBezTo>
                    <a:pt x="257" y="52"/>
                    <a:pt x="257" y="52"/>
                    <a:pt x="257" y="52"/>
                  </a:cubicBezTo>
                  <a:cubicBezTo>
                    <a:pt x="257" y="50"/>
                    <a:pt x="254" y="45"/>
                    <a:pt x="252" y="41"/>
                  </a:cubicBezTo>
                  <a:cubicBezTo>
                    <a:pt x="220" y="4"/>
                    <a:pt x="220" y="4"/>
                    <a:pt x="220" y="4"/>
                  </a:cubicBezTo>
                  <a:cubicBezTo>
                    <a:pt x="218" y="2"/>
                    <a:pt x="213" y="0"/>
                    <a:pt x="209" y="0"/>
                  </a:cubicBezTo>
                  <a:cubicBezTo>
                    <a:pt x="48" y="0"/>
                    <a:pt x="48" y="0"/>
                    <a:pt x="48" y="0"/>
                  </a:cubicBezTo>
                  <a:cubicBezTo>
                    <a:pt x="44" y="0"/>
                    <a:pt x="39" y="2"/>
                    <a:pt x="37" y="4"/>
                  </a:cubicBezTo>
                  <a:cubicBezTo>
                    <a:pt x="5" y="41"/>
                    <a:pt x="5" y="41"/>
                    <a:pt x="5" y="41"/>
                  </a:cubicBezTo>
                  <a:cubicBezTo>
                    <a:pt x="2" y="45"/>
                    <a:pt x="0" y="50"/>
                    <a:pt x="0" y="52"/>
                  </a:cubicBezTo>
                  <a:cubicBezTo>
                    <a:pt x="0" y="57"/>
                    <a:pt x="0" y="57"/>
                    <a:pt x="0" y="57"/>
                  </a:cubicBezTo>
                  <a:cubicBezTo>
                    <a:pt x="0" y="59"/>
                    <a:pt x="2" y="64"/>
                    <a:pt x="7" y="64"/>
                  </a:cubicBezTo>
                  <a:cubicBezTo>
                    <a:pt x="250" y="64"/>
                    <a:pt x="250" y="64"/>
                    <a:pt x="250" y="64"/>
                  </a:cubicBezTo>
                  <a:cubicBezTo>
                    <a:pt x="254" y="64"/>
                    <a:pt x="257" y="59"/>
                    <a:pt x="257" y="5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2" name="Freeform 22"/>
            <p:cNvSpPr>
              <a:spLocks noEditPoints="1"/>
            </p:cNvSpPr>
            <p:nvPr/>
          </p:nvSpPr>
          <p:spPr bwMode="auto">
            <a:xfrm>
              <a:off x="5388" y="-401"/>
              <a:ext cx="558" cy="1095"/>
            </a:xfrm>
            <a:custGeom>
              <a:avLst/>
              <a:gdLst>
                <a:gd name="T0" fmla="*/ 204 w 236"/>
                <a:gd name="T1" fmla="*/ 0 h 463"/>
                <a:gd name="T2" fmla="*/ 30 w 236"/>
                <a:gd name="T3" fmla="*/ 0 h 463"/>
                <a:gd name="T4" fmla="*/ 0 w 236"/>
                <a:gd name="T5" fmla="*/ 30 h 463"/>
                <a:gd name="T6" fmla="*/ 0 w 236"/>
                <a:gd name="T7" fmla="*/ 430 h 463"/>
                <a:gd name="T8" fmla="*/ 30 w 236"/>
                <a:gd name="T9" fmla="*/ 463 h 463"/>
                <a:gd name="T10" fmla="*/ 204 w 236"/>
                <a:gd name="T11" fmla="*/ 463 h 463"/>
                <a:gd name="T12" fmla="*/ 236 w 236"/>
                <a:gd name="T13" fmla="*/ 430 h 463"/>
                <a:gd name="T14" fmla="*/ 236 w 236"/>
                <a:gd name="T15" fmla="*/ 30 h 463"/>
                <a:gd name="T16" fmla="*/ 204 w 236"/>
                <a:gd name="T17" fmla="*/ 0 h 463"/>
                <a:gd name="T18" fmla="*/ 119 w 236"/>
                <a:gd name="T19" fmla="*/ 430 h 463"/>
                <a:gd name="T20" fmla="*/ 92 w 236"/>
                <a:gd name="T21" fmla="*/ 403 h 463"/>
                <a:gd name="T22" fmla="*/ 119 w 236"/>
                <a:gd name="T23" fmla="*/ 375 h 463"/>
                <a:gd name="T24" fmla="*/ 144 w 236"/>
                <a:gd name="T25" fmla="*/ 403 h 463"/>
                <a:gd name="T26" fmla="*/ 119 w 236"/>
                <a:gd name="T27" fmla="*/ 43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463">
                  <a:moveTo>
                    <a:pt x="204" y="0"/>
                  </a:moveTo>
                  <a:cubicBezTo>
                    <a:pt x="30" y="0"/>
                    <a:pt x="30" y="0"/>
                    <a:pt x="30" y="0"/>
                  </a:cubicBezTo>
                  <a:cubicBezTo>
                    <a:pt x="13" y="0"/>
                    <a:pt x="0" y="14"/>
                    <a:pt x="0" y="30"/>
                  </a:cubicBezTo>
                  <a:cubicBezTo>
                    <a:pt x="0" y="430"/>
                    <a:pt x="0" y="430"/>
                    <a:pt x="0" y="430"/>
                  </a:cubicBezTo>
                  <a:cubicBezTo>
                    <a:pt x="0" y="449"/>
                    <a:pt x="13" y="463"/>
                    <a:pt x="30" y="463"/>
                  </a:cubicBezTo>
                  <a:cubicBezTo>
                    <a:pt x="204" y="463"/>
                    <a:pt x="204" y="463"/>
                    <a:pt x="204" y="463"/>
                  </a:cubicBezTo>
                  <a:cubicBezTo>
                    <a:pt x="222" y="463"/>
                    <a:pt x="236" y="449"/>
                    <a:pt x="236" y="430"/>
                  </a:cubicBezTo>
                  <a:cubicBezTo>
                    <a:pt x="236" y="30"/>
                    <a:pt x="236" y="30"/>
                    <a:pt x="236" y="30"/>
                  </a:cubicBezTo>
                  <a:cubicBezTo>
                    <a:pt x="236" y="14"/>
                    <a:pt x="222" y="0"/>
                    <a:pt x="204" y="0"/>
                  </a:cubicBezTo>
                  <a:moveTo>
                    <a:pt x="119" y="430"/>
                  </a:moveTo>
                  <a:cubicBezTo>
                    <a:pt x="103" y="430"/>
                    <a:pt x="92" y="417"/>
                    <a:pt x="92" y="403"/>
                  </a:cubicBezTo>
                  <a:cubicBezTo>
                    <a:pt x="92" y="387"/>
                    <a:pt x="103" y="375"/>
                    <a:pt x="119" y="375"/>
                  </a:cubicBezTo>
                  <a:cubicBezTo>
                    <a:pt x="133" y="375"/>
                    <a:pt x="144" y="387"/>
                    <a:pt x="144" y="403"/>
                  </a:cubicBezTo>
                  <a:cubicBezTo>
                    <a:pt x="144" y="417"/>
                    <a:pt x="133" y="430"/>
                    <a:pt x="119" y="43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3" name="Freeform 23"/>
            <p:cNvSpPr>
              <a:spLocks noEditPoints="1"/>
            </p:cNvSpPr>
            <p:nvPr/>
          </p:nvSpPr>
          <p:spPr bwMode="auto">
            <a:xfrm>
              <a:off x="850" y="1621"/>
              <a:ext cx="764" cy="1169"/>
            </a:xfrm>
            <a:custGeom>
              <a:avLst/>
              <a:gdLst>
                <a:gd name="T0" fmla="*/ 251 w 323"/>
                <a:gd name="T1" fmla="*/ 0 h 494"/>
                <a:gd name="T2" fmla="*/ 72 w 323"/>
                <a:gd name="T3" fmla="*/ 0 h 494"/>
                <a:gd name="T4" fmla="*/ 0 w 323"/>
                <a:gd name="T5" fmla="*/ 69 h 494"/>
                <a:gd name="T6" fmla="*/ 0 w 323"/>
                <a:gd name="T7" fmla="*/ 423 h 494"/>
                <a:gd name="T8" fmla="*/ 72 w 323"/>
                <a:gd name="T9" fmla="*/ 494 h 494"/>
                <a:gd name="T10" fmla="*/ 251 w 323"/>
                <a:gd name="T11" fmla="*/ 494 h 494"/>
                <a:gd name="T12" fmla="*/ 323 w 323"/>
                <a:gd name="T13" fmla="*/ 423 h 494"/>
                <a:gd name="T14" fmla="*/ 323 w 323"/>
                <a:gd name="T15" fmla="*/ 69 h 494"/>
                <a:gd name="T16" fmla="*/ 251 w 323"/>
                <a:gd name="T17" fmla="*/ 0 h 494"/>
                <a:gd name="T18" fmla="*/ 281 w 323"/>
                <a:gd name="T19" fmla="*/ 407 h 494"/>
                <a:gd name="T20" fmla="*/ 251 w 323"/>
                <a:gd name="T21" fmla="*/ 448 h 494"/>
                <a:gd name="T22" fmla="*/ 72 w 323"/>
                <a:gd name="T23" fmla="*/ 448 h 494"/>
                <a:gd name="T24" fmla="*/ 42 w 323"/>
                <a:gd name="T25" fmla="*/ 407 h 494"/>
                <a:gd name="T26" fmla="*/ 42 w 323"/>
                <a:gd name="T27" fmla="*/ 80 h 494"/>
                <a:gd name="T28" fmla="*/ 72 w 323"/>
                <a:gd name="T29" fmla="*/ 41 h 494"/>
                <a:gd name="T30" fmla="*/ 251 w 323"/>
                <a:gd name="T31" fmla="*/ 41 h 494"/>
                <a:gd name="T32" fmla="*/ 281 w 323"/>
                <a:gd name="T33" fmla="*/ 80 h 494"/>
                <a:gd name="T34" fmla="*/ 281 w 323"/>
                <a:gd name="T35" fmla="*/ 407 h 494"/>
                <a:gd name="T36" fmla="*/ 281 w 323"/>
                <a:gd name="T37" fmla="*/ 40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3" h="494">
                  <a:moveTo>
                    <a:pt x="251" y="0"/>
                  </a:moveTo>
                  <a:cubicBezTo>
                    <a:pt x="72" y="0"/>
                    <a:pt x="72" y="0"/>
                    <a:pt x="72" y="0"/>
                  </a:cubicBezTo>
                  <a:cubicBezTo>
                    <a:pt x="33" y="0"/>
                    <a:pt x="0" y="29"/>
                    <a:pt x="0" y="69"/>
                  </a:cubicBezTo>
                  <a:cubicBezTo>
                    <a:pt x="0" y="423"/>
                    <a:pt x="0" y="423"/>
                    <a:pt x="0" y="423"/>
                  </a:cubicBezTo>
                  <a:cubicBezTo>
                    <a:pt x="0" y="462"/>
                    <a:pt x="33" y="494"/>
                    <a:pt x="72" y="494"/>
                  </a:cubicBezTo>
                  <a:cubicBezTo>
                    <a:pt x="251" y="494"/>
                    <a:pt x="251" y="494"/>
                    <a:pt x="251" y="494"/>
                  </a:cubicBezTo>
                  <a:cubicBezTo>
                    <a:pt x="291" y="494"/>
                    <a:pt x="323" y="462"/>
                    <a:pt x="323" y="423"/>
                  </a:cubicBezTo>
                  <a:cubicBezTo>
                    <a:pt x="323" y="69"/>
                    <a:pt x="323" y="69"/>
                    <a:pt x="323" y="69"/>
                  </a:cubicBezTo>
                  <a:cubicBezTo>
                    <a:pt x="323" y="29"/>
                    <a:pt x="291" y="0"/>
                    <a:pt x="251" y="0"/>
                  </a:cubicBezTo>
                  <a:moveTo>
                    <a:pt x="281" y="407"/>
                  </a:moveTo>
                  <a:cubicBezTo>
                    <a:pt x="281" y="430"/>
                    <a:pt x="268" y="448"/>
                    <a:pt x="251" y="448"/>
                  </a:cubicBezTo>
                  <a:cubicBezTo>
                    <a:pt x="72" y="448"/>
                    <a:pt x="72" y="448"/>
                    <a:pt x="72" y="448"/>
                  </a:cubicBezTo>
                  <a:cubicBezTo>
                    <a:pt x="56" y="448"/>
                    <a:pt x="42" y="430"/>
                    <a:pt x="42" y="407"/>
                  </a:cubicBezTo>
                  <a:cubicBezTo>
                    <a:pt x="42" y="80"/>
                    <a:pt x="42" y="80"/>
                    <a:pt x="42" y="80"/>
                  </a:cubicBezTo>
                  <a:cubicBezTo>
                    <a:pt x="42" y="59"/>
                    <a:pt x="56" y="41"/>
                    <a:pt x="72" y="41"/>
                  </a:cubicBezTo>
                  <a:cubicBezTo>
                    <a:pt x="251" y="41"/>
                    <a:pt x="251" y="41"/>
                    <a:pt x="251" y="41"/>
                  </a:cubicBezTo>
                  <a:cubicBezTo>
                    <a:pt x="268" y="41"/>
                    <a:pt x="281" y="59"/>
                    <a:pt x="281" y="80"/>
                  </a:cubicBezTo>
                  <a:cubicBezTo>
                    <a:pt x="281" y="407"/>
                    <a:pt x="281" y="407"/>
                    <a:pt x="281" y="407"/>
                  </a:cubicBezTo>
                  <a:cubicBezTo>
                    <a:pt x="281" y="407"/>
                    <a:pt x="281" y="407"/>
                    <a:pt x="281" y="40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4" name="Freeform 24"/>
            <p:cNvSpPr>
              <a:spLocks noEditPoints="1"/>
            </p:cNvSpPr>
            <p:nvPr/>
          </p:nvSpPr>
          <p:spPr bwMode="auto">
            <a:xfrm>
              <a:off x="4608" y="3622"/>
              <a:ext cx="1076" cy="1242"/>
            </a:xfrm>
            <a:custGeom>
              <a:avLst/>
              <a:gdLst>
                <a:gd name="T0" fmla="*/ 226 w 455"/>
                <a:gd name="T1" fmla="*/ 0 h 525"/>
                <a:gd name="T2" fmla="*/ 0 w 455"/>
                <a:gd name="T3" fmla="*/ 76 h 525"/>
                <a:gd name="T4" fmla="*/ 0 w 455"/>
                <a:gd name="T5" fmla="*/ 449 h 525"/>
                <a:gd name="T6" fmla="*/ 226 w 455"/>
                <a:gd name="T7" fmla="*/ 525 h 525"/>
                <a:gd name="T8" fmla="*/ 455 w 455"/>
                <a:gd name="T9" fmla="*/ 449 h 525"/>
                <a:gd name="T10" fmla="*/ 455 w 455"/>
                <a:gd name="T11" fmla="*/ 76 h 525"/>
                <a:gd name="T12" fmla="*/ 226 w 455"/>
                <a:gd name="T13" fmla="*/ 0 h 525"/>
                <a:gd name="T14" fmla="*/ 226 w 455"/>
                <a:gd name="T15" fmla="*/ 126 h 525"/>
                <a:gd name="T16" fmla="*/ 35 w 455"/>
                <a:gd name="T17" fmla="*/ 73 h 525"/>
                <a:gd name="T18" fmla="*/ 226 w 455"/>
                <a:gd name="T19" fmla="*/ 23 h 525"/>
                <a:gd name="T20" fmla="*/ 420 w 455"/>
                <a:gd name="T21" fmla="*/ 73 h 525"/>
                <a:gd name="T22" fmla="*/ 226 w 455"/>
                <a:gd name="T23" fmla="*/ 126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5" h="525">
                  <a:moveTo>
                    <a:pt x="226" y="0"/>
                  </a:moveTo>
                  <a:cubicBezTo>
                    <a:pt x="143" y="0"/>
                    <a:pt x="0" y="16"/>
                    <a:pt x="0" y="76"/>
                  </a:cubicBezTo>
                  <a:cubicBezTo>
                    <a:pt x="0" y="449"/>
                    <a:pt x="0" y="449"/>
                    <a:pt x="0" y="449"/>
                  </a:cubicBezTo>
                  <a:cubicBezTo>
                    <a:pt x="0" y="509"/>
                    <a:pt x="143" y="525"/>
                    <a:pt x="226" y="525"/>
                  </a:cubicBezTo>
                  <a:cubicBezTo>
                    <a:pt x="312" y="525"/>
                    <a:pt x="455" y="509"/>
                    <a:pt x="455" y="449"/>
                  </a:cubicBezTo>
                  <a:cubicBezTo>
                    <a:pt x="455" y="76"/>
                    <a:pt x="455" y="76"/>
                    <a:pt x="455" y="76"/>
                  </a:cubicBezTo>
                  <a:cubicBezTo>
                    <a:pt x="455" y="16"/>
                    <a:pt x="312" y="0"/>
                    <a:pt x="226" y="0"/>
                  </a:cubicBezTo>
                  <a:moveTo>
                    <a:pt x="226" y="126"/>
                  </a:moveTo>
                  <a:cubicBezTo>
                    <a:pt x="120" y="126"/>
                    <a:pt x="35" y="103"/>
                    <a:pt x="35" y="73"/>
                  </a:cubicBezTo>
                  <a:cubicBezTo>
                    <a:pt x="35" y="46"/>
                    <a:pt x="120" y="23"/>
                    <a:pt x="226" y="23"/>
                  </a:cubicBezTo>
                  <a:cubicBezTo>
                    <a:pt x="332" y="23"/>
                    <a:pt x="420" y="46"/>
                    <a:pt x="420" y="73"/>
                  </a:cubicBezTo>
                  <a:cubicBezTo>
                    <a:pt x="420" y="103"/>
                    <a:pt x="332" y="126"/>
                    <a:pt x="226" y="12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5" name="Freeform 25"/>
            <p:cNvSpPr>
              <a:spLocks noEditPoints="1"/>
            </p:cNvSpPr>
            <p:nvPr/>
          </p:nvSpPr>
          <p:spPr bwMode="auto">
            <a:xfrm>
              <a:off x="6050" y="1517"/>
              <a:ext cx="934" cy="1273"/>
            </a:xfrm>
            <a:custGeom>
              <a:avLst/>
              <a:gdLst>
                <a:gd name="T0" fmla="*/ 337 w 395"/>
                <a:gd name="T1" fmla="*/ 0 h 538"/>
                <a:gd name="T2" fmla="*/ 58 w 395"/>
                <a:gd name="T3" fmla="*/ 0 h 538"/>
                <a:gd name="T4" fmla="*/ 0 w 395"/>
                <a:gd name="T5" fmla="*/ 57 h 538"/>
                <a:gd name="T6" fmla="*/ 0 w 395"/>
                <a:gd name="T7" fmla="*/ 481 h 538"/>
                <a:gd name="T8" fmla="*/ 58 w 395"/>
                <a:gd name="T9" fmla="*/ 538 h 538"/>
                <a:gd name="T10" fmla="*/ 337 w 395"/>
                <a:gd name="T11" fmla="*/ 538 h 538"/>
                <a:gd name="T12" fmla="*/ 395 w 395"/>
                <a:gd name="T13" fmla="*/ 481 h 538"/>
                <a:gd name="T14" fmla="*/ 395 w 395"/>
                <a:gd name="T15" fmla="*/ 57 h 538"/>
                <a:gd name="T16" fmla="*/ 337 w 395"/>
                <a:gd name="T17" fmla="*/ 0 h 538"/>
                <a:gd name="T18" fmla="*/ 363 w 395"/>
                <a:gd name="T19" fmla="*/ 421 h 538"/>
                <a:gd name="T20" fmla="*/ 337 w 395"/>
                <a:gd name="T21" fmla="*/ 444 h 538"/>
                <a:gd name="T22" fmla="*/ 58 w 395"/>
                <a:gd name="T23" fmla="*/ 444 h 538"/>
                <a:gd name="T24" fmla="*/ 35 w 395"/>
                <a:gd name="T25" fmla="*/ 421 h 538"/>
                <a:gd name="T26" fmla="*/ 35 w 395"/>
                <a:gd name="T27" fmla="*/ 57 h 538"/>
                <a:gd name="T28" fmla="*/ 58 w 395"/>
                <a:gd name="T29" fmla="*/ 32 h 538"/>
                <a:gd name="T30" fmla="*/ 337 w 395"/>
                <a:gd name="T31" fmla="*/ 32 h 538"/>
                <a:gd name="T32" fmla="*/ 363 w 395"/>
                <a:gd name="T33" fmla="*/ 57 h 538"/>
                <a:gd name="T34" fmla="*/ 363 w 395"/>
                <a:gd name="T35" fmla="*/ 421 h 538"/>
                <a:gd name="T36" fmla="*/ 363 w 395"/>
                <a:gd name="T37" fmla="*/ 42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5" h="538">
                  <a:moveTo>
                    <a:pt x="337" y="0"/>
                  </a:moveTo>
                  <a:cubicBezTo>
                    <a:pt x="58" y="0"/>
                    <a:pt x="58" y="0"/>
                    <a:pt x="58" y="0"/>
                  </a:cubicBezTo>
                  <a:cubicBezTo>
                    <a:pt x="25" y="0"/>
                    <a:pt x="0" y="25"/>
                    <a:pt x="0" y="57"/>
                  </a:cubicBezTo>
                  <a:cubicBezTo>
                    <a:pt x="0" y="481"/>
                    <a:pt x="0" y="481"/>
                    <a:pt x="0" y="481"/>
                  </a:cubicBezTo>
                  <a:cubicBezTo>
                    <a:pt x="0" y="513"/>
                    <a:pt x="25" y="538"/>
                    <a:pt x="58" y="538"/>
                  </a:cubicBezTo>
                  <a:cubicBezTo>
                    <a:pt x="337" y="538"/>
                    <a:pt x="337" y="538"/>
                    <a:pt x="337" y="538"/>
                  </a:cubicBezTo>
                  <a:cubicBezTo>
                    <a:pt x="370" y="538"/>
                    <a:pt x="395" y="513"/>
                    <a:pt x="395" y="481"/>
                  </a:cubicBezTo>
                  <a:cubicBezTo>
                    <a:pt x="395" y="57"/>
                    <a:pt x="395" y="57"/>
                    <a:pt x="395" y="57"/>
                  </a:cubicBezTo>
                  <a:cubicBezTo>
                    <a:pt x="395" y="25"/>
                    <a:pt x="370" y="0"/>
                    <a:pt x="337" y="0"/>
                  </a:cubicBezTo>
                  <a:moveTo>
                    <a:pt x="363" y="421"/>
                  </a:moveTo>
                  <a:cubicBezTo>
                    <a:pt x="363" y="432"/>
                    <a:pt x="351" y="444"/>
                    <a:pt x="337" y="444"/>
                  </a:cubicBezTo>
                  <a:cubicBezTo>
                    <a:pt x="58" y="444"/>
                    <a:pt x="58" y="444"/>
                    <a:pt x="58" y="444"/>
                  </a:cubicBezTo>
                  <a:cubicBezTo>
                    <a:pt x="44" y="444"/>
                    <a:pt x="35" y="432"/>
                    <a:pt x="35" y="421"/>
                  </a:cubicBezTo>
                  <a:cubicBezTo>
                    <a:pt x="35" y="57"/>
                    <a:pt x="35" y="57"/>
                    <a:pt x="35" y="57"/>
                  </a:cubicBezTo>
                  <a:cubicBezTo>
                    <a:pt x="35" y="43"/>
                    <a:pt x="44" y="32"/>
                    <a:pt x="58" y="32"/>
                  </a:cubicBezTo>
                  <a:cubicBezTo>
                    <a:pt x="337" y="32"/>
                    <a:pt x="337" y="32"/>
                    <a:pt x="337" y="32"/>
                  </a:cubicBezTo>
                  <a:cubicBezTo>
                    <a:pt x="351" y="32"/>
                    <a:pt x="363" y="43"/>
                    <a:pt x="363" y="57"/>
                  </a:cubicBezTo>
                  <a:cubicBezTo>
                    <a:pt x="363" y="421"/>
                    <a:pt x="363" y="421"/>
                    <a:pt x="363" y="421"/>
                  </a:cubicBezTo>
                  <a:cubicBezTo>
                    <a:pt x="363" y="421"/>
                    <a:pt x="363" y="421"/>
                    <a:pt x="363" y="42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6" name="Oval 26"/>
            <p:cNvSpPr>
              <a:spLocks noChangeArrowheads="1"/>
            </p:cNvSpPr>
            <p:nvPr/>
          </p:nvSpPr>
          <p:spPr bwMode="auto">
            <a:xfrm>
              <a:off x="6313" y="2626"/>
              <a:ext cx="78" cy="7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7" name="Oval 27"/>
            <p:cNvSpPr>
              <a:spLocks noChangeArrowheads="1"/>
            </p:cNvSpPr>
            <p:nvPr/>
          </p:nvSpPr>
          <p:spPr bwMode="auto">
            <a:xfrm>
              <a:off x="6646" y="2626"/>
              <a:ext cx="76" cy="7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8" name="Oval 28"/>
            <p:cNvSpPr>
              <a:spLocks noChangeArrowheads="1"/>
            </p:cNvSpPr>
            <p:nvPr/>
          </p:nvSpPr>
          <p:spPr bwMode="auto">
            <a:xfrm>
              <a:off x="6481" y="2626"/>
              <a:ext cx="78" cy="76"/>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19" name="Freeform 29"/>
            <p:cNvSpPr/>
            <p:nvPr/>
          </p:nvSpPr>
          <p:spPr bwMode="auto">
            <a:xfrm>
              <a:off x="2247" y="3433"/>
              <a:ext cx="648" cy="232"/>
            </a:xfrm>
            <a:custGeom>
              <a:avLst/>
              <a:gdLst>
                <a:gd name="T0" fmla="*/ 0 w 274"/>
                <a:gd name="T1" fmla="*/ 98 h 98"/>
                <a:gd name="T2" fmla="*/ 33 w 274"/>
                <a:gd name="T3" fmla="*/ 89 h 98"/>
                <a:gd name="T4" fmla="*/ 251 w 274"/>
                <a:gd name="T5" fmla="*/ 89 h 98"/>
                <a:gd name="T6" fmla="*/ 274 w 274"/>
                <a:gd name="T7" fmla="*/ 94 h 98"/>
                <a:gd name="T8" fmla="*/ 244 w 274"/>
                <a:gd name="T9" fmla="*/ 34 h 98"/>
                <a:gd name="T10" fmla="*/ 188 w 274"/>
                <a:gd name="T11" fmla="*/ 0 h 98"/>
                <a:gd name="T12" fmla="*/ 91 w 274"/>
                <a:gd name="T13" fmla="*/ 0 h 98"/>
                <a:gd name="T14" fmla="*/ 35 w 274"/>
                <a:gd name="T15" fmla="*/ 34 h 98"/>
                <a:gd name="T16" fmla="*/ 0 w 274"/>
                <a:gd name="T17" fmla="*/ 98 h 98"/>
                <a:gd name="T18" fmla="*/ 0 w 274"/>
                <a:gd name="T1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4" h="98">
                  <a:moveTo>
                    <a:pt x="0" y="98"/>
                  </a:moveTo>
                  <a:cubicBezTo>
                    <a:pt x="10" y="91"/>
                    <a:pt x="21" y="89"/>
                    <a:pt x="33" y="89"/>
                  </a:cubicBezTo>
                  <a:cubicBezTo>
                    <a:pt x="251" y="89"/>
                    <a:pt x="251" y="89"/>
                    <a:pt x="251" y="89"/>
                  </a:cubicBezTo>
                  <a:cubicBezTo>
                    <a:pt x="258" y="89"/>
                    <a:pt x="267" y="91"/>
                    <a:pt x="274" y="94"/>
                  </a:cubicBezTo>
                  <a:cubicBezTo>
                    <a:pt x="244" y="34"/>
                    <a:pt x="244" y="34"/>
                    <a:pt x="244" y="34"/>
                  </a:cubicBezTo>
                  <a:cubicBezTo>
                    <a:pt x="235" y="16"/>
                    <a:pt x="209" y="0"/>
                    <a:pt x="188" y="0"/>
                  </a:cubicBezTo>
                  <a:cubicBezTo>
                    <a:pt x="91" y="0"/>
                    <a:pt x="91" y="0"/>
                    <a:pt x="91" y="0"/>
                  </a:cubicBezTo>
                  <a:cubicBezTo>
                    <a:pt x="70" y="0"/>
                    <a:pt x="44" y="16"/>
                    <a:pt x="35" y="34"/>
                  </a:cubicBezTo>
                  <a:cubicBezTo>
                    <a:pt x="0" y="98"/>
                    <a:pt x="0" y="98"/>
                    <a:pt x="0" y="98"/>
                  </a:cubicBezTo>
                  <a:cubicBezTo>
                    <a:pt x="0" y="98"/>
                    <a:pt x="0" y="98"/>
                    <a:pt x="0" y="9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sp>
          <p:nvSpPr>
            <p:cNvPr id="120" name="Freeform 30"/>
            <p:cNvSpPr>
              <a:spLocks noEditPoints="1"/>
            </p:cNvSpPr>
            <p:nvPr/>
          </p:nvSpPr>
          <p:spPr bwMode="auto">
            <a:xfrm>
              <a:off x="2233" y="3688"/>
              <a:ext cx="693" cy="1176"/>
            </a:xfrm>
            <a:custGeom>
              <a:avLst/>
              <a:gdLst>
                <a:gd name="T0" fmla="*/ 275 w 293"/>
                <a:gd name="T1" fmla="*/ 5 h 497"/>
                <a:gd name="T2" fmla="*/ 256 w 293"/>
                <a:gd name="T3" fmla="*/ 0 h 497"/>
                <a:gd name="T4" fmla="*/ 39 w 293"/>
                <a:gd name="T5" fmla="*/ 0 h 497"/>
                <a:gd name="T6" fmla="*/ 20 w 293"/>
                <a:gd name="T7" fmla="*/ 5 h 497"/>
                <a:gd name="T8" fmla="*/ 0 w 293"/>
                <a:gd name="T9" fmla="*/ 39 h 497"/>
                <a:gd name="T10" fmla="*/ 0 w 293"/>
                <a:gd name="T11" fmla="*/ 458 h 497"/>
                <a:gd name="T12" fmla="*/ 39 w 293"/>
                <a:gd name="T13" fmla="*/ 497 h 497"/>
                <a:gd name="T14" fmla="*/ 256 w 293"/>
                <a:gd name="T15" fmla="*/ 497 h 497"/>
                <a:gd name="T16" fmla="*/ 293 w 293"/>
                <a:gd name="T17" fmla="*/ 458 h 497"/>
                <a:gd name="T18" fmla="*/ 293 w 293"/>
                <a:gd name="T19" fmla="*/ 39 h 497"/>
                <a:gd name="T20" fmla="*/ 275 w 293"/>
                <a:gd name="T21" fmla="*/ 5 h 497"/>
                <a:gd name="T22" fmla="*/ 243 w 293"/>
                <a:gd name="T23" fmla="*/ 414 h 497"/>
                <a:gd name="T24" fmla="*/ 67 w 293"/>
                <a:gd name="T25" fmla="*/ 414 h 497"/>
                <a:gd name="T26" fmla="*/ 51 w 293"/>
                <a:gd name="T27" fmla="*/ 398 h 497"/>
                <a:gd name="T28" fmla="*/ 67 w 293"/>
                <a:gd name="T29" fmla="*/ 382 h 497"/>
                <a:gd name="T30" fmla="*/ 243 w 293"/>
                <a:gd name="T31" fmla="*/ 382 h 497"/>
                <a:gd name="T32" fmla="*/ 256 w 293"/>
                <a:gd name="T33" fmla="*/ 398 h 497"/>
                <a:gd name="T34" fmla="*/ 243 w 293"/>
                <a:gd name="T35" fmla="*/ 414 h 497"/>
                <a:gd name="T36" fmla="*/ 243 w 293"/>
                <a:gd name="T37" fmla="*/ 343 h 497"/>
                <a:gd name="T38" fmla="*/ 67 w 293"/>
                <a:gd name="T39" fmla="*/ 343 h 497"/>
                <a:gd name="T40" fmla="*/ 51 w 293"/>
                <a:gd name="T41" fmla="*/ 329 h 497"/>
                <a:gd name="T42" fmla="*/ 67 w 293"/>
                <a:gd name="T43" fmla="*/ 313 h 497"/>
                <a:gd name="T44" fmla="*/ 243 w 293"/>
                <a:gd name="T45" fmla="*/ 313 h 497"/>
                <a:gd name="T46" fmla="*/ 256 w 293"/>
                <a:gd name="T47" fmla="*/ 329 h 497"/>
                <a:gd name="T48" fmla="*/ 243 w 293"/>
                <a:gd name="T49" fmla="*/ 343 h 497"/>
                <a:gd name="T50" fmla="*/ 243 w 293"/>
                <a:gd name="T51" fmla="*/ 274 h 497"/>
                <a:gd name="T52" fmla="*/ 67 w 293"/>
                <a:gd name="T53" fmla="*/ 274 h 497"/>
                <a:gd name="T54" fmla="*/ 51 w 293"/>
                <a:gd name="T55" fmla="*/ 258 h 497"/>
                <a:gd name="T56" fmla="*/ 67 w 293"/>
                <a:gd name="T57" fmla="*/ 244 h 497"/>
                <a:gd name="T58" fmla="*/ 243 w 293"/>
                <a:gd name="T59" fmla="*/ 244 h 497"/>
                <a:gd name="T60" fmla="*/ 256 w 293"/>
                <a:gd name="T61" fmla="*/ 258 h 497"/>
                <a:gd name="T62" fmla="*/ 243 w 293"/>
                <a:gd name="T63" fmla="*/ 274 h 497"/>
                <a:gd name="T64" fmla="*/ 236 w 293"/>
                <a:gd name="T65" fmla="*/ 92 h 497"/>
                <a:gd name="T66" fmla="*/ 215 w 293"/>
                <a:gd name="T67" fmla="*/ 72 h 497"/>
                <a:gd name="T68" fmla="*/ 236 w 293"/>
                <a:gd name="T69" fmla="*/ 51 h 497"/>
                <a:gd name="T70" fmla="*/ 256 w 293"/>
                <a:gd name="T71" fmla="*/ 72 h 497"/>
                <a:gd name="T72" fmla="*/ 236 w 293"/>
                <a:gd name="T73" fmla="*/ 92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3" h="497">
                  <a:moveTo>
                    <a:pt x="275" y="5"/>
                  </a:moveTo>
                  <a:cubicBezTo>
                    <a:pt x="268" y="3"/>
                    <a:pt x="263" y="0"/>
                    <a:pt x="256" y="0"/>
                  </a:cubicBezTo>
                  <a:cubicBezTo>
                    <a:pt x="39" y="0"/>
                    <a:pt x="39" y="0"/>
                    <a:pt x="39" y="0"/>
                  </a:cubicBezTo>
                  <a:cubicBezTo>
                    <a:pt x="32" y="0"/>
                    <a:pt x="25" y="3"/>
                    <a:pt x="20" y="5"/>
                  </a:cubicBezTo>
                  <a:cubicBezTo>
                    <a:pt x="9" y="12"/>
                    <a:pt x="0" y="23"/>
                    <a:pt x="0" y="39"/>
                  </a:cubicBezTo>
                  <a:cubicBezTo>
                    <a:pt x="0" y="458"/>
                    <a:pt x="0" y="458"/>
                    <a:pt x="0" y="458"/>
                  </a:cubicBezTo>
                  <a:cubicBezTo>
                    <a:pt x="0" y="478"/>
                    <a:pt x="18" y="497"/>
                    <a:pt x="39" y="497"/>
                  </a:cubicBezTo>
                  <a:cubicBezTo>
                    <a:pt x="256" y="497"/>
                    <a:pt x="256" y="497"/>
                    <a:pt x="256" y="497"/>
                  </a:cubicBezTo>
                  <a:cubicBezTo>
                    <a:pt x="277" y="497"/>
                    <a:pt x="293" y="478"/>
                    <a:pt x="293" y="458"/>
                  </a:cubicBezTo>
                  <a:cubicBezTo>
                    <a:pt x="293" y="39"/>
                    <a:pt x="293" y="39"/>
                    <a:pt x="293" y="39"/>
                  </a:cubicBezTo>
                  <a:cubicBezTo>
                    <a:pt x="293" y="23"/>
                    <a:pt x="287" y="12"/>
                    <a:pt x="275" y="5"/>
                  </a:cubicBezTo>
                  <a:moveTo>
                    <a:pt x="243" y="414"/>
                  </a:moveTo>
                  <a:cubicBezTo>
                    <a:pt x="67" y="414"/>
                    <a:pt x="67" y="414"/>
                    <a:pt x="67" y="414"/>
                  </a:cubicBezTo>
                  <a:cubicBezTo>
                    <a:pt x="57" y="414"/>
                    <a:pt x="51" y="407"/>
                    <a:pt x="51" y="398"/>
                  </a:cubicBezTo>
                  <a:cubicBezTo>
                    <a:pt x="51" y="389"/>
                    <a:pt x="57" y="382"/>
                    <a:pt x="67" y="382"/>
                  </a:cubicBezTo>
                  <a:cubicBezTo>
                    <a:pt x="243" y="382"/>
                    <a:pt x="243" y="382"/>
                    <a:pt x="243" y="382"/>
                  </a:cubicBezTo>
                  <a:cubicBezTo>
                    <a:pt x="249" y="382"/>
                    <a:pt x="256" y="389"/>
                    <a:pt x="256" y="398"/>
                  </a:cubicBezTo>
                  <a:cubicBezTo>
                    <a:pt x="256" y="407"/>
                    <a:pt x="249" y="414"/>
                    <a:pt x="243" y="414"/>
                  </a:cubicBezTo>
                  <a:moveTo>
                    <a:pt x="243" y="343"/>
                  </a:moveTo>
                  <a:cubicBezTo>
                    <a:pt x="67" y="343"/>
                    <a:pt x="67" y="343"/>
                    <a:pt x="67" y="343"/>
                  </a:cubicBezTo>
                  <a:cubicBezTo>
                    <a:pt x="57" y="343"/>
                    <a:pt x="51" y="336"/>
                    <a:pt x="51" y="329"/>
                  </a:cubicBezTo>
                  <a:cubicBezTo>
                    <a:pt x="51" y="320"/>
                    <a:pt x="57" y="313"/>
                    <a:pt x="67" y="313"/>
                  </a:cubicBezTo>
                  <a:cubicBezTo>
                    <a:pt x="243" y="313"/>
                    <a:pt x="243" y="313"/>
                    <a:pt x="243" y="313"/>
                  </a:cubicBezTo>
                  <a:cubicBezTo>
                    <a:pt x="249" y="313"/>
                    <a:pt x="256" y="320"/>
                    <a:pt x="256" y="329"/>
                  </a:cubicBezTo>
                  <a:cubicBezTo>
                    <a:pt x="256" y="336"/>
                    <a:pt x="249" y="343"/>
                    <a:pt x="243" y="343"/>
                  </a:cubicBezTo>
                  <a:moveTo>
                    <a:pt x="243" y="274"/>
                  </a:moveTo>
                  <a:cubicBezTo>
                    <a:pt x="67" y="274"/>
                    <a:pt x="67" y="274"/>
                    <a:pt x="67" y="274"/>
                  </a:cubicBezTo>
                  <a:cubicBezTo>
                    <a:pt x="57" y="274"/>
                    <a:pt x="51" y="267"/>
                    <a:pt x="51" y="258"/>
                  </a:cubicBezTo>
                  <a:cubicBezTo>
                    <a:pt x="51" y="251"/>
                    <a:pt x="57" y="244"/>
                    <a:pt x="67" y="244"/>
                  </a:cubicBezTo>
                  <a:cubicBezTo>
                    <a:pt x="243" y="244"/>
                    <a:pt x="243" y="244"/>
                    <a:pt x="243" y="244"/>
                  </a:cubicBezTo>
                  <a:cubicBezTo>
                    <a:pt x="249" y="244"/>
                    <a:pt x="256" y="251"/>
                    <a:pt x="256" y="258"/>
                  </a:cubicBezTo>
                  <a:cubicBezTo>
                    <a:pt x="256" y="267"/>
                    <a:pt x="249" y="274"/>
                    <a:pt x="243" y="274"/>
                  </a:cubicBezTo>
                  <a:moveTo>
                    <a:pt x="236" y="92"/>
                  </a:moveTo>
                  <a:cubicBezTo>
                    <a:pt x="224" y="92"/>
                    <a:pt x="215" y="83"/>
                    <a:pt x="215" y="72"/>
                  </a:cubicBezTo>
                  <a:cubicBezTo>
                    <a:pt x="215" y="60"/>
                    <a:pt x="224" y="51"/>
                    <a:pt x="236" y="51"/>
                  </a:cubicBezTo>
                  <a:cubicBezTo>
                    <a:pt x="247" y="51"/>
                    <a:pt x="256" y="60"/>
                    <a:pt x="256" y="72"/>
                  </a:cubicBezTo>
                  <a:cubicBezTo>
                    <a:pt x="256" y="83"/>
                    <a:pt x="247" y="92"/>
                    <a:pt x="236" y="92"/>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3282" tIns="46641" rIns="93282" bIns="46641" numCol="1" anchor="t" anchorCtr="0" compatLnSpc="1"/>
            <a:lstStyle/>
            <a:p>
              <a:pPr defTabSz="932779">
                <a:defRPr/>
              </a:pPr>
              <a:endParaRPr lang="en-US" sz="1836" kern="0">
                <a:solidFill>
                  <a:srgbClr val="FFFFFF"/>
                </a:solidFill>
              </a:endParaRPr>
            </a:p>
          </p:txBody>
        </p:sp>
      </p:grpSp>
      <p:sp>
        <p:nvSpPr>
          <p:cNvPr id="121" name="Freeform 49"/>
          <p:cNvSpPr>
            <a:spLocks noEditPoints="1"/>
          </p:cNvSpPr>
          <p:nvPr/>
        </p:nvSpPr>
        <p:spPr bwMode="auto">
          <a:xfrm>
            <a:off x="7637752" y="1954798"/>
            <a:ext cx="400464" cy="619193"/>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rgbClr val="FFFFFF"/>
          </a:solidFill>
          <a:ln>
            <a:solidFill>
              <a:srgbClr val="FFFFFF"/>
            </a:solidFill>
          </a:ln>
        </p:spPr>
        <p:txBody>
          <a:bodyPr vert="horz" wrap="square" lIns="93282" tIns="46641" rIns="93282" bIns="46641" numCol="1" anchor="t" anchorCtr="0" compatLnSpc="1"/>
          <a:lstStyle>
            <a:defPPr>
              <a:defRPr lang="en-US"/>
            </a:defPPr>
            <a:lvl1pPr marL="0" algn="l" defTabSz="932180" rtl="0" eaLnBrk="1" latinLnBrk="0" hangingPunct="1">
              <a:defRPr sz="1800" kern="1200">
                <a:solidFill>
                  <a:schemeClr val="tx1"/>
                </a:solidFill>
                <a:latin typeface="+mn-lt"/>
                <a:ea typeface="+mn-ea"/>
                <a:cs typeface="+mn-cs"/>
              </a:defRPr>
            </a:lvl1pPr>
            <a:lvl2pPr marL="466090" algn="l" defTabSz="932180" rtl="0" eaLnBrk="1" latinLnBrk="0" hangingPunct="1">
              <a:defRPr sz="1800" kern="1200">
                <a:solidFill>
                  <a:schemeClr val="tx1"/>
                </a:solidFill>
                <a:latin typeface="+mn-lt"/>
                <a:ea typeface="+mn-ea"/>
                <a:cs typeface="+mn-cs"/>
              </a:defRPr>
            </a:lvl2pPr>
            <a:lvl3pPr marL="932815" algn="l" defTabSz="932180" rtl="0" eaLnBrk="1" latinLnBrk="0" hangingPunct="1">
              <a:defRPr sz="1800" kern="1200">
                <a:solidFill>
                  <a:schemeClr val="tx1"/>
                </a:solidFill>
                <a:latin typeface="+mn-lt"/>
                <a:ea typeface="+mn-ea"/>
                <a:cs typeface="+mn-cs"/>
              </a:defRPr>
            </a:lvl3pPr>
            <a:lvl4pPr marL="1398905" algn="l" defTabSz="932180" rtl="0" eaLnBrk="1" latinLnBrk="0" hangingPunct="1">
              <a:defRPr sz="1800" kern="1200">
                <a:solidFill>
                  <a:schemeClr val="tx1"/>
                </a:solidFill>
                <a:latin typeface="+mn-lt"/>
                <a:ea typeface="+mn-ea"/>
                <a:cs typeface="+mn-cs"/>
              </a:defRPr>
            </a:lvl4pPr>
            <a:lvl5pPr marL="1864995" algn="l" defTabSz="932180" rtl="0" eaLnBrk="1" latinLnBrk="0" hangingPunct="1">
              <a:defRPr sz="1800" kern="1200">
                <a:solidFill>
                  <a:schemeClr val="tx1"/>
                </a:solidFill>
                <a:latin typeface="+mn-lt"/>
                <a:ea typeface="+mn-ea"/>
                <a:cs typeface="+mn-cs"/>
              </a:defRPr>
            </a:lvl5pPr>
            <a:lvl6pPr marL="2331085" algn="l" defTabSz="932180" rtl="0" eaLnBrk="1" latinLnBrk="0" hangingPunct="1">
              <a:defRPr sz="1800" kern="1200">
                <a:solidFill>
                  <a:schemeClr val="tx1"/>
                </a:solidFill>
                <a:latin typeface="+mn-lt"/>
                <a:ea typeface="+mn-ea"/>
                <a:cs typeface="+mn-cs"/>
              </a:defRPr>
            </a:lvl6pPr>
            <a:lvl7pPr marL="2797810" algn="l" defTabSz="932180" rtl="0" eaLnBrk="1" latinLnBrk="0" hangingPunct="1">
              <a:defRPr sz="1800" kern="1200">
                <a:solidFill>
                  <a:schemeClr val="tx1"/>
                </a:solidFill>
                <a:latin typeface="+mn-lt"/>
                <a:ea typeface="+mn-ea"/>
                <a:cs typeface="+mn-cs"/>
              </a:defRPr>
            </a:lvl7pPr>
            <a:lvl8pPr marL="3263900" algn="l" defTabSz="932180" rtl="0" eaLnBrk="1" latinLnBrk="0" hangingPunct="1">
              <a:defRPr sz="1800" kern="1200">
                <a:solidFill>
                  <a:schemeClr val="tx1"/>
                </a:solidFill>
                <a:latin typeface="+mn-lt"/>
                <a:ea typeface="+mn-ea"/>
                <a:cs typeface="+mn-cs"/>
              </a:defRPr>
            </a:lvl8pPr>
            <a:lvl9pPr marL="3729990" algn="l" defTabSz="932180" rtl="0" eaLnBrk="1" latinLnBrk="0" hangingPunct="1">
              <a:defRPr sz="1800" kern="1200">
                <a:solidFill>
                  <a:schemeClr val="tx1"/>
                </a:solidFill>
                <a:latin typeface="+mn-lt"/>
                <a:ea typeface="+mn-ea"/>
                <a:cs typeface="+mn-cs"/>
              </a:defRPr>
            </a:lvl9pPr>
          </a:lstStyle>
          <a:p>
            <a:pPr>
              <a:defRPr/>
            </a:pPr>
            <a:endParaRPr lang="en-US" sz="1836" b="1">
              <a:solidFill>
                <a:srgbClr val="505050"/>
              </a:solidFill>
              <a:latin typeface="Segoe UI" panose="020B0502040204020203"/>
            </a:endParaRPr>
          </a:p>
        </p:txBody>
      </p:sp>
      <p:grpSp>
        <p:nvGrpSpPr>
          <p:cNvPr id="122" name="Group 46"/>
          <p:cNvGrpSpPr/>
          <p:nvPr/>
        </p:nvGrpSpPr>
        <p:grpSpPr>
          <a:xfrm>
            <a:off x="2237974" y="6012656"/>
            <a:ext cx="7962114" cy="828000"/>
            <a:chOff x="190522" y="1608410"/>
            <a:chExt cx="1538017" cy="4114166"/>
          </a:xfrm>
        </p:grpSpPr>
        <p:sp>
          <p:nvSpPr>
            <p:cNvPr id="123" name="Rectangle 169"/>
            <p:cNvSpPr/>
            <p:nvPr/>
          </p:nvSpPr>
          <p:spPr bwMode="auto">
            <a:xfrm>
              <a:off x="190522" y="1608410"/>
              <a:ext cx="1538017" cy="4114166"/>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36" tIns="149229" rIns="186536" bIns="149229" numCol="1" spcCol="0" rtlCol="0" fromWordArt="0" anchor="ctr" anchorCtr="0" forceAA="0" compatLnSpc="1">
              <a:noAutofit/>
            </a:bodyPr>
            <a:lstStyle/>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a:p>
              <a:pPr algn="ctr" defTabSz="950917">
                <a:lnSpc>
                  <a:spcPct val="90000"/>
                </a:lnSpc>
              </a:pPr>
              <a:endParaRPr lang="en-US" sz="1632" dirty="0">
                <a:solidFill>
                  <a:schemeClr val="tx1"/>
                </a:solidFill>
                <a:ea typeface="Segoe UI" panose="020B0502040204020203" pitchFamily="34" charset="0"/>
                <a:cs typeface="Segoe UI" panose="020B0502040204020203" pitchFamily="34" charset="0"/>
              </a:endParaRPr>
            </a:p>
          </p:txBody>
        </p:sp>
        <p:sp>
          <p:nvSpPr>
            <p:cNvPr id="124" name="Rectangle 2"/>
            <p:cNvSpPr/>
            <p:nvPr/>
          </p:nvSpPr>
          <p:spPr bwMode="auto">
            <a:xfrm>
              <a:off x="222133" y="1877182"/>
              <a:ext cx="1482230" cy="3577536"/>
            </a:xfrm>
            <a:prstGeom prst="rect">
              <a:avLst/>
            </a:prstGeom>
            <a:solidFill>
              <a:srgbClr val="0099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8" tIns="46634" rIns="93268" bIns="46634" numCol="1" spcCol="0" rtlCol="0" fromWordArt="0" anchor="ctr" anchorCtr="0" forceAA="0" compatLnSpc="1">
              <a:noAutofit/>
            </a:bodyPr>
            <a:lstStyle/>
            <a:p>
              <a:pPr defTabSz="950917">
                <a:lnSpc>
                  <a:spcPct val="90000"/>
                </a:lnSpc>
              </a:pPr>
              <a:r>
                <a:rPr lang="zh-CN" altLang="en-US" sz="2448" b="1" dirty="0" smtClean="0">
                  <a:solidFill>
                    <a:schemeClr val="bg1"/>
                  </a:solidFill>
                  <a:latin typeface="微软雅黑" panose="020B0503020204020204" charset="-122"/>
                  <a:ea typeface="微软雅黑" panose="020B0503020204020204" charset="-122"/>
                  <a:cs typeface="Segoe UI" panose="020B0502040204020203" pitchFamily="34" charset="0"/>
                </a:rPr>
                <a:t>创新应用新一代信息技术，打造园区智慧运营平台！</a:t>
              </a:r>
              <a:endParaRPr lang="en-US" sz="2448" b="1" dirty="0">
                <a:solidFill>
                  <a:schemeClr val="bg1"/>
                </a:solidFill>
                <a:latin typeface="微软雅黑" panose="020B0503020204020204" charset="-122"/>
                <a:ea typeface="微软雅黑" panose="020B0503020204020204" charset="-122"/>
                <a:cs typeface="Segoe UI" panose="020B0502040204020203" pitchFamily="34" charset="0"/>
              </a:endParaRPr>
            </a:p>
          </p:txBody>
        </p:sp>
      </p:grpSp>
    </p:spTree>
    <p:extLst>
      <p:ext uri="{BB962C8B-B14F-4D97-AF65-F5344CB8AC3E}">
        <p14:creationId xmlns:p14="http://schemas.microsoft.com/office/powerpoint/2010/main" val="3057410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2">
            <a:extLst>
              <a:ext uri="{FF2B5EF4-FFF2-40B4-BE49-F238E27FC236}">
                <a16:creationId xmlns:a16="http://schemas.microsoft.com/office/drawing/2014/main" xmlns="" id="{B9AEEC41-45BE-438D-AF00-EFAF5F5788F2}"/>
              </a:ext>
            </a:extLst>
          </p:cNvPr>
          <p:cNvSpPr>
            <a:spLocks noGrp="1"/>
          </p:cNvSpPr>
          <p:nvPr>
            <p:ph type="title"/>
          </p:nvPr>
        </p:nvSpPr>
        <p:spPr>
          <a:xfrm>
            <a:off x="279031" y="0"/>
            <a:ext cx="11880000" cy="828000"/>
          </a:xfrm>
        </p:spPr>
        <p:txBody>
          <a:bodyPr>
            <a:normAutofit/>
          </a:bodyPr>
          <a:lstStyle/>
          <a:p>
            <a:r>
              <a:rPr lang="zh-CN" altLang="en-US" dirty="0" smtClean="0"/>
              <a:t>智慧园区建设流程</a:t>
            </a:r>
            <a:endParaRPr lang="zh-CN" altLang="en-US" dirty="0"/>
          </a:p>
        </p:txBody>
      </p:sp>
      <p:grpSp>
        <p:nvGrpSpPr>
          <p:cNvPr id="4" name="组合 3"/>
          <p:cNvGrpSpPr/>
          <p:nvPr/>
        </p:nvGrpSpPr>
        <p:grpSpPr>
          <a:xfrm>
            <a:off x="282631" y="831056"/>
            <a:ext cx="11880000" cy="6165057"/>
            <a:chOff x="282631" y="831056"/>
            <a:chExt cx="11880000" cy="6165057"/>
          </a:xfrm>
        </p:grpSpPr>
        <p:grpSp>
          <p:nvGrpSpPr>
            <p:cNvPr id="125" name="组 1"/>
            <p:cNvGrpSpPr/>
            <p:nvPr/>
          </p:nvGrpSpPr>
          <p:grpSpPr>
            <a:xfrm>
              <a:off x="282631" y="1562414"/>
              <a:ext cx="11880000" cy="5136042"/>
              <a:chOff x="273263" y="1307482"/>
              <a:chExt cx="11645472" cy="5034649"/>
            </a:xfrm>
          </p:grpSpPr>
          <p:sp>
            <p:nvSpPr>
              <p:cNvPr id="126" name="AutoShape 13"/>
              <p:cNvSpPr>
                <a:spLocks noChangeArrowheads="1"/>
              </p:cNvSpPr>
              <p:nvPr/>
            </p:nvSpPr>
            <p:spPr bwMode="auto">
              <a:xfrm>
                <a:off x="9811900" y="2280895"/>
                <a:ext cx="2078026" cy="442269"/>
              </a:xfrm>
              <a:prstGeom prst="homePlate">
                <a:avLst>
                  <a:gd name="adj" fmla="val 26668"/>
                </a:avLst>
              </a:prstGeom>
              <a:solidFill>
                <a:schemeClr val="bg2">
                  <a:lumMod val="75000"/>
                  <a:alpha val="46000"/>
                </a:schemeClr>
              </a:solidFill>
              <a:ln w="19050" algn="ctr">
                <a:solidFill>
                  <a:schemeClr val="bg1"/>
                </a:solidFill>
                <a:miter lim="800000"/>
              </a:ln>
              <a:effectLst/>
            </p:spPr>
            <p:txBody>
              <a:bodyPr lIns="98662" tIns="49330" rIns="98662" bIns="49330" anchor="ctr" anchorCtr="1"/>
              <a:lstStyle/>
              <a:p>
                <a:pPr defTabSz="950100" fontAlgn="base">
                  <a:spcBef>
                    <a:spcPct val="0"/>
                  </a:spcBef>
                  <a:spcAft>
                    <a:spcPct val="0"/>
                  </a:spcAft>
                  <a:buClr>
                    <a:srgbClr val="CC9900"/>
                  </a:buClr>
                </a:pPr>
                <a:r>
                  <a:rPr lang="zh-CN" altLang="en-US" sz="2176" b="1" dirty="0">
                    <a:solidFill>
                      <a:schemeClr val="bg2">
                        <a:lumMod val="25000"/>
                      </a:schemeClr>
                    </a:solidFill>
                    <a:latin typeface="Arial" panose="020B0604020202020204" pitchFamily="34" charset="0"/>
                    <a:ea typeface="微软雅黑" panose="020B0503020204020204" pitchFamily="34" charset="-122"/>
                  </a:rPr>
                  <a:t>优化</a:t>
                </a:r>
              </a:p>
            </p:txBody>
          </p:sp>
          <p:sp>
            <p:nvSpPr>
              <p:cNvPr id="127" name="AutoShape 13"/>
              <p:cNvSpPr>
                <a:spLocks noChangeArrowheads="1"/>
              </p:cNvSpPr>
              <p:nvPr/>
            </p:nvSpPr>
            <p:spPr bwMode="auto">
              <a:xfrm>
                <a:off x="7915860" y="2280895"/>
                <a:ext cx="2080142" cy="442269"/>
              </a:xfrm>
              <a:prstGeom prst="homePlate">
                <a:avLst>
                  <a:gd name="adj" fmla="val 26668"/>
                </a:avLst>
              </a:prstGeom>
              <a:solidFill>
                <a:schemeClr val="bg2">
                  <a:lumMod val="75000"/>
                  <a:alpha val="46000"/>
                </a:schemeClr>
              </a:solidFill>
              <a:ln w="19050" algn="ctr">
                <a:solidFill>
                  <a:schemeClr val="bg1"/>
                </a:solidFill>
                <a:miter lim="800000"/>
              </a:ln>
              <a:effectLst/>
            </p:spPr>
            <p:txBody>
              <a:bodyPr lIns="98662" tIns="49330" rIns="98662" bIns="49330" anchor="ctr" anchorCtr="1"/>
              <a:lstStyle/>
              <a:p>
                <a:pPr defTabSz="950100" fontAlgn="base">
                  <a:spcBef>
                    <a:spcPct val="0"/>
                  </a:spcBef>
                  <a:spcAft>
                    <a:spcPct val="0"/>
                  </a:spcAft>
                  <a:buClr>
                    <a:srgbClr val="CC9900"/>
                  </a:buClr>
                </a:pPr>
                <a:r>
                  <a:rPr lang="zh-CN" altLang="en-US" sz="2176" b="1" dirty="0">
                    <a:solidFill>
                      <a:schemeClr val="bg2">
                        <a:lumMod val="25000"/>
                      </a:schemeClr>
                    </a:solidFill>
                    <a:latin typeface="Arial" panose="020B0604020202020204" pitchFamily="34" charset="0"/>
                    <a:ea typeface="微软雅黑" panose="020B0503020204020204" pitchFamily="34" charset="-122"/>
                  </a:rPr>
                  <a:t>运营</a:t>
                </a:r>
              </a:p>
            </p:txBody>
          </p:sp>
          <p:sp>
            <p:nvSpPr>
              <p:cNvPr id="128" name="AutoShape 13"/>
              <p:cNvSpPr>
                <a:spLocks noChangeArrowheads="1"/>
              </p:cNvSpPr>
              <p:nvPr/>
            </p:nvSpPr>
            <p:spPr bwMode="auto">
              <a:xfrm>
                <a:off x="6021937" y="2280895"/>
                <a:ext cx="2078026" cy="442269"/>
              </a:xfrm>
              <a:prstGeom prst="homePlate">
                <a:avLst>
                  <a:gd name="adj" fmla="val 26668"/>
                </a:avLst>
              </a:prstGeom>
              <a:solidFill>
                <a:schemeClr val="bg2">
                  <a:lumMod val="75000"/>
                  <a:alpha val="46000"/>
                </a:schemeClr>
              </a:solidFill>
              <a:ln w="19050" algn="ctr">
                <a:solidFill>
                  <a:schemeClr val="bg1"/>
                </a:solidFill>
                <a:miter lim="800000"/>
              </a:ln>
              <a:effectLst/>
            </p:spPr>
            <p:txBody>
              <a:bodyPr lIns="98662" tIns="49330" rIns="98662" bIns="49330" anchor="ctr" anchorCtr="1"/>
              <a:lstStyle/>
              <a:p>
                <a:pPr defTabSz="950100" fontAlgn="base">
                  <a:spcBef>
                    <a:spcPct val="0"/>
                  </a:spcBef>
                  <a:spcAft>
                    <a:spcPct val="0"/>
                  </a:spcAft>
                  <a:buClr>
                    <a:srgbClr val="CC9900"/>
                  </a:buClr>
                </a:pPr>
                <a:r>
                  <a:rPr lang="zh-CN" altLang="en-US" sz="2176" b="1">
                    <a:solidFill>
                      <a:schemeClr val="bg2">
                        <a:lumMod val="25000"/>
                      </a:schemeClr>
                    </a:solidFill>
                    <a:latin typeface="Arial" panose="020B0604020202020204" pitchFamily="34" charset="0"/>
                    <a:ea typeface="微软雅黑" panose="020B0503020204020204" pitchFamily="34" charset="-122"/>
                  </a:rPr>
                  <a:t>实施</a:t>
                </a:r>
              </a:p>
            </p:txBody>
          </p:sp>
          <p:sp>
            <p:nvSpPr>
              <p:cNvPr id="129" name="AutoShape 13"/>
              <p:cNvSpPr>
                <a:spLocks noChangeArrowheads="1"/>
              </p:cNvSpPr>
              <p:nvPr/>
            </p:nvSpPr>
            <p:spPr bwMode="auto">
              <a:xfrm>
                <a:off x="4125898" y="2280895"/>
                <a:ext cx="2078026" cy="442269"/>
              </a:xfrm>
              <a:prstGeom prst="homePlate">
                <a:avLst>
                  <a:gd name="adj" fmla="val 26668"/>
                </a:avLst>
              </a:prstGeom>
              <a:solidFill>
                <a:schemeClr val="bg2">
                  <a:lumMod val="75000"/>
                  <a:alpha val="46000"/>
                </a:schemeClr>
              </a:solidFill>
              <a:ln w="19050" algn="ctr">
                <a:solidFill>
                  <a:schemeClr val="bg1"/>
                </a:solidFill>
                <a:miter lim="800000"/>
              </a:ln>
              <a:effectLst/>
            </p:spPr>
            <p:txBody>
              <a:bodyPr lIns="98662" tIns="49330" rIns="98662" bIns="49330" anchor="ctr" anchorCtr="1"/>
              <a:lstStyle/>
              <a:p>
                <a:pPr defTabSz="950100" fontAlgn="base">
                  <a:spcBef>
                    <a:spcPct val="0"/>
                  </a:spcBef>
                  <a:spcAft>
                    <a:spcPct val="0"/>
                  </a:spcAft>
                  <a:buClr>
                    <a:srgbClr val="CC9900"/>
                  </a:buClr>
                </a:pPr>
                <a:r>
                  <a:rPr lang="zh-CN" altLang="en-US" sz="2176" b="1" dirty="0">
                    <a:solidFill>
                      <a:schemeClr val="bg2">
                        <a:lumMod val="25000"/>
                      </a:schemeClr>
                    </a:solidFill>
                    <a:latin typeface="Arial" panose="020B0604020202020204" pitchFamily="34" charset="0"/>
                    <a:ea typeface="微软雅黑" panose="020B0503020204020204" pitchFamily="34" charset="-122"/>
                  </a:rPr>
                  <a:t>设计</a:t>
                </a:r>
              </a:p>
            </p:txBody>
          </p:sp>
          <p:sp>
            <p:nvSpPr>
              <p:cNvPr id="130" name="AutoShape 13"/>
              <p:cNvSpPr>
                <a:spLocks noChangeArrowheads="1"/>
              </p:cNvSpPr>
              <p:nvPr/>
            </p:nvSpPr>
            <p:spPr bwMode="auto">
              <a:xfrm>
                <a:off x="2231974" y="2280895"/>
                <a:ext cx="2078026" cy="442269"/>
              </a:xfrm>
              <a:prstGeom prst="homePlate">
                <a:avLst>
                  <a:gd name="adj" fmla="val 26668"/>
                </a:avLst>
              </a:prstGeom>
              <a:solidFill>
                <a:schemeClr val="bg2">
                  <a:lumMod val="75000"/>
                  <a:alpha val="46000"/>
                </a:schemeClr>
              </a:solidFill>
              <a:ln w="19050" algn="ctr">
                <a:solidFill>
                  <a:schemeClr val="bg1"/>
                </a:solidFill>
                <a:miter lim="800000"/>
              </a:ln>
              <a:effectLst/>
            </p:spPr>
            <p:txBody>
              <a:bodyPr lIns="98662" tIns="49330" rIns="98662" bIns="49330" anchor="ctr" anchorCtr="1"/>
              <a:lstStyle/>
              <a:p>
                <a:pPr defTabSz="950100" fontAlgn="base">
                  <a:spcBef>
                    <a:spcPct val="0"/>
                  </a:spcBef>
                  <a:spcAft>
                    <a:spcPct val="0"/>
                  </a:spcAft>
                  <a:buClr>
                    <a:srgbClr val="CC9900"/>
                  </a:buClr>
                </a:pPr>
                <a:r>
                  <a:rPr lang="zh-CN" altLang="en-US" sz="2176" b="1">
                    <a:solidFill>
                      <a:schemeClr val="bg2">
                        <a:lumMod val="25000"/>
                      </a:schemeClr>
                    </a:solidFill>
                    <a:latin typeface="Arial" panose="020B0604020202020204" pitchFamily="34" charset="0"/>
                    <a:ea typeface="微软雅黑" panose="020B0503020204020204" pitchFamily="34" charset="-122"/>
                  </a:rPr>
                  <a:t>规划</a:t>
                </a:r>
              </a:p>
            </p:txBody>
          </p:sp>
          <p:sp>
            <p:nvSpPr>
              <p:cNvPr id="131" name="AutoShape 13"/>
              <p:cNvSpPr>
                <a:spLocks noChangeArrowheads="1"/>
              </p:cNvSpPr>
              <p:nvPr/>
            </p:nvSpPr>
            <p:spPr bwMode="auto">
              <a:xfrm>
                <a:off x="335935" y="2280895"/>
                <a:ext cx="2078026" cy="442269"/>
              </a:xfrm>
              <a:prstGeom prst="homePlate">
                <a:avLst>
                  <a:gd name="adj" fmla="val 26668"/>
                </a:avLst>
              </a:prstGeom>
              <a:solidFill>
                <a:schemeClr val="bg2">
                  <a:lumMod val="75000"/>
                  <a:alpha val="46000"/>
                </a:schemeClr>
              </a:solidFill>
              <a:ln w="19050" algn="ctr">
                <a:solidFill>
                  <a:schemeClr val="bg1"/>
                </a:solidFill>
                <a:miter lim="800000"/>
              </a:ln>
              <a:effectLst/>
            </p:spPr>
            <p:txBody>
              <a:bodyPr lIns="98662" tIns="49330" rIns="98662" bIns="49330" anchor="ctr" anchorCtr="1"/>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Font typeface="Wingdings" panose="05000000000000000000" pitchFamily="2" charset="2"/>
                  <a:buNone/>
                </a:pPr>
                <a:r>
                  <a:rPr lang="zh-CN" altLang="en-US" sz="2176" dirty="0">
                    <a:solidFill>
                      <a:schemeClr val="bg2">
                        <a:lumMod val="25000"/>
                      </a:schemeClr>
                    </a:solidFill>
                    <a:ea typeface="微软雅黑" panose="020B0503020204020204" pitchFamily="34" charset="-122"/>
                  </a:rPr>
                  <a:t>咨询</a:t>
                </a:r>
              </a:p>
            </p:txBody>
          </p:sp>
          <p:sp>
            <p:nvSpPr>
              <p:cNvPr id="132" name="AutoShape 2"/>
              <p:cNvSpPr>
                <a:spLocks noChangeArrowheads="1"/>
              </p:cNvSpPr>
              <p:nvPr/>
            </p:nvSpPr>
            <p:spPr bwMode="auto">
              <a:xfrm>
                <a:off x="5425192" y="1891530"/>
                <a:ext cx="1354314" cy="423223"/>
              </a:xfrm>
              <a:prstGeom prst="downArrow">
                <a:avLst>
                  <a:gd name="adj1" fmla="val 52602"/>
                  <a:gd name="adj2" fmla="val 50000"/>
                </a:avLst>
              </a:prstGeom>
              <a:solidFill>
                <a:schemeClr val="bg2">
                  <a:lumMod val="75000"/>
                  <a:alpha val="35000"/>
                </a:schemeClr>
              </a:solidFill>
              <a:ln w="9525">
                <a:noFill/>
                <a:miter lim="800000"/>
              </a:ln>
              <a:effectLst>
                <a:outerShdw blurRad="40000" dist="20000" dir="5400000" rotWithShape="0">
                  <a:srgbClr val="808080">
                    <a:alpha val="37999"/>
                  </a:srgbClr>
                </a:outerShdw>
              </a:effectLst>
            </p:spPr>
            <p:txBody>
              <a:bodyPr lIns="106428" tIns="53213" rIns="106428" bIns="53213" anchor="ctr"/>
              <a:lstStyle/>
              <a:p>
                <a:pPr algn="ctr" defTabSz="949863">
                  <a:lnSpc>
                    <a:spcPct val="85000"/>
                  </a:lnSpc>
                  <a:buClr>
                    <a:srgbClr val="CC9900"/>
                  </a:buClr>
                  <a:defRPr/>
                </a:pPr>
                <a:endParaRPr kumimoji="1" lang="zh-CN" altLang="en-US" sz="1904" b="1">
                  <a:solidFill>
                    <a:srgbClr val="515C7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3" name="AutoShape 3"/>
              <p:cNvSpPr>
                <a:spLocks noChangeArrowheads="1"/>
              </p:cNvSpPr>
              <p:nvPr/>
            </p:nvSpPr>
            <p:spPr bwMode="auto">
              <a:xfrm>
                <a:off x="9359051" y="1891530"/>
                <a:ext cx="1358546" cy="423223"/>
              </a:xfrm>
              <a:prstGeom prst="downArrow">
                <a:avLst>
                  <a:gd name="adj1" fmla="val 52602"/>
                  <a:gd name="adj2" fmla="val 50000"/>
                </a:avLst>
              </a:prstGeom>
              <a:solidFill>
                <a:schemeClr val="bg2">
                  <a:lumMod val="75000"/>
                  <a:alpha val="35000"/>
                </a:schemeClr>
              </a:solidFill>
              <a:ln w="9525">
                <a:noFill/>
                <a:miter lim="800000"/>
              </a:ln>
              <a:effectLst>
                <a:outerShdw blurRad="40000" dist="20000" dir="5400000" rotWithShape="0">
                  <a:srgbClr val="808080">
                    <a:alpha val="37999"/>
                  </a:srgbClr>
                </a:outerShdw>
              </a:effectLst>
            </p:spPr>
            <p:txBody>
              <a:bodyPr lIns="106428" tIns="53213" rIns="106428" bIns="53213" anchor="ctr"/>
              <a:lstStyle/>
              <a:p>
                <a:pPr algn="ctr" defTabSz="949863">
                  <a:lnSpc>
                    <a:spcPct val="85000"/>
                  </a:lnSpc>
                  <a:buClr>
                    <a:srgbClr val="CC9900"/>
                  </a:buClr>
                  <a:defRPr/>
                </a:pPr>
                <a:endParaRPr kumimoji="1" lang="zh-CN" altLang="en-US" sz="1904" b="1">
                  <a:solidFill>
                    <a:srgbClr val="515C7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4" name="AutoShape 4"/>
              <p:cNvSpPr>
                <a:spLocks noChangeArrowheads="1"/>
              </p:cNvSpPr>
              <p:nvPr/>
            </p:nvSpPr>
            <p:spPr bwMode="auto">
              <a:xfrm>
                <a:off x="1573862" y="1902111"/>
                <a:ext cx="1354314" cy="423223"/>
              </a:xfrm>
              <a:prstGeom prst="downArrow">
                <a:avLst>
                  <a:gd name="adj1" fmla="val 52602"/>
                  <a:gd name="adj2" fmla="val 50000"/>
                </a:avLst>
              </a:prstGeom>
              <a:solidFill>
                <a:schemeClr val="bg2">
                  <a:lumMod val="75000"/>
                  <a:alpha val="35000"/>
                </a:schemeClr>
              </a:solidFill>
              <a:ln w="9525">
                <a:noFill/>
                <a:miter lim="800000"/>
              </a:ln>
              <a:effectLst>
                <a:outerShdw blurRad="40000" dist="20000" dir="5400000" rotWithShape="0">
                  <a:srgbClr val="808080">
                    <a:alpha val="37999"/>
                  </a:srgbClr>
                </a:outerShdw>
              </a:effectLst>
            </p:spPr>
            <p:txBody>
              <a:bodyPr lIns="106428" tIns="53213" rIns="106428" bIns="53213" anchor="ctr"/>
              <a:lstStyle/>
              <a:p>
                <a:pPr algn="ctr" defTabSz="949863">
                  <a:lnSpc>
                    <a:spcPct val="85000"/>
                  </a:lnSpc>
                  <a:buClr>
                    <a:srgbClr val="CC9900"/>
                  </a:buClr>
                  <a:defRPr/>
                </a:pPr>
                <a:endParaRPr kumimoji="1" lang="zh-CN" altLang="en-US" sz="1904" b="1">
                  <a:solidFill>
                    <a:srgbClr val="515C7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5" name="Rectangle 5"/>
              <p:cNvSpPr>
                <a:spLocks noChangeArrowheads="1"/>
              </p:cNvSpPr>
              <p:nvPr/>
            </p:nvSpPr>
            <p:spPr bwMode="auto">
              <a:xfrm>
                <a:off x="335934" y="2848014"/>
                <a:ext cx="11520133" cy="2448346"/>
              </a:xfrm>
              <a:prstGeom prst="rect">
                <a:avLst/>
              </a:prstGeom>
              <a:noFill/>
              <a:ln w="28575">
                <a:noFill/>
                <a:miter lim="800000"/>
              </a:ln>
              <a:extLst>
                <a:ext uri="{909E8E84-426E-40DD-AFC4-6F175D3DCCD1}">
                  <a14:hiddenFill xmlns:a14="http://schemas.microsoft.com/office/drawing/2010/main">
                    <a:solidFill>
                      <a:srgbClr val="FFFFFF"/>
                    </a:solidFill>
                  </a14:hiddenFill>
                </a:ext>
              </a:extLst>
            </p:spPr>
            <p:txBody>
              <a:bodyPr lIns="0" tIns="0" rIns="0" bIns="0" anchor="ctr"/>
              <a:lstStyle>
                <a:lvl1pPr>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defTabSz="1243455" fontAlgn="base">
                  <a:spcBef>
                    <a:spcPct val="0"/>
                  </a:spcBef>
                  <a:spcAft>
                    <a:spcPct val="0"/>
                  </a:spcAft>
                  <a:buNone/>
                </a:pPr>
                <a:endParaRPr lang="zh-CN" altLang="en-US" sz="1904">
                  <a:solidFill>
                    <a:srgbClr val="515C72"/>
                  </a:solidFill>
                  <a:ea typeface="微软雅黑" panose="020B0503020204020204" pitchFamily="34" charset="-122"/>
                </a:endParaRPr>
              </a:p>
            </p:txBody>
          </p:sp>
          <p:sp>
            <p:nvSpPr>
              <p:cNvPr id="136" name="Rectangle 6"/>
              <p:cNvSpPr>
                <a:spLocks noChangeArrowheads="1"/>
              </p:cNvSpPr>
              <p:nvPr/>
            </p:nvSpPr>
            <p:spPr bwMode="auto">
              <a:xfrm>
                <a:off x="335934" y="4803304"/>
                <a:ext cx="11520133" cy="458761"/>
              </a:xfrm>
              <a:prstGeom prst="rect">
                <a:avLst/>
              </a:prstGeom>
              <a:solidFill>
                <a:schemeClr val="bg2">
                  <a:lumMod val="75000"/>
                  <a:alpha val="46000"/>
                </a:schemeClr>
              </a:solidFill>
              <a:ln w="19050" algn="ctr">
                <a:solidFill>
                  <a:schemeClr val="bg1"/>
                </a:solidFill>
                <a:miter lim="800000"/>
              </a:ln>
              <a:effectLst/>
              <a:extLst/>
            </p:spPr>
            <p:txBody>
              <a:bodyPr lIns="98662" tIns="49330" rIns="98662" bIns="49330" anchor="ctr" anchorCtr="1"/>
              <a:lstStyle/>
              <a:p>
                <a:pPr defTabSz="698500" fontAlgn="base">
                  <a:spcBef>
                    <a:spcPct val="0"/>
                  </a:spcBef>
                  <a:spcAft>
                    <a:spcPct val="0"/>
                  </a:spcAft>
                  <a:buClr>
                    <a:srgbClr val="CC9900"/>
                  </a:buClr>
                  <a:buFont typeface="Wingdings" panose="05000000000000000000" pitchFamily="2" charset="2"/>
                  <a:buNone/>
                </a:pPr>
                <a:r>
                  <a:rPr lang="zh-CN" altLang="en-US" sz="2176" b="1" dirty="0">
                    <a:solidFill>
                      <a:schemeClr val="bg2">
                        <a:lumMod val="25000"/>
                      </a:schemeClr>
                    </a:solidFill>
                    <a:latin typeface="Arial" panose="020B0604020202020204" pitchFamily="34" charset="0"/>
                    <a:ea typeface="微软雅黑" panose="020B0503020204020204" pitchFamily="34" charset="-122"/>
                  </a:rPr>
                  <a:t>项目</a:t>
                </a:r>
                <a:r>
                  <a:rPr lang="zh-CN" altLang="en-US" sz="2176" b="1" dirty="0" smtClean="0">
                    <a:solidFill>
                      <a:schemeClr val="bg2">
                        <a:lumMod val="25000"/>
                      </a:schemeClr>
                    </a:solidFill>
                    <a:latin typeface="Arial" panose="020B0604020202020204" pitchFamily="34" charset="0"/>
                    <a:ea typeface="微软雅黑" panose="020B0503020204020204" pitchFamily="34" charset="-122"/>
                  </a:rPr>
                  <a:t>运作流程</a:t>
                </a:r>
                <a:endParaRPr lang="zh-CN" altLang="en-US" sz="2176" b="1" dirty="0">
                  <a:solidFill>
                    <a:schemeClr val="bg2">
                      <a:lumMod val="25000"/>
                    </a:schemeClr>
                  </a:solidFill>
                  <a:latin typeface="Arial" panose="020B0604020202020204" pitchFamily="34" charset="0"/>
                  <a:ea typeface="微软雅黑" panose="020B0503020204020204" pitchFamily="34" charset="-122"/>
                </a:endParaRPr>
              </a:p>
            </p:txBody>
          </p:sp>
          <p:sp>
            <p:nvSpPr>
              <p:cNvPr id="137" name="Rectangle 7"/>
              <p:cNvSpPr>
                <a:spLocks noChangeArrowheads="1"/>
              </p:cNvSpPr>
              <p:nvPr/>
            </p:nvSpPr>
            <p:spPr bwMode="auto">
              <a:xfrm>
                <a:off x="6195459" y="3021536"/>
                <a:ext cx="1798698" cy="438037"/>
              </a:xfrm>
              <a:prstGeom prst="rect">
                <a:avLst/>
              </a:prstGeom>
              <a:solidFill>
                <a:schemeClr val="bg2">
                  <a:lumMod val="75000"/>
                </a:schemeClr>
              </a:solidFill>
              <a:ln>
                <a:noFill/>
              </a:ln>
              <a:extLst>
                <a:ext uri="{91240B29-F687-4F45-9708-019B960494DF}">
                  <a14:hiddenLine xmlns:a14="http://schemas.microsoft.com/office/drawing/2010/main" w="6350">
                    <a:solidFill>
                      <a:srgbClr val="000000"/>
                    </a:solidFill>
                    <a:miter lim="800000"/>
                    <a:headEnd/>
                    <a:tailEnd/>
                  </a14:hiddenLine>
                </a:ext>
              </a:extLst>
            </p:spPr>
            <p:txBody>
              <a:bodyPr lIns="98662" tIns="49330" rIns="98662" bIns="49330" anchor="ctr"/>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algn="ctr" fontAlgn="base">
                  <a:spcBef>
                    <a:spcPct val="0"/>
                  </a:spcBef>
                  <a:spcAft>
                    <a:spcPct val="0"/>
                  </a:spcAft>
                  <a:buFont typeface="Wingdings" panose="05000000000000000000" pitchFamily="2" charset="2"/>
                  <a:buNone/>
                </a:pPr>
                <a:r>
                  <a:rPr lang="zh-CN" altLang="en-US" sz="2176" dirty="0">
                    <a:solidFill>
                      <a:schemeClr val="bg2">
                        <a:lumMod val="25000"/>
                      </a:schemeClr>
                    </a:solidFill>
                    <a:ea typeface="微软雅黑" panose="020B0503020204020204" pitchFamily="34" charset="-122"/>
                  </a:rPr>
                  <a:t>工程</a:t>
                </a:r>
              </a:p>
            </p:txBody>
          </p:sp>
          <p:sp>
            <p:nvSpPr>
              <p:cNvPr id="138" name="Rectangle 8"/>
              <p:cNvSpPr>
                <a:spLocks noChangeArrowheads="1"/>
              </p:cNvSpPr>
              <p:nvPr/>
            </p:nvSpPr>
            <p:spPr bwMode="auto">
              <a:xfrm>
                <a:off x="530617" y="3027885"/>
                <a:ext cx="1798698" cy="425339"/>
              </a:xfrm>
              <a:prstGeom prst="rect">
                <a:avLst/>
              </a:prstGeom>
              <a:solidFill>
                <a:schemeClr val="bg2">
                  <a:lumMod val="75000"/>
                </a:schemeClr>
              </a:solidFill>
              <a:ln>
                <a:noFill/>
              </a:ln>
              <a:extLst>
                <a:ext uri="{91240B29-F687-4F45-9708-019B960494DF}">
                  <a14:hiddenLine xmlns:a14="http://schemas.microsoft.com/office/drawing/2010/main" w="6350">
                    <a:solidFill>
                      <a:srgbClr val="000000"/>
                    </a:solidFill>
                    <a:miter lim="800000"/>
                    <a:headEnd/>
                    <a:tailEnd/>
                  </a14:hiddenLine>
                </a:ext>
              </a:extLst>
            </p:spPr>
            <p:txBody>
              <a:bodyPr lIns="98662" tIns="49330" rIns="98662" bIns="49330" anchor="ctr"/>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algn="ctr" fontAlgn="base">
                  <a:spcBef>
                    <a:spcPct val="0"/>
                  </a:spcBef>
                  <a:spcAft>
                    <a:spcPct val="0"/>
                  </a:spcAft>
                  <a:buFont typeface="Wingdings" panose="05000000000000000000" pitchFamily="2" charset="2"/>
                  <a:buNone/>
                </a:pPr>
                <a:r>
                  <a:rPr lang="zh-CN" altLang="en-US" sz="2176" dirty="0">
                    <a:solidFill>
                      <a:schemeClr val="bg2">
                        <a:lumMod val="25000"/>
                      </a:schemeClr>
                    </a:solidFill>
                    <a:ea typeface="微软雅黑" panose="020B0503020204020204" pitchFamily="34" charset="-122"/>
                  </a:rPr>
                  <a:t>需求</a:t>
                </a:r>
              </a:p>
            </p:txBody>
          </p:sp>
          <p:sp>
            <p:nvSpPr>
              <p:cNvPr id="139" name="Rectangle 9"/>
              <p:cNvSpPr>
                <a:spLocks noChangeArrowheads="1"/>
              </p:cNvSpPr>
              <p:nvPr/>
            </p:nvSpPr>
            <p:spPr bwMode="auto">
              <a:xfrm>
                <a:off x="4307884" y="3021536"/>
                <a:ext cx="1798698" cy="438037"/>
              </a:xfrm>
              <a:prstGeom prst="rect">
                <a:avLst/>
              </a:prstGeom>
              <a:solidFill>
                <a:schemeClr val="bg2">
                  <a:lumMod val="75000"/>
                </a:schemeClr>
              </a:solidFill>
              <a:ln>
                <a:noFill/>
              </a:ln>
              <a:extLst>
                <a:ext uri="{91240B29-F687-4F45-9708-019B960494DF}">
                  <a14:hiddenLine xmlns:a14="http://schemas.microsoft.com/office/drawing/2010/main" w="6350">
                    <a:solidFill>
                      <a:srgbClr val="000000"/>
                    </a:solidFill>
                    <a:miter lim="800000"/>
                    <a:headEnd/>
                    <a:tailEnd/>
                  </a14:hiddenLine>
                </a:ext>
              </a:extLst>
            </p:spPr>
            <p:txBody>
              <a:bodyPr lIns="98662" tIns="49330" rIns="98662" bIns="49330" anchor="ctr"/>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algn="ctr" fontAlgn="base">
                  <a:spcBef>
                    <a:spcPct val="0"/>
                  </a:spcBef>
                  <a:spcAft>
                    <a:spcPct val="0"/>
                  </a:spcAft>
                  <a:buFont typeface="Wingdings" panose="05000000000000000000" pitchFamily="2" charset="2"/>
                  <a:buNone/>
                </a:pPr>
                <a:r>
                  <a:rPr lang="zh-CN" altLang="en-US" sz="2176" dirty="0">
                    <a:solidFill>
                      <a:schemeClr val="bg2">
                        <a:lumMod val="25000"/>
                      </a:schemeClr>
                    </a:solidFill>
                    <a:ea typeface="微软雅黑" panose="020B0503020204020204" pitchFamily="34" charset="-122"/>
                  </a:rPr>
                  <a:t>集成</a:t>
                </a:r>
              </a:p>
            </p:txBody>
          </p:sp>
          <p:sp>
            <p:nvSpPr>
              <p:cNvPr id="140" name="Rectangle 10"/>
              <p:cNvSpPr>
                <a:spLocks noChangeArrowheads="1"/>
              </p:cNvSpPr>
              <p:nvPr/>
            </p:nvSpPr>
            <p:spPr bwMode="auto">
              <a:xfrm>
                <a:off x="8083033" y="3017304"/>
                <a:ext cx="1800814" cy="446501"/>
              </a:xfrm>
              <a:prstGeom prst="rect">
                <a:avLst/>
              </a:prstGeom>
              <a:solidFill>
                <a:schemeClr val="bg2">
                  <a:lumMod val="75000"/>
                </a:schemeClr>
              </a:solidFill>
              <a:ln>
                <a:noFill/>
              </a:ln>
              <a:extLst>
                <a:ext uri="{91240B29-F687-4F45-9708-019B960494DF}">
                  <a14:hiddenLine xmlns:a14="http://schemas.microsoft.com/office/drawing/2010/main" w="6350">
                    <a:solidFill>
                      <a:srgbClr val="000000"/>
                    </a:solidFill>
                    <a:miter lim="800000"/>
                    <a:headEnd/>
                    <a:tailEnd/>
                  </a14:hiddenLine>
                </a:ext>
              </a:extLst>
            </p:spPr>
            <p:txBody>
              <a:bodyPr lIns="98662" tIns="49330" rIns="98662" bIns="49330" anchor="ctr"/>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algn="ctr" fontAlgn="base">
                  <a:spcBef>
                    <a:spcPct val="0"/>
                  </a:spcBef>
                  <a:spcAft>
                    <a:spcPct val="0"/>
                  </a:spcAft>
                  <a:buFont typeface="Wingdings" panose="05000000000000000000" pitchFamily="2" charset="2"/>
                  <a:buNone/>
                </a:pPr>
                <a:r>
                  <a:rPr lang="zh-CN" altLang="en-US" sz="2176" dirty="0">
                    <a:solidFill>
                      <a:schemeClr val="bg2">
                        <a:lumMod val="25000"/>
                      </a:schemeClr>
                    </a:solidFill>
                    <a:ea typeface="微软雅黑" panose="020B0503020204020204" pitchFamily="34" charset="-122"/>
                  </a:rPr>
                  <a:t>支持</a:t>
                </a:r>
              </a:p>
            </p:txBody>
          </p:sp>
          <p:sp>
            <p:nvSpPr>
              <p:cNvPr id="141" name="Rectangle 11"/>
              <p:cNvSpPr>
                <a:spLocks noChangeArrowheads="1"/>
              </p:cNvSpPr>
              <p:nvPr/>
            </p:nvSpPr>
            <p:spPr bwMode="auto">
              <a:xfrm>
                <a:off x="273263" y="1307482"/>
                <a:ext cx="11645472" cy="529340"/>
              </a:xfrm>
              <a:prstGeom prst="rect">
                <a:avLst/>
              </a:prstGeom>
              <a:solidFill>
                <a:schemeClr val="bg2">
                  <a:lumMod val="50000"/>
                </a:schemeClr>
              </a:solidFill>
              <a:ln w="9525">
                <a:noFill/>
                <a:miter lim="800000"/>
              </a:ln>
              <a:effectLst>
                <a:outerShdw blurRad="40000" dist="20000" dir="5400000" rotWithShape="0">
                  <a:srgbClr val="808080">
                    <a:alpha val="37999"/>
                  </a:srgbClr>
                </a:outerShdw>
              </a:effectLst>
            </p:spPr>
            <p:txBody>
              <a:bodyPr lIns="106428" tIns="53213" rIns="106428" bIns="53213" anchor="ctr"/>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algn="ctr" fontAlgn="base">
                  <a:lnSpc>
                    <a:spcPct val="85000"/>
                  </a:lnSpc>
                  <a:spcBef>
                    <a:spcPct val="0"/>
                  </a:spcBef>
                  <a:spcAft>
                    <a:spcPct val="0"/>
                  </a:spcAft>
                  <a:buFont typeface="Wingdings" panose="05000000000000000000" pitchFamily="2" charset="2"/>
                  <a:buNone/>
                </a:pPr>
                <a:r>
                  <a:rPr kumimoji="1" lang="zh-CN" altLang="en-US" sz="2448" dirty="0">
                    <a:solidFill>
                      <a:schemeClr val="bg1"/>
                    </a:solidFill>
                    <a:latin typeface="微软雅黑" panose="020B0503020204020204" pitchFamily="34" charset="-122"/>
                    <a:ea typeface="微软雅黑" panose="020B0503020204020204" pitchFamily="34" charset="-122"/>
                  </a:rPr>
                  <a:t>生态圈建设</a:t>
                </a:r>
              </a:p>
            </p:txBody>
          </p:sp>
          <p:sp>
            <p:nvSpPr>
              <p:cNvPr id="142" name="Rectangle 15"/>
              <p:cNvSpPr>
                <a:spLocks noChangeArrowheads="1"/>
              </p:cNvSpPr>
              <p:nvPr/>
            </p:nvSpPr>
            <p:spPr bwMode="auto">
              <a:xfrm>
                <a:off x="532733" y="3487081"/>
                <a:ext cx="1794467" cy="1248508"/>
              </a:xfrm>
              <a:prstGeom prst="rect">
                <a:avLst/>
              </a:prstGeom>
              <a:noFill/>
              <a:ln w="6350">
                <a:solidFill>
                  <a:srgbClr val="006699"/>
                </a:solidFill>
                <a:miter lim="800000"/>
              </a:ln>
              <a:extLst>
                <a:ext uri="{909E8E84-426E-40DD-AFC4-6F175D3DCCD1}">
                  <a14:hiddenFill xmlns:a14="http://schemas.microsoft.com/office/drawing/2010/main">
                    <a:solidFill>
                      <a:srgbClr val="FFFFFF"/>
                    </a:solidFill>
                  </a14:hiddenFill>
                </a:ext>
              </a:extLst>
            </p:spPr>
            <p:txBody>
              <a:bodyPr lIns="0" tIns="0" rIns="0" bIns="0"/>
              <a:lstStyle>
                <a:lvl1pPr marL="84455"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专家团队</a:t>
                </a:r>
                <a:endParaRPr lang="en-US" altLang="zh-CN" sz="1496" b="0" dirty="0" smtClean="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市场</a:t>
                </a:r>
                <a:r>
                  <a:rPr lang="zh-CN" altLang="en-US" sz="1496" b="0" dirty="0">
                    <a:solidFill>
                      <a:srgbClr val="515C72"/>
                    </a:solidFill>
                    <a:ea typeface="微软雅黑" panose="020B0503020204020204" pitchFamily="34" charset="-122"/>
                  </a:rPr>
                  <a:t>调研</a:t>
                </a: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需求分析</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en-US" altLang="zh-CN" sz="1496" b="0" dirty="0">
                    <a:solidFill>
                      <a:srgbClr val="515C72"/>
                    </a:solidFill>
                    <a:ea typeface="微软雅黑" panose="020B0503020204020204" pitchFamily="34" charset="-122"/>
                    <a:cs typeface="Arial" panose="020B0604020202020204" pitchFamily="34" charset="0"/>
                  </a:rPr>
                  <a:t>……</a:t>
                </a:r>
                <a:endParaRPr lang="zh-CN" altLang="en-US" sz="1496" b="0" dirty="0">
                  <a:solidFill>
                    <a:srgbClr val="515C72"/>
                  </a:solidFill>
                  <a:ea typeface="微软雅黑" panose="020B0503020204020204" pitchFamily="34" charset="-122"/>
                </a:endParaRPr>
              </a:p>
            </p:txBody>
          </p:sp>
          <p:sp>
            <p:nvSpPr>
              <p:cNvPr id="143" name="Rectangle 16"/>
              <p:cNvSpPr>
                <a:spLocks noChangeArrowheads="1"/>
              </p:cNvSpPr>
              <p:nvPr/>
            </p:nvSpPr>
            <p:spPr bwMode="auto">
              <a:xfrm>
                <a:off x="273263" y="5812791"/>
                <a:ext cx="11645472" cy="529340"/>
              </a:xfrm>
              <a:prstGeom prst="rect">
                <a:avLst/>
              </a:prstGeom>
              <a:solidFill>
                <a:schemeClr val="bg2">
                  <a:lumMod val="50000"/>
                </a:schemeClr>
              </a:solidFill>
              <a:ln w="9525">
                <a:noFill/>
                <a:miter lim="800000"/>
              </a:ln>
              <a:effectLst>
                <a:outerShdw blurRad="40000" dist="20000" dir="5400000" rotWithShape="0">
                  <a:srgbClr val="808080">
                    <a:alpha val="37999"/>
                  </a:srgbClr>
                </a:outerShdw>
              </a:effectLst>
            </p:spPr>
            <p:txBody>
              <a:bodyPr lIns="106428" tIns="53213" rIns="106428" bIns="53213" anchor="ctr"/>
              <a:lstStyle/>
              <a:p>
                <a:pPr algn="ctr" defTabSz="698500" fontAlgn="base">
                  <a:lnSpc>
                    <a:spcPct val="85000"/>
                  </a:lnSpc>
                  <a:spcBef>
                    <a:spcPct val="0"/>
                  </a:spcBef>
                  <a:spcAft>
                    <a:spcPct val="0"/>
                  </a:spcAft>
                  <a:buClr>
                    <a:srgbClr val="CC9900"/>
                  </a:buClr>
                  <a:buFont typeface="Wingdings" panose="05000000000000000000" pitchFamily="2" charset="2"/>
                  <a:buNone/>
                </a:pPr>
                <a:r>
                  <a:rPr kumimoji="1" lang="zh-CN" altLang="en-US" sz="2448" b="1" dirty="0">
                    <a:solidFill>
                      <a:schemeClr val="bg1"/>
                    </a:solidFill>
                    <a:latin typeface="微软雅黑" panose="020B0503020204020204" pitchFamily="34" charset="-122"/>
                    <a:ea typeface="微软雅黑" panose="020B0503020204020204" pitchFamily="34" charset="-122"/>
                  </a:rPr>
                  <a:t>业界知识库体系及经验共享</a:t>
                </a:r>
              </a:p>
            </p:txBody>
          </p:sp>
          <p:sp>
            <p:nvSpPr>
              <p:cNvPr id="144" name="AutoShape 17"/>
              <p:cNvSpPr>
                <a:spLocks noChangeArrowheads="1"/>
              </p:cNvSpPr>
              <p:nvPr/>
            </p:nvSpPr>
            <p:spPr bwMode="auto">
              <a:xfrm rot="10800000">
                <a:off x="1584442" y="5319224"/>
                <a:ext cx="1354314" cy="423223"/>
              </a:xfrm>
              <a:prstGeom prst="downArrow">
                <a:avLst>
                  <a:gd name="adj1" fmla="val 52602"/>
                  <a:gd name="adj2" fmla="val 50000"/>
                </a:avLst>
              </a:prstGeom>
              <a:solidFill>
                <a:schemeClr val="bg2">
                  <a:lumMod val="75000"/>
                  <a:alpha val="35000"/>
                </a:schemeClr>
              </a:solidFill>
              <a:ln w="9525">
                <a:noFill/>
                <a:miter lim="800000"/>
              </a:ln>
              <a:effectLst>
                <a:outerShdw blurRad="40000" dist="20000" dir="5400000" rotWithShape="0">
                  <a:srgbClr val="808080">
                    <a:alpha val="37999"/>
                  </a:srgbClr>
                </a:outerShdw>
              </a:effectLst>
            </p:spPr>
            <p:txBody>
              <a:bodyPr lIns="106428" tIns="53213" rIns="106428" bIns="53213" anchor="ctr"/>
              <a:lstStyle/>
              <a:p>
                <a:pPr algn="ctr" defTabSz="949863">
                  <a:lnSpc>
                    <a:spcPct val="85000"/>
                  </a:lnSpc>
                  <a:buClr>
                    <a:srgbClr val="CC9900"/>
                  </a:buClr>
                </a:pPr>
                <a:endParaRPr kumimoji="1" lang="zh-CN" altLang="en-US" sz="1904" b="1" dirty="0">
                  <a:solidFill>
                    <a:srgbClr val="515C7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5" name="AutoShape 18"/>
              <p:cNvSpPr>
                <a:spLocks noChangeArrowheads="1"/>
              </p:cNvSpPr>
              <p:nvPr/>
            </p:nvSpPr>
            <p:spPr bwMode="auto">
              <a:xfrm rot="10800000">
                <a:off x="5416728" y="5321342"/>
                <a:ext cx="1356430" cy="423223"/>
              </a:xfrm>
              <a:prstGeom prst="downArrow">
                <a:avLst>
                  <a:gd name="adj1" fmla="val 52602"/>
                  <a:gd name="adj2" fmla="val 50000"/>
                </a:avLst>
              </a:prstGeom>
              <a:solidFill>
                <a:schemeClr val="bg2">
                  <a:lumMod val="75000"/>
                  <a:alpha val="35000"/>
                </a:schemeClr>
              </a:solidFill>
              <a:ln w="9525">
                <a:noFill/>
                <a:miter lim="800000"/>
              </a:ln>
              <a:effectLst>
                <a:outerShdw blurRad="40000" dist="20000" dir="5400000" rotWithShape="0">
                  <a:srgbClr val="808080">
                    <a:alpha val="37999"/>
                  </a:srgbClr>
                </a:outerShdw>
              </a:effectLst>
            </p:spPr>
            <p:txBody>
              <a:bodyPr lIns="106428" tIns="53213" rIns="106428" bIns="53213" anchor="ctr"/>
              <a:lstStyle/>
              <a:p>
                <a:pPr algn="ctr" defTabSz="949863">
                  <a:lnSpc>
                    <a:spcPct val="85000"/>
                  </a:lnSpc>
                  <a:buClr>
                    <a:srgbClr val="CC9900"/>
                  </a:buClr>
                </a:pPr>
                <a:endParaRPr kumimoji="1" lang="zh-CN" altLang="en-US" sz="1904" b="1" dirty="0">
                  <a:solidFill>
                    <a:srgbClr val="515C7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6" name="AutoShape 19"/>
              <p:cNvSpPr>
                <a:spLocks noChangeArrowheads="1"/>
              </p:cNvSpPr>
              <p:nvPr/>
            </p:nvSpPr>
            <p:spPr bwMode="auto">
              <a:xfrm rot="10800000">
                <a:off x="9359050" y="5321342"/>
                <a:ext cx="1356431" cy="423223"/>
              </a:xfrm>
              <a:prstGeom prst="downArrow">
                <a:avLst>
                  <a:gd name="adj1" fmla="val 52602"/>
                  <a:gd name="adj2" fmla="val 50000"/>
                </a:avLst>
              </a:prstGeom>
              <a:solidFill>
                <a:schemeClr val="bg2">
                  <a:lumMod val="75000"/>
                  <a:alpha val="35000"/>
                </a:schemeClr>
              </a:solidFill>
              <a:ln w="9525">
                <a:noFill/>
                <a:miter lim="800000"/>
              </a:ln>
              <a:effectLst>
                <a:outerShdw blurRad="40000" dist="20000" dir="5400000" rotWithShape="0">
                  <a:srgbClr val="808080">
                    <a:alpha val="37999"/>
                  </a:srgbClr>
                </a:outerShdw>
              </a:effectLst>
            </p:spPr>
            <p:txBody>
              <a:bodyPr lIns="106428" tIns="53213" rIns="106428" bIns="53213" anchor="ctr"/>
              <a:lstStyle/>
              <a:p>
                <a:pPr algn="ctr" defTabSz="949863">
                  <a:lnSpc>
                    <a:spcPct val="85000"/>
                  </a:lnSpc>
                  <a:buClr>
                    <a:srgbClr val="CC9900"/>
                  </a:buClr>
                </a:pPr>
                <a:endParaRPr kumimoji="1" lang="zh-CN" altLang="en-US" sz="1904" b="1">
                  <a:solidFill>
                    <a:srgbClr val="515C72"/>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7" name="Rectangle 20"/>
              <p:cNvSpPr>
                <a:spLocks noChangeArrowheads="1"/>
              </p:cNvSpPr>
              <p:nvPr/>
            </p:nvSpPr>
            <p:spPr bwMode="auto">
              <a:xfrm>
                <a:off x="9972724" y="3017304"/>
                <a:ext cx="1798698" cy="446501"/>
              </a:xfrm>
              <a:prstGeom prst="rect">
                <a:avLst/>
              </a:prstGeom>
              <a:solidFill>
                <a:schemeClr val="bg2">
                  <a:lumMod val="75000"/>
                </a:schemeClr>
              </a:solidFill>
              <a:ln>
                <a:noFill/>
              </a:ln>
              <a:extLst>
                <a:ext uri="{91240B29-F687-4F45-9708-019B960494DF}">
                  <a14:hiddenLine xmlns:a14="http://schemas.microsoft.com/office/drawing/2010/main" w="6350">
                    <a:solidFill>
                      <a:srgbClr val="000000"/>
                    </a:solidFill>
                    <a:miter lim="800000"/>
                    <a:headEnd/>
                    <a:tailEnd/>
                  </a14:hiddenLine>
                </a:ext>
              </a:extLst>
            </p:spPr>
            <p:txBody>
              <a:bodyPr lIns="98662" tIns="49330" rIns="98662" bIns="49330" anchor="ctr"/>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algn="ctr" fontAlgn="base">
                  <a:spcBef>
                    <a:spcPct val="0"/>
                  </a:spcBef>
                  <a:spcAft>
                    <a:spcPct val="0"/>
                  </a:spcAft>
                  <a:buFont typeface="Wingdings" panose="05000000000000000000" pitchFamily="2" charset="2"/>
                  <a:buNone/>
                </a:pPr>
                <a:r>
                  <a:rPr lang="zh-CN" altLang="en-US" sz="2176" dirty="0" smtClean="0">
                    <a:solidFill>
                      <a:schemeClr val="bg2">
                        <a:lumMod val="25000"/>
                      </a:schemeClr>
                    </a:solidFill>
                    <a:ea typeface="微软雅黑" panose="020B0503020204020204" pitchFamily="34" charset="-122"/>
                  </a:rPr>
                  <a:t>提升</a:t>
                </a:r>
                <a:endParaRPr lang="zh-CN" altLang="en-US" sz="2176" dirty="0">
                  <a:solidFill>
                    <a:schemeClr val="bg2">
                      <a:lumMod val="25000"/>
                    </a:schemeClr>
                  </a:solidFill>
                  <a:ea typeface="微软雅黑" panose="020B0503020204020204" pitchFamily="34" charset="-122"/>
                </a:endParaRPr>
              </a:p>
            </p:txBody>
          </p:sp>
          <p:sp>
            <p:nvSpPr>
              <p:cNvPr id="148" name="Rectangle 22"/>
              <p:cNvSpPr>
                <a:spLocks noChangeArrowheads="1"/>
              </p:cNvSpPr>
              <p:nvPr/>
            </p:nvSpPr>
            <p:spPr bwMode="auto">
              <a:xfrm>
                <a:off x="4309999" y="3487081"/>
                <a:ext cx="1794467" cy="1248508"/>
              </a:xfrm>
              <a:prstGeom prst="rect">
                <a:avLst/>
              </a:prstGeom>
              <a:noFill/>
              <a:ln w="6350">
                <a:solidFill>
                  <a:srgbClr val="006699"/>
                </a:solidFill>
                <a:miter lim="800000"/>
              </a:ln>
              <a:extLst>
                <a:ext uri="{909E8E84-426E-40DD-AFC4-6F175D3DCCD1}">
                  <a14:hiddenFill xmlns:a14="http://schemas.microsoft.com/office/drawing/2010/main">
                    <a:solidFill>
                      <a:srgbClr val="FFFFFF"/>
                    </a:solidFill>
                  </a14:hiddenFill>
                </a:ext>
              </a:extLst>
            </p:spPr>
            <p:txBody>
              <a:bodyPr lIns="0" tIns="0" rIns="0" bIns="0"/>
              <a:lstStyle>
                <a:lvl1pPr marL="84455"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技术团队</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a:solidFill>
                      <a:srgbClr val="515C72"/>
                    </a:solidFill>
                    <a:ea typeface="微软雅黑" panose="020B0503020204020204" pitchFamily="34" charset="-122"/>
                  </a:rPr>
                  <a:t>图纸</a:t>
                </a:r>
                <a:r>
                  <a:rPr lang="zh-CN" altLang="en-US" sz="1496" b="0" dirty="0" smtClean="0">
                    <a:solidFill>
                      <a:srgbClr val="515C72"/>
                    </a:solidFill>
                    <a:ea typeface="微软雅黑" panose="020B0503020204020204" pitchFamily="34" charset="-122"/>
                  </a:rPr>
                  <a:t>设计</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cs typeface="Arial" panose="020B0604020202020204" pitchFamily="34" charset="0"/>
                  </a:rPr>
                  <a:t>原型设计</a:t>
                </a:r>
                <a:endParaRPr lang="en-US" altLang="zh-CN" sz="1496" b="0" dirty="0">
                  <a:solidFill>
                    <a:srgbClr val="515C72"/>
                  </a:solidFill>
                  <a:ea typeface="微软雅黑" panose="020B0503020204020204" pitchFamily="34" charset="-122"/>
                  <a:cs typeface="Arial" panose="020B0604020202020204" pitchFamily="34" charset="0"/>
                </a:endParaRPr>
              </a:p>
              <a:p>
                <a:pPr fontAlgn="base">
                  <a:spcBef>
                    <a:spcPct val="0"/>
                  </a:spcBef>
                  <a:spcAft>
                    <a:spcPct val="0"/>
                  </a:spcAft>
                  <a:buClrTx/>
                  <a:buFont typeface="Wingdings" panose="05000000000000000000" pitchFamily="2" charset="2"/>
                  <a:buChar char="p"/>
                </a:pPr>
                <a:r>
                  <a:rPr lang="en-US" altLang="zh-CN" sz="1496" b="0" dirty="0">
                    <a:solidFill>
                      <a:srgbClr val="515C72"/>
                    </a:solidFill>
                    <a:ea typeface="微软雅黑" panose="020B0503020204020204" pitchFamily="34" charset="-122"/>
                    <a:cs typeface="Arial" panose="020B0604020202020204" pitchFamily="34" charset="0"/>
                  </a:rPr>
                  <a:t>……</a:t>
                </a:r>
              </a:p>
            </p:txBody>
          </p:sp>
          <p:sp>
            <p:nvSpPr>
              <p:cNvPr id="149" name="Rectangle 23"/>
              <p:cNvSpPr>
                <a:spLocks noChangeArrowheads="1"/>
              </p:cNvSpPr>
              <p:nvPr/>
            </p:nvSpPr>
            <p:spPr bwMode="auto">
              <a:xfrm>
                <a:off x="6197574" y="3487081"/>
                <a:ext cx="1794467" cy="1248508"/>
              </a:xfrm>
              <a:prstGeom prst="rect">
                <a:avLst/>
              </a:prstGeom>
              <a:noFill/>
              <a:ln w="6350">
                <a:solidFill>
                  <a:srgbClr val="006699"/>
                </a:solidFill>
                <a:miter lim="800000"/>
              </a:ln>
              <a:extLst>
                <a:ext uri="{909E8E84-426E-40DD-AFC4-6F175D3DCCD1}">
                  <a14:hiddenFill xmlns:a14="http://schemas.microsoft.com/office/drawing/2010/main">
                    <a:solidFill>
                      <a:srgbClr val="FFFFFF"/>
                    </a:solidFill>
                  </a14:hiddenFill>
                </a:ext>
              </a:extLst>
            </p:spPr>
            <p:txBody>
              <a:bodyPr lIns="0" tIns="0" rIns="0" bIns="0"/>
              <a:lstStyle>
                <a:lvl1pPr marL="84455"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工程团队</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项目实施</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交付验收</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en-US" altLang="zh-CN" sz="1496" b="0" dirty="0" smtClean="0">
                    <a:solidFill>
                      <a:srgbClr val="515C72"/>
                    </a:solidFill>
                    <a:ea typeface="微软雅黑" panose="020B0503020204020204" pitchFamily="34" charset="-122"/>
                  </a:rPr>
                  <a:t>……</a:t>
                </a:r>
                <a:endParaRPr lang="zh-CN" altLang="en-US" sz="1496" b="0" dirty="0">
                  <a:solidFill>
                    <a:srgbClr val="515C72"/>
                  </a:solidFill>
                  <a:ea typeface="微软雅黑" panose="020B0503020204020204" pitchFamily="34" charset="-122"/>
                </a:endParaRPr>
              </a:p>
            </p:txBody>
          </p:sp>
          <p:sp>
            <p:nvSpPr>
              <p:cNvPr id="150" name="Rectangle 24"/>
              <p:cNvSpPr>
                <a:spLocks noChangeArrowheads="1"/>
              </p:cNvSpPr>
              <p:nvPr/>
            </p:nvSpPr>
            <p:spPr bwMode="auto">
              <a:xfrm>
                <a:off x="8085149" y="3487081"/>
                <a:ext cx="1796583" cy="1248508"/>
              </a:xfrm>
              <a:prstGeom prst="rect">
                <a:avLst/>
              </a:prstGeom>
              <a:noFill/>
              <a:ln w="6350">
                <a:solidFill>
                  <a:srgbClr val="006699"/>
                </a:solidFill>
                <a:miter lim="800000"/>
              </a:ln>
              <a:extLst>
                <a:ext uri="{909E8E84-426E-40DD-AFC4-6F175D3DCCD1}">
                  <a14:hiddenFill xmlns:a14="http://schemas.microsoft.com/office/drawing/2010/main">
                    <a:solidFill>
                      <a:srgbClr val="FFFFFF"/>
                    </a:solidFill>
                  </a14:hiddenFill>
                </a:ext>
              </a:extLst>
            </p:spPr>
            <p:txBody>
              <a:bodyPr lIns="0" tIns="0" rIns="0" bIns="0"/>
              <a:lstStyle>
                <a:lvl1pPr marL="84455"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运营团队 </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日常运营</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a:solidFill>
                      <a:srgbClr val="515C72"/>
                    </a:solidFill>
                    <a:ea typeface="微软雅黑" panose="020B0503020204020204" pitchFamily="34" charset="-122"/>
                  </a:rPr>
                  <a:t>厂家</a:t>
                </a:r>
                <a:r>
                  <a:rPr lang="zh-CN" altLang="en-US" sz="1496" b="0" dirty="0" smtClean="0">
                    <a:solidFill>
                      <a:srgbClr val="515C72"/>
                    </a:solidFill>
                    <a:ea typeface="微软雅黑" panose="020B0503020204020204" pitchFamily="34" charset="-122"/>
                  </a:rPr>
                  <a:t>支持</a:t>
                </a:r>
                <a:endParaRPr lang="en-US" altLang="zh-CN" sz="1496" b="0" dirty="0">
                  <a:solidFill>
                    <a:srgbClr val="515C72"/>
                  </a:solidFill>
                  <a:ea typeface="微软雅黑" panose="020B0503020204020204" pitchFamily="34" charset="-122"/>
                  <a:cs typeface="Arial" panose="020B0604020202020204" pitchFamily="34" charset="0"/>
                </a:endParaRPr>
              </a:p>
              <a:p>
                <a:pPr fontAlgn="base">
                  <a:spcBef>
                    <a:spcPct val="0"/>
                  </a:spcBef>
                  <a:spcAft>
                    <a:spcPct val="0"/>
                  </a:spcAft>
                  <a:buClrTx/>
                  <a:buFont typeface="Wingdings" panose="05000000000000000000" pitchFamily="2" charset="2"/>
                  <a:buChar char="p"/>
                </a:pPr>
                <a:r>
                  <a:rPr lang="en-US" altLang="zh-CN" sz="1496" b="0" dirty="0">
                    <a:solidFill>
                      <a:srgbClr val="515C72"/>
                    </a:solidFill>
                    <a:ea typeface="微软雅黑" panose="020B0503020204020204" pitchFamily="34" charset="-122"/>
                    <a:cs typeface="Arial" panose="020B0604020202020204" pitchFamily="34" charset="0"/>
                  </a:rPr>
                  <a:t>……</a:t>
                </a:r>
              </a:p>
            </p:txBody>
          </p:sp>
          <p:sp>
            <p:nvSpPr>
              <p:cNvPr id="151" name="Rectangle 25"/>
              <p:cNvSpPr>
                <a:spLocks noChangeArrowheads="1"/>
              </p:cNvSpPr>
              <p:nvPr/>
            </p:nvSpPr>
            <p:spPr bwMode="auto">
              <a:xfrm>
                <a:off x="9974841" y="3487081"/>
                <a:ext cx="1794467" cy="1248508"/>
              </a:xfrm>
              <a:prstGeom prst="rect">
                <a:avLst/>
              </a:prstGeom>
              <a:noFill/>
              <a:ln w="6350">
                <a:solidFill>
                  <a:srgbClr val="006699"/>
                </a:solidFill>
                <a:miter lim="800000"/>
              </a:ln>
              <a:extLst>
                <a:ext uri="{909E8E84-426E-40DD-AFC4-6F175D3DCCD1}">
                  <a14:hiddenFill xmlns:a14="http://schemas.microsoft.com/office/drawing/2010/main">
                    <a:solidFill>
                      <a:srgbClr val="FFFFFF"/>
                    </a:solidFill>
                  </a14:hiddenFill>
                </a:ext>
              </a:extLst>
            </p:spPr>
            <p:txBody>
              <a:bodyPr lIns="0" tIns="0" rIns="0" bIns="0"/>
              <a:lstStyle>
                <a:lvl1pPr marL="84455"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管理团队</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持续精进</a:t>
                </a:r>
                <a:endParaRPr lang="en-US" altLang="zh-CN" sz="1496" b="0" dirty="0" smtClean="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阶段升级</a:t>
                </a:r>
                <a:endParaRPr lang="en-US" altLang="zh-CN" sz="1496" b="0" dirty="0">
                  <a:solidFill>
                    <a:srgbClr val="515C72"/>
                  </a:solidFill>
                  <a:ea typeface="微软雅黑" panose="020B0503020204020204" pitchFamily="34" charset="-122"/>
                  <a:cs typeface="Arial" panose="020B0604020202020204" pitchFamily="34" charset="0"/>
                </a:endParaRPr>
              </a:p>
              <a:p>
                <a:pPr fontAlgn="base">
                  <a:spcBef>
                    <a:spcPct val="0"/>
                  </a:spcBef>
                  <a:spcAft>
                    <a:spcPct val="0"/>
                  </a:spcAft>
                  <a:buClrTx/>
                  <a:buFont typeface="Wingdings" panose="05000000000000000000" pitchFamily="2" charset="2"/>
                  <a:buChar char="p"/>
                </a:pPr>
                <a:r>
                  <a:rPr lang="en-US" altLang="zh-CN" sz="1496" b="0" dirty="0">
                    <a:solidFill>
                      <a:srgbClr val="515C72"/>
                    </a:solidFill>
                    <a:ea typeface="微软雅黑" panose="020B0503020204020204" pitchFamily="34" charset="-122"/>
                    <a:cs typeface="Arial" panose="020B0604020202020204" pitchFamily="34" charset="0"/>
                  </a:rPr>
                  <a:t>……</a:t>
                </a:r>
              </a:p>
            </p:txBody>
          </p:sp>
          <p:sp>
            <p:nvSpPr>
              <p:cNvPr id="152" name="Rectangle 9"/>
              <p:cNvSpPr>
                <a:spLocks noChangeArrowheads="1"/>
              </p:cNvSpPr>
              <p:nvPr/>
            </p:nvSpPr>
            <p:spPr bwMode="auto">
              <a:xfrm>
                <a:off x="2418192" y="3021536"/>
                <a:ext cx="1800815" cy="438037"/>
              </a:xfrm>
              <a:prstGeom prst="rect">
                <a:avLst/>
              </a:prstGeom>
              <a:solidFill>
                <a:schemeClr val="bg2">
                  <a:lumMod val="75000"/>
                </a:schemeClr>
              </a:solidFill>
              <a:ln>
                <a:noFill/>
              </a:ln>
              <a:extLst>
                <a:ext uri="{91240B29-F687-4F45-9708-019B960494DF}">
                  <a14:hiddenLine xmlns:a14="http://schemas.microsoft.com/office/drawing/2010/main" w="6350">
                    <a:solidFill>
                      <a:srgbClr val="000000"/>
                    </a:solidFill>
                    <a:miter lim="800000"/>
                    <a:headEnd/>
                    <a:tailEnd/>
                  </a14:hiddenLine>
                </a:ext>
              </a:extLst>
            </p:spPr>
            <p:txBody>
              <a:bodyPr lIns="98662" tIns="49330" rIns="98662" bIns="49330" anchor="ctr"/>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algn="ctr" fontAlgn="base">
                  <a:spcBef>
                    <a:spcPct val="0"/>
                  </a:spcBef>
                  <a:spcAft>
                    <a:spcPct val="0"/>
                  </a:spcAft>
                  <a:buFont typeface="Wingdings" panose="05000000000000000000" pitchFamily="2" charset="2"/>
                  <a:buNone/>
                </a:pPr>
                <a:r>
                  <a:rPr lang="zh-CN" altLang="en-US" sz="2176" dirty="0">
                    <a:solidFill>
                      <a:schemeClr val="bg2">
                        <a:lumMod val="25000"/>
                      </a:schemeClr>
                    </a:solidFill>
                    <a:ea typeface="微软雅黑" panose="020B0503020204020204" pitchFamily="34" charset="-122"/>
                  </a:rPr>
                  <a:t>方案</a:t>
                </a:r>
              </a:p>
            </p:txBody>
          </p:sp>
          <p:sp>
            <p:nvSpPr>
              <p:cNvPr id="153" name="Rectangle 22"/>
              <p:cNvSpPr>
                <a:spLocks noChangeArrowheads="1"/>
              </p:cNvSpPr>
              <p:nvPr/>
            </p:nvSpPr>
            <p:spPr bwMode="auto">
              <a:xfrm>
                <a:off x="2420309" y="3487081"/>
                <a:ext cx="1794467" cy="1248508"/>
              </a:xfrm>
              <a:prstGeom prst="rect">
                <a:avLst/>
              </a:prstGeom>
              <a:noFill/>
              <a:ln w="6350">
                <a:solidFill>
                  <a:srgbClr val="006699"/>
                </a:solidFill>
                <a:miter lim="800000"/>
              </a:ln>
              <a:extLst>
                <a:ext uri="{909E8E84-426E-40DD-AFC4-6F175D3DCCD1}">
                  <a14:hiddenFill xmlns:a14="http://schemas.microsoft.com/office/drawing/2010/main">
                    <a:solidFill>
                      <a:srgbClr val="FFFFFF"/>
                    </a:solidFill>
                  </a14:hiddenFill>
                </a:ext>
              </a:extLst>
            </p:spPr>
            <p:txBody>
              <a:bodyPr lIns="0" tIns="0" rIns="0" bIns="0"/>
              <a:lstStyle>
                <a:lvl1pPr marL="84455"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编制团队</a:t>
                </a:r>
                <a:endParaRPr lang="en-US" altLang="zh-CN" sz="1496" b="0" dirty="0" smtClean="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方案编制</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zh-CN" altLang="en-US" sz="1496" b="0" dirty="0" smtClean="0">
                    <a:solidFill>
                      <a:srgbClr val="515C72"/>
                    </a:solidFill>
                    <a:ea typeface="微软雅黑" panose="020B0503020204020204" pitchFamily="34" charset="-122"/>
                  </a:rPr>
                  <a:t>专家评审</a:t>
                </a:r>
                <a:endParaRPr lang="zh-CN" altLang="en-US" sz="1496" b="0" dirty="0">
                  <a:solidFill>
                    <a:srgbClr val="515C72"/>
                  </a:solidFill>
                  <a:ea typeface="微软雅黑" panose="020B0503020204020204" pitchFamily="34" charset="-122"/>
                </a:endParaRPr>
              </a:p>
              <a:p>
                <a:pPr fontAlgn="base">
                  <a:spcBef>
                    <a:spcPct val="0"/>
                  </a:spcBef>
                  <a:spcAft>
                    <a:spcPct val="0"/>
                  </a:spcAft>
                  <a:buClrTx/>
                  <a:buFont typeface="Wingdings" panose="05000000000000000000" pitchFamily="2" charset="2"/>
                  <a:buChar char="p"/>
                </a:pPr>
                <a:r>
                  <a:rPr lang="en-US" altLang="zh-CN" sz="1496" b="0" dirty="0" smtClean="0">
                    <a:solidFill>
                      <a:srgbClr val="515C72"/>
                    </a:solidFill>
                    <a:ea typeface="微软雅黑" panose="020B0503020204020204" pitchFamily="34" charset="-122"/>
                  </a:rPr>
                  <a:t>……</a:t>
                </a:r>
                <a:endParaRPr lang="en-US" altLang="zh-CN" sz="1496" b="0" dirty="0">
                  <a:solidFill>
                    <a:srgbClr val="515C72"/>
                  </a:solidFill>
                  <a:ea typeface="微软雅黑" panose="020B0503020204020204" pitchFamily="34" charset="-122"/>
                  <a:cs typeface="Arial" panose="020B0604020202020204" pitchFamily="34" charset="0"/>
                </a:endParaRPr>
              </a:p>
            </p:txBody>
          </p:sp>
        </p:grpSp>
        <p:cxnSp>
          <p:nvCxnSpPr>
            <p:cNvPr id="3" name="直接连接符 2"/>
            <p:cNvCxnSpPr/>
            <p:nvPr/>
          </p:nvCxnSpPr>
          <p:spPr>
            <a:xfrm>
              <a:off x="4365619" y="831056"/>
              <a:ext cx="0" cy="6165057"/>
            </a:xfrm>
            <a:prstGeom prst="line">
              <a:avLst/>
            </a:prstGeom>
            <a:ln w="381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56" name="AutoShape 13"/>
            <p:cNvSpPr>
              <a:spLocks noChangeArrowheads="1"/>
            </p:cNvSpPr>
            <p:nvPr/>
          </p:nvSpPr>
          <p:spPr bwMode="auto">
            <a:xfrm>
              <a:off x="1037431" y="1008656"/>
              <a:ext cx="2880000" cy="432000"/>
            </a:xfrm>
            <a:prstGeom prst="homePlate">
              <a:avLst>
                <a:gd name="adj" fmla="val 26668"/>
              </a:avLst>
            </a:prstGeom>
            <a:noFill/>
            <a:ln w="19050" algn="ctr">
              <a:solidFill>
                <a:schemeClr val="tx1"/>
              </a:solidFill>
              <a:miter lim="800000"/>
            </a:ln>
            <a:effectLst/>
          </p:spPr>
          <p:txBody>
            <a:bodyPr lIns="98662" tIns="49330" rIns="98662" bIns="49330" anchor="ctr" anchorCtr="1"/>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Font typeface="Wingdings" panose="05000000000000000000" pitchFamily="2" charset="2"/>
                <a:buNone/>
              </a:pPr>
              <a:r>
                <a:rPr lang="zh-CN" altLang="en-US" sz="2176" dirty="0" smtClean="0">
                  <a:solidFill>
                    <a:schemeClr val="bg2">
                      <a:lumMod val="25000"/>
                    </a:schemeClr>
                  </a:solidFill>
                  <a:ea typeface="微软雅黑" panose="020B0503020204020204" pitchFamily="34" charset="-122"/>
                </a:rPr>
                <a:t>智慧园区咨询服务</a:t>
              </a:r>
              <a:endParaRPr lang="zh-CN" altLang="en-US" sz="2176" dirty="0">
                <a:solidFill>
                  <a:schemeClr val="bg2">
                    <a:lumMod val="25000"/>
                  </a:schemeClr>
                </a:solidFill>
                <a:ea typeface="微软雅黑" panose="020B0503020204020204" pitchFamily="34" charset="-122"/>
              </a:endParaRPr>
            </a:p>
          </p:txBody>
        </p:sp>
        <p:cxnSp>
          <p:nvCxnSpPr>
            <p:cNvPr id="157" name="直接连接符 156"/>
            <p:cNvCxnSpPr/>
            <p:nvPr/>
          </p:nvCxnSpPr>
          <p:spPr>
            <a:xfrm>
              <a:off x="6295231" y="831056"/>
              <a:ext cx="0" cy="6165057"/>
            </a:xfrm>
            <a:prstGeom prst="line">
              <a:avLst/>
            </a:prstGeom>
            <a:ln w="38100">
              <a:solidFill>
                <a:schemeClr val="bg2">
                  <a:lumMod val="25000"/>
                </a:schemeClr>
              </a:solidFill>
              <a:prstDash val="dash"/>
            </a:ln>
          </p:spPr>
          <p:style>
            <a:lnRef idx="1">
              <a:schemeClr val="accent1"/>
            </a:lnRef>
            <a:fillRef idx="0">
              <a:schemeClr val="accent1"/>
            </a:fillRef>
            <a:effectRef idx="0">
              <a:schemeClr val="accent1"/>
            </a:effectRef>
            <a:fontRef idx="minor">
              <a:schemeClr val="tx1"/>
            </a:fontRef>
          </p:style>
        </p:cxnSp>
        <p:sp>
          <p:nvSpPr>
            <p:cNvPr id="158" name="AutoShape 13"/>
            <p:cNvSpPr>
              <a:spLocks noChangeArrowheads="1"/>
            </p:cNvSpPr>
            <p:nvPr/>
          </p:nvSpPr>
          <p:spPr bwMode="auto">
            <a:xfrm>
              <a:off x="4626631" y="1008656"/>
              <a:ext cx="1440000" cy="432000"/>
            </a:xfrm>
            <a:prstGeom prst="homePlate">
              <a:avLst>
                <a:gd name="adj" fmla="val 26668"/>
              </a:avLst>
            </a:prstGeom>
            <a:noFill/>
            <a:ln w="19050" algn="ctr">
              <a:solidFill>
                <a:schemeClr val="tx1"/>
              </a:solidFill>
              <a:miter lim="800000"/>
            </a:ln>
            <a:effectLst/>
          </p:spPr>
          <p:txBody>
            <a:bodyPr lIns="98662" tIns="49330" rIns="98662" bIns="49330" anchor="ctr" anchorCtr="1"/>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Font typeface="Wingdings" panose="05000000000000000000" pitchFamily="2" charset="2"/>
                <a:buNone/>
              </a:pPr>
              <a:r>
                <a:rPr lang="zh-CN" altLang="en-US" sz="2176" dirty="0">
                  <a:solidFill>
                    <a:schemeClr val="bg2">
                      <a:lumMod val="25000"/>
                    </a:schemeClr>
                  </a:solidFill>
                  <a:ea typeface="微软雅黑" panose="020B0503020204020204" pitchFamily="34" charset="-122"/>
                </a:rPr>
                <a:t>咨询</a:t>
              </a:r>
              <a:r>
                <a:rPr lang="zh-CN" altLang="en-US" sz="2176" dirty="0" smtClean="0">
                  <a:solidFill>
                    <a:schemeClr val="bg2">
                      <a:lumMod val="25000"/>
                    </a:schemeClr>
                  </a:solidFill>
                  <a:ea typeface="微软雅黑" panose="020B0503020204020204" pitchFamily="34" charset="-122"/>
                </a:rPr>
                <a:t>延伸</a:t>
              </a:r>
              <a:endParaRPr lang="zh-CN" altLang="en-US" sz="2176" dirty="0">
                <a:solidFill>
                  <a:schemeClr val="bg2">
                    <a:lumMod val="25000"/>
                  </a:schemeClr>
                </a:solidFill>
                <a:ea typeface="微软雅黑" panose="020B0503020204020204" pitchFamily="34" charset="-122"/>
              </a:endParaRPr>
            </a:p>
          </p:txBody>
        </p:sp>
        <p:sp>
          <p:nvSpPr>
            <p:cNvPr id="37" name="AutoShape 13"/>
            <p:cNvSpPr>
              <a:spLocks noChangeArrowheads="1"/>
            </p:cNvSpPr>
            <p:nvPr/>
          </p:nvSpPr>
          <p:spPr bwMode="auto">
            <a:xfrm>
              <a:off x="7606231" y="1008656"/>
              <a:ext cx="2880000" cy="432000"/>
            </a:xfrm>
            <a:prstGeom prst="homePlate">
              <a:avLst>
                <a:gd name="adj" fmla="val 26668"/>
              </a:avLst>
            </a:prstGeom>
            <a:noFill/>
            <a:ln w="19050" algn="ctr">
              <a:solidFill>
                <a:schemeClr val="tx1"/>
              </a:solidFill>
              <a:miter lim="800000"/>
            </a:ln>
            <a:effectLst/>
          </p:spPr>
          <p:txBody>
            <a:bodyPr lIns="98662" tIns="49330" rIns="98662" bIns="49330" anchor="ctr" anchorCtr="1"/>
            <a:lstStyle>
              <a:lvl1pPr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1pPr>
              <a:lvl2pPr marL="742950" indent="-28575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2pPr>
              <a:lvl3pPr marL="11430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3pPr>
              <a:lvl4pPr marL="16002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4pPr>
              <a:lvl5pPr marL="2057400" indent="-228600" defTabSz="698500">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5pPr>
              <a:lvl6pPr marL="25146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6pPr>
              <a:lvl7pPr marL="29718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7pPr>
              <a:lvl8pPr marL="34290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8pPr>
              <a:lvl9pPr marL="3886200" indent="-228600" defTabSz="698500" fontAlgn="base">
                <a:spcBef>
                  <a:spcPct val="0"/>
                </a:spcBef>
                <a:spcAft>
                  <a:spcPct val="0"/>
                </a:spcAft>
                <a:buClr>
                  <a:srgbClr val="CC9900"/>
                </a:buClr>
                <a:buFont typeface="Wingdings" panose="05000000000000000000" pitchFamily="2" charset="2"/>
                <a:buChar char="n"/>
                <a:defRPr sz="2400" b="1">
                  <a:solidFill>
                    <a:schemeClr val="tx1"/>
                  </a:solidFill>
                  <a:latin typeface="Arial" panose="020B0604020202020204" pitchFamily="34" charset="0"/>
                  <a:ea typeface="宋体" panose="02010600030101010101" pitchFamily="2" charset="-122"/>
                </a:defRPr>
              </a:lvl9pPr>
            </a:lstStyle>
            <a:p>
              <a:pPr fontAlgn="base">
                <a:spcBef>
                  <a:spcPct val="0"/>
                </a:spcBef>
                <a:spcAft>
                  <a:spcPct val="0"/>
                </a:spcAft>
                <a:buFont typeface="Wingdings" panose="05000000000000000000" pitchFamily="2" charset="2"/>
                <a:buNone/>
              </a:pPr>
              <a:r>
                <a:rPr lang="zh-CN" altLang="en-US" sz="2176" dirty="0" smtClean="0">
                  <a:solidFill>
                    <a:schemeClr val="bg2">
                      <a:lumMod val="25000"/>
                    </a:schemeClr>
                  </a:solidFill>
                  <a:ea typeface="微软雅黑" panose="020B0503020204020204" pitchFamily="34" charset="-122"/>
                </a:rPr>
                <a:t>智慧园区建设运营</a:t>
              </a:r>
              <a:endParaRPr lang="zh-CN" altLang="en-US" sz="2176" dirty="0">
                <a:solidFill>
                  <a:schemeClr val="bg2">
                    <a:lumMod val="25000"/>
                  </a:schemeClr>
                </a:solidFill>
                <a:ea typeface="微软雅黑" panose="020B0503020204020204" pitchFamily="34" charset="-122"/>
              </a:endParaRPr>
            </a:p>
          </p:txBody>
        </p:sp>
      </p:grpSp>
    </p:spTree>
    <p:extLst>
      <p:ext uri="{BB962C8B-B14F-4D97-AF65-F5344CB8AC3E}">
        <p14:creationId xmlns:p14="http://schemas.microsoft.com/office/powerpoint/2010/main" val="25968430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NOCLEAR" val="0"/>
  <p:tag name="KSO_WM_UNIT_VALUE" val="6"/>
  <p:tag name="KSO_WM_UNIT_HIGHLIGHT" val="0"/>
  <p:tag name="KSO_WM_UNIT_COMPATIBLE" val="0"/>
  <p:tag name="KSO_WM_UNIT_DIAGRAM_ISNUMVISUAL" val="0"/>
  <p:tag name="KSO_WM_UNIT_DIAGRAM_ISREFERUNIT" val="0"/>
  <p:tag name="KSO_WM_DIAGRAM_GROUP_CODE" val="l1-1"/>
  <p:tag name="KSO_WM_UNIT_TYPE" val="l_h_f"/>
  <p:tag name="KSO_WM_UNIT_INDEX" val="1_1_1"/>
  <p:tag name="KSO_WM_UNIT_ID" val="diagram20198927_1*l_h_f*1_1_1"/>
  <p:tag name="KSO_WM_TEMPLATE_CATEGORY" val="diagram"/>
  <p:tag name="KSO_WM_TEMPLATE_INDEX" val="20198927"/>
  <p:tag name="KSO_WM_UNIT_LAYERLEVEL" val="1_1_1"/>
  <p:tag name="KSO_WM_TAG_VERSION" val="1.0"/>
  <p:tag name="KSO_WM_BEAUTIFY_FLAG" val="#wm#"/>
  <p:tag name="KSO_WM_UNIT_PRESET_TEXT" val="3G浏览时长"/>
  <p:tag name="KSO_WM_UNIT_TEXT_FILL_FORE_SCHEMECOLOR_INDEX" val="14"/>
  <p:tag name="KSO_WM_UNIT_TEXT_FILL_TYPE" val="1"/>
  <p:tag name="KSO_WM_UNIT_USESOURCEFORMAT_APPLY" val="1"/>
</p:tagLst>
</file>

<file path=ppt/tags/tag10.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HIGHLIGHT" val="0"/>
  <p:tag name="KSO_WM_UNIT_COMPATIBLE" val="0"/>
  <p:tag name="KSO_WM_UNIT_DIAGRAM_ISNUMVISUAL" val="0"/>
  <p:tag name="KSO_WM_UNIT_DIAGRAM_ISREFERUNIT" val="0"/>
  <p:tag name="KSO_WM_DIAGRAM_GROUP_CODE" val="l1-1"/>
  <p:tag name="KSO_WM_UNIT_TYPE" val="l_h_i"/>
  <p:tag name="KSO_WM_UNIT_INDEX" val="1_5_1"/>
  <p:tag name="KSO_WM_UNIT_ID" val="diagram20198927_1*l_h_i*1_5_1"/>
  <p:tag name="KSO_WM_TEMPLATE_CATEGORY" val="diagram"/>
  <p:tag name="KSO_WM_TEMPLATE_INDEX" val="20198927"/>
  <p:tag name="KSO_WM_UNIT_LAYERLEVEL" val="1_1_1"/>
  <p:tag name="KSO_WM_TAG_VERSION" val="1.0"/>
  <p:tag name="KSO_WM_BEAUTIFY_FLAG" val="#wm#"/>
  <p:tag name="KSO_WM_UNIT_LINE_FORE_SCHEMECOLOR_INDEX" val="14"/>
  <p:tag name="KSO_WM_UNIT_LINE_FILL_TYPE" val="2"/>
  <p:tag name="KSO_WM_UNIT_USESOURCEFORMAT_APPLY" val="1"/>
</p:tagLst>
</file>

<file path=ppt/tags/tag11.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ISCONTENTSTITLE" val="0"/>
  <p:tag name="KSO_WM_UNIT_NOCLEAR" val="0"/>
  <p:tag name="KSO_WM_UNIT_VALUE" val="4"/>
  <p:tag name="KSO_WM_UNIT_HIGHLIGHT" val="0"/>
  <p:tag name="KSO_WM_UNIT_COMPATIBLE" val="0"/>
  <p:tag name="KSO_WM_UNIT_DIAGRAM_ISNUMVISUAL" val="0"/>
  <p:tag name="KSO_WM_UNIT_DIAGRAM_ISREFERUNIT" val="0"/>
  <p:tag name="KSO_WM_DIAGRAM_GROUP_CODE" val="l1-1"/>
  <p:tag name="KSO_WM_UNIT_TYPE" val="l_h_a"/>
  <p:tag name="KSO_WM_UNIT_INDEX" val="1_1_1"/>
  <p:tag name="KSO_WM_UNIT_ID" val="diagram20198927_1*l_h_a*1_1_1"/>
  <p:tag name="KSO_WM_TEMPLATE_CATEGORY" val="diagram"/>
  <p:tag name="KSO_WM_TEMPLATE_INDEX" val="20198927"/>
  <p:tag name="KSO_WM_UNIT_LAYERLEVEL" val="1_1_1"/>
  <p:tag name="KSO_WM_TAG_VERSION" val="1.0"/>
  <p:tag name="KSO_WM_BEAUTIFY_FLAG" val="#wm#"/>
  <p:tag name="KSO_WM_UNIT_PRESET_TEXT" val="13h"/>
  <p:tag name="KSO_WM_UNIT_TEXT_FILL_FORE_SCHEMECOLOR_INDEX" val="5"/>
  <p:tag name="KSO_WM_UNIT_TEXT_FILL_TYPE" val="1"/>
  <p:tag name="KSO_WM_UNIT_USESOURCEFORMAT_APPLY" val="1"/>
</p:tagLst>
</file>

<file path=ppt/tags/tag12.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ISCONTENTSTITLE" val="0"/>
  <p:tag name="KSO_WM_UNIT_NOCLEAR" val="0"/>
  <p:tag name="KSO_WM_UNIT_VALUE" val="4"/>
  <p:tag name="KSO_WM_UNIT_HIGHLIGHT" val="0"/>
  <p:tag name="KSO_WM_UNIT_COMPATIBLE" val="0"/>
  <p:tag name="KSO_WM_UNIT_DIAGRAM_ISNUMVISUAL" val="0"/>
  <p:tag name="KSO_WM_UNIT_DIAGRAM_ISREFERUNIT" val="0"/>
  <p:tag name="KSO_WM_DIAGRAM_GROUP_CODE" val="l1-1"/>
  <p:tag name="KSO_WM_UNIT_TYPE" val="l_h_a"/>
  <p:tag name="KSO_WM_UNIT_INDEX" val="1_2_1"/>
  <p:tag name="KSO_WM_UNIT_ID" val="diagram20198927_1*l_h_a*1_2_1"/>
  <p:tag name="KSO_WM_TEMPLATE_CATEGORY" val="diagram"/>
  <p:tag name="KSO_WM_TEMPLATE_INDEX" val="20198927"/>
  <p:tag name="KSO_WM_UNIT_LAYERLEVEL" val="1_1_1"/>
  <p:tag name="KSO_WM_TAG_VERSION" val="1.0"/>
  <p:tag name="KSO_WM_BEAUTIFY_FLAG" val="#wm#"/>
  <p:tag name="KSO_WM_UNIT_PRESET_TEXT" val="36h"/>
  <p:tag name="KSO_WM_UNIT_TEXT_FILL_FORE_SCHEMECOLOR_INDEX" val="7"/>
  <p:tag name="KSO_WM_UNIT_TEXT_FILL_TYPE" val="1"/>
  <p:tag name="KSO_WM_UNIT_USESOURCEFORMAT_APPLY" val="1"/>
</p:tagLst>
</file>

<file path=ppt/tags/tag13.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ISCONTENTSTITLE" val="0"/>
  <p:tag name="KSO_WM_UNIT_NOCLEAR" val="0"/>
  <p:tag name="KSO_WM_UNIT_VALUE" val="4"/>
  <p:tag name="KSO_WM_UNIT_HIGHLIGHT" val="0"/>
  <p:tag name="KSO_WM_UNIT_COMPATIBLE" val="0"/>
  <p:tag name="KSO_WM_UNIT_DIAGRAM_ISNUMVISUAL" val="0"/>
  <p:tag name="KSO_WM_UNIT_DIAGRAM_ISREFERUNIT" val="0"/>
  <p:tag name="KSO_WM_DIAGRAM_GROUP_CODE" val="l1-1"/>
  <p:tag name="KSO_WM_UNIT_TYPE" val="l_h_a"/>
  <p:tag name="KSO_WM_UNIT_INDEX" val="1_3_1"/>
  <p:tag name="KSO_WM_UNIT_ID" val="diagram20198927_1*l_h_a*1_3_1"/>
  <p:tag name="KSO_WM_TEMPLATE_CATEGORY" val="diagram"/>
  <p:tag name="KSO_WM_TEMPLATE_INDEX" val="20198927"/>
  <p:tag name="KSO_WM_UNIT_LAYERLEVEL" val="1_1_1"/>
  <p:tag name="KSO_WM_TAG_VERSION" val="1.0"/>
  <p:tag name="KSO_WM_BEAUTIFY_FLAG" val="#wm#"/>
  <p:tag name="KSO_WM_UNIT_PRESET_TEXT" val="68h"/>
  <p:tag name="KSO_WM_UNIT_TEXT_FILL_FORE_SCHEMECOLOR_INDEX" val="9"/>
  <p:tag name="KSO_WM_UNIT_TEXT_FILL_TYPE" val="1"/>
  <p:tag name="KSO_WM_UNIT_USESOURCEFORMAT_APPLY" val="1"/>
</p:tagLst>
</file>

<file path=ppt/tags/tag14.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ISCONTENTSTITLE" val="0"/>
  <p:tag name="KSO_WM_UNIT_NOCLEAR" val="0"/>
  <p:tag name="KSO_WM_UNIT_VALUE" val="4"/>
  <p:tag name="KSO_WM_UNIT_HIGHLIGHT" val="0"/>
  <p:tag name="KSO_WM_UNIT_COMPATIBLE" val="0"/>
  <p:tag name="KSO_WM_UNIT_DIAGRAM_ISNUMVISUAL" val="0"/>
  <p:tag name="KSO_WM_UNIT_DIAGRAM_ISREFERUNIT" val="0"/>
  <p:tag name="KSO_WM_DIAGRAM_GROUP_CODE" val="l1-1"/>
  <p:tag name="KSO_WM_UNIT_TYPE" val="l_h_a"/>
  <p:tag name="KSO_WM_UNIT_INDEX" val="1_4_1"/>
  <p:tag name="KSO_WM_UNIT_ID" val="diagram20198927_1*l_h_a*1_4_1"/>
  <p:tag name="KSO_WM_TEMPLATE_CATEGORY" val="diagram"/>
  <p:tag name="KSO_WM_TEMPLATE_INDEX" val="20198927"/>
  <p:tag name="KSO_WM_UNIT_LAYERLEVEL" val="1_1_1"/>
  <p:tag name="KSO_WM_TAG_VERSION" val="1.0"/>
  <p:tag name="KSO_WM_BEAUTIFY_FLAG" val="#wm#"/>
  <p:tag name="KSO_WM_UNIT_PRESET_TEXT" val="520分"/>
  <p:tag name="KSO_WM_UNIT_TEXT_FILL_FORE_SCHEMECOLOR_INDEX" val="10"/>
  <p:tag name="KSO_WM_UNIT_TEXT_FILL_TYPE" val="1"/>
  <p:tag name="KSO_WM_UNIT_USESOURCEFORMAT_APPLY" val="1"/>
</p:tagLst>
</file>

<file path=ppt/tags/tag15.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ISCONTENTSTITLE" val="0"/>
  <p:tag name="KSO_WM_UNIT_NOCLEAR" val="0"/>
  <p:tag name="KSO_WM_UNIT_VALUE" val="4"/>
  <p:tag name="KSO_WM_UNIT_HIGHLIGHT" val="0"/>
  <p:tag name="KSO_WM_UNIT_COMPATIBLE" val="0"/>
  <p:tag name="KSO_WM_UNIT_DIAGRAM_ISNUMVISUAL" val="0"/>
  <p:tag name="KSO_WM_UNIT_DIAGRAM_ISREFERUNIT" val="0"/>
  <p:tag name="KSO_WM_DIAGRAM_GROUP_CODE" val="l1-1"/>
  <p:tag name="KSO_WM_UNIT_TYPE" val="l_h_a"/>
  <p:tag name="KSO_WM_UNIT_INDEX" val="1_5_1"/>
  <p:tag name="KSO_WM_UNIT_ID" val="diagram20198927_1*l_h_a*1_5_1"/>
  <p:tag name="KSO_WM_TEMPLATE_CATEGORY" val="diagram"/>
  <p:tag name="KSO_WM_TEMPLATE_INDEX" val="20198927"/>
  <p:tag name="KSO_WM_UNIT_LAYERLEVEL" val="1_1_1"/>
  <p:tag name="KSO_WM_TAG_VERSION" val="1.0"/>
  <p:tag name="KSO_WM_BEAUTIFY_FLAG" val="#wm#"/>
  <p:tag name="KSO_WM_UNIT_PRESET_TEXT" val="5万张"/>
  <p:tag name="KSO_WM_UNIT_TEXT_FILL_FORE_SCHEMECOLOR_INDEX" val="8"/>
  <p:tag name="KSO_WM_UNIT_TEXT_FILL_TYPE" val="1"/>
  <p:tag name="KSO_WM_UNIT_USESOURCEFORMAT_APPLY"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NOCLEAR" val="0"/>
  <p:tag name="KSO_WM_UNIT_VALUE" val="6"/>
  <p:tag name="KSO_WM_UNIT_HIGHLIGHT" val="0"/>
  <p:tag name="KSO_WM_UNIT_COMPATIBLE" val="0"/>
  <p:tag name="KSO_WM_UNIT_DIAGRAM_ISNUMVISUAL" val="0"/>
  <p:tag name="KSO_WM_UNIT_DIAGRAM_ISREFERUNIT" val="0"/>
  <p:tag name="KSO_WM_DIAGRAM_GROUP_CODE" val="l1-1"/>
  <p:tag name="KSO_WM_UNIT_TYPE" val="l_h_f"/>
  <p:tag name="KSO_WM_UNIT_INDEX" val="1_2_1"/>
  <p:tag name="KSO_WM_UNIT_ID" val="diagram20198927_1*l_h_f*1_2_1"/>
  <p:tag name="KSO_WM_TEMPLATE_CATEGORY" val="diagram"/>
  <p:tag name="KSO_WM_TEMPLATE_INDEX" val="20198927"/>
  <p:tag name="KSO_WM_UNIT_LAYERLEVEL" val="1_1_1"/>
  <p:tag name="KSO_WM_TAG_VERSION" val="1.0"/>
  <p:tag name="KSO_WM_BEAUTIFY_FLAG" val="#wm#"/>
  <p:tag name="KSO_WM_UNIT_PRESET_TEXT" val="持续通话时间"/>
  <p:tag name="KSO_WM_UNIT_TEXT_FILL_FORE_SCHEMECOLOR_INDEX" val="14"/>
  <p:tag name="KSO_WM_UNIT_TEXT_FILL_TYPE" val="1"/>
  <p:tag name="KSO_WM_UNIT_USESOURCEFORMAT_APPLY" val="1"/>
</p:tagLst>
</file>

<file path=ppt/tags/tag3.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NOCLEAR" val="0"/>
  <p:tag name="KSO_WM_UNIT_VALUE" val="6"/>
  <p:tag name="KSO_WM_UNIT_HIGHLIGHT" val="0"/>
  <p:tag name="KSO_WM_UNIT_COMPATIBLE" val="0"/>
  <p:tag name="KSO_WM_UNIT_DIAGRAM_ISNUMVISUAL" val="0"/>
  <p:tag name="KSO_WM_UNIT_DIAGRAM_ISREFERUNIT" val="0"/>
  <p:tag name="KSO_WM_DIAGRAM_GROUP_CODE" val="l1-1"/>
  <p:tag name="KSO_WM_UNIT_TYPE" val="l_h_f"/>
  <p:tag name="KSO_WM_UNIT_INDEX" val="1_3_1"/>
  <p:tag name="KSO_WM_UNIT_ID" val="diagram20198927_1*l_h_f*1_3_1"/>
  <p:tag name="KSO_WM_TEMPLATE_CATEGORY" val="diagram"/>
  <p:tag name="KSO_WM_TEMPLATE_INDEX" val="20198927"/>
  <p:tag name="KSO_WM_UNIT_LAYERLEVEL" val="1_1_1"/>
  <p:tag name="KSO_WM_TAG_VERSION" val="1.0"/>
  <p:tag name="KSO_WM_BEAUTIFY_FLAG" val="#wm#"/>
  <p:tag name="KSO_WM_UNIT_PRESET_TEXT" val="连续播放音乐"/>
  <p:tag name="KSO_WM_UNIT_TEXT_FILL_FORE_SCHEMECOLOR_INDEX" val="14"/>
  <p:tag name="KSO_WM_UNIT_TEXT_FILL_TYPE" val="1"/>
  <p:tag name="KSO_WM_UNIT_USESOURCEFORMAT_APPLY" val="1"/>
</p:tagLst>
</file>

<file path=ppt/tags/tag4.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NOCLEAR" val="0"/>
  <p:tag name="KSO_WM_UNIT_VALUE" val="6"/>
  <p:tag name="KSO_WM_UNIT_HIGHLIGHT" val="0"/>
  <p:tag name="KSO_WM_UNIT_COMPATIBLE" val="0"/>
  <p:tag name="KSO_WM_UNIT_DIAGRAM_ISNUMVISUAL" val="0"/>
  <p:tag name="KSO_WM_UNIT_DIAGRAM_ISREFERUNIT" val="0"/>
  <p:tag name="KSO_WM_DIAGRAM_GROUP_CODE" val="l1-1"/>
  <p:tag name="KSO_WM_UNIT_TYPE" val="l_h_f"/>
  <p:tag name="KSO_WM_UNIT_INDEX" val="1_4_1"/>
  <p:tag name="KSO_WM_UNIT_ID" val="diagram20198927_1*l_h_f*1_4_1"/>
  <p:tag name="KSO_WM_TEMPLATE_CATEGORY" val="diagram"/>
  <p:tag name="KSO_WM_TEMPLATE_INDEX" val="20198927"/>
  <p:tag name="KSO_WM_UNIT_LAYERLEVEL" val="1_1_1"/>
  <p:tag name="KSO_WM_TAG_VERSION" val="1.0"/>
  <p:tag name="KSO_WM_BEAUTIFY_FLAG" val="#wm#"/>
  <p:tag name="KSO_WM_UNIT_PRESET_TEXT" val="高清视频播放"/>
  <p:tag name="KSO_WM_UNIT_TEXT_FILL_FORE_SCHEMECOLOR_INDEX" val="14"/>
  <p:tag name="KSO_WM_UNIT_TEXT_FILL_TYPE" val="1"/>
  <p:tag name="KSO_WM_UNIT_USESOURCEFORMAT_APPLY" val="1"/>
</p:tagLst>
</file>

<file path=ppt/tags/tag5.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NOCLEAR" val="0"/>
  <p:tag name="KSO_WM_UNIT_VALUE" val="6"/>
  <p:tag name="KSO_WM_UNIT_HIGHLIGHT" val="0"/>
  <p:tag name="KSO_WM_UNIT_COMPATIBLE" val="0"/>
  <p:tag name="KSO_WM_UNIT_DIAGRAM_ISNUMVISUAL" val="0"/>
  <p:tag name="KSO_WM_UNIT_DIAGRAM_ISREFERUNIT" val="0"/>
  <p:tag name="KSO_WM_DIAGRAM_GROUP_CODE" val="l1-1"/>
  <p:tag name="KSO_WM_UNIT_TYPE" val="l_h_f"/>
  <p:tag name="KSO_WM_UNIT_INDEX" val="1_5_1"/>
  <p:tag name="KSO_WM_UNIT_ID" val="diagram20198927_1*l_h_f*1_5_1"/>
  <p:tag name="KSO_WM_TEMPLATE_CATEGORY" val="diagram"/>
  <p:tag name="KSO_WM_TEMPLATE_INDEX" val="20198927"/>
  <p:tag name="KSO_WM_UNIT_LAYERLEVEL" val="1_1_1"/>
  <p:tag name="KSO_WM_TAG_VERSION" val="1.0"/>
  <p:tag name="KSO_WM_BEAUTIFY_FLAG" val="#wm#"/>
  <p:tag name="KSO_WM_UNIT_PRESET_TEXT" val="高清照片浏览"/>
  <p:tag name="KSO_WM_UNIT_TEXT_FILL_FORE_SCHEMECOLOR_INDEX" val="14"/>
  <p:tag name="KSO_WM_UNIT_TEXT_FILL_TYPE" val="1"/>
  <p:tag name="KSO_WM_UNIT_USESOURCEFORMAT_APPLY" val="1"/>
</p:tagLst>
</file>

<file path=ppt/tags/tag6.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NOCLEAR" val="0"/>
  <p:tag name="KSO_WM_UNIT_VALUE" val="6"/>
  <p:tag name="KSO_WM_UNIT_HIGHLIGHT" val="0"/>
  <p:tag name="KSO_WM_UNIT_COMPATIBLE" val="0"/>
  <p:tag name="KSO_WM_UNIT_DIAGRAM_ISNUMVISUAL" val="0"/>
  <p:tag name="KSO_WM_UNIT_DIAGRAM_ISREFERUNIT" val="0"/>
  <p:tag name="KSO_WM_DIAGRAM_GROUP_CODE" val="l1-1"/>
  <p:tag name="KSO_WM_UNIT_TYPE" val="l_h_f"/>
  <p:tag name="KSO_WM_UNIT_INDEX" val="1_1_1"/>
  <p:tag name="KSO_WM_UNIT_ID" val="diagram20198927_1*l_h_f*1_1_1"/>
  <p:tag name="KSO_WM_TEMPLATE_CATEGORY" val="diagram"/>
  <p:tag name="KSO_WM_TEMPLATE_INDEX" val="20198927"/>
  <p:tag name="KSO_WM_UNIT_LAYERLEVEL" val="1_1_1"/>
  <p:tag name="KSO_WM_TAG_VERSION" val="1.0"/>
  <p:tag name="KSO_WM_BEAUTIFY_FLAG" val="#wm#"/>
  <p:tag name="KSO_WM_UNIT_PRESET_TEXT" val="3G浏览时长"/>
  <p:tag name="KSO_WM_UNIT_TEXT_FILL_FORE_SCHEMECOLOR_INDEX" val="14"/>
  <p:tag name="KSO_WM_UNIT_TEXT_FILL_TYPE" val="1"/>
  <p:tag name="KSO_WM_UNIT_USESOURCEFORMAT_APPLY" val="1"/>
</p:tagLst>
</file>

<file path=ppt/tags/tag7.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HIGHLIGHT" val="0"/>
  <p:tag name="KSO_WM_UNIT_COMPATIBLE" val="0"/>
  <p:tag name="KSO_WM_UNIT_DIAGRAM_ISNUMVISUAL" val="0"/>
  <p:tag name="KSO_WM_UNIT_DIAGRAM_ISREFERUNIT" val="0"/>
  <p:tag name="KSO_WM_DIAGRAM_GROUP_CODE" val="l1-1"/>
  <p:tag name="KSO_WM_UNIT_TYPE" val="l_h_i"/>
  <p:tag name="KSO_WM_UNIT_INDEX" val="1_2_1"/>
  <p:tag name="KSO_WM_UNIT_ID" val="diagram20198927_1*l_h_i*1_2_1"/>
  <p:tag name="KSO_WM_TEMPLATE_CATEGORY" val="diagram"/>
  <p:tag name="KSO_WM_TEMPLATE_INDEX" val="20198927"/>
  <p:tag name="KSO_WM_UNIT_LAYERLEVEL" val="1_1_1"/>
  <p:tag name="KSO_WM_TAG_VERSION" val="1.0"/>
  <p:tag name="KSO_WM_BEAUTIFY_FLAG" val="#wm#"/>
  <p:tag name="KSO_WM_UNIT_LINE_FORE_SCHEMECOLOR_INDEX" val="14"/>
  <p:tag name="KSO_WM_UNIT_LINE_FILL_TYPE" val="2"/>
  <p:tag name="KSO_WM_UNIT_USESOURCEFORMAT_APPLY" val="1"/>
</p:tagLst>
</file>

<file path=ppt/tags/tag8.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HIGHLIGHT" val="0"/>
  <p:tag name="KSO_WM_UNIT_COMPATIBLE" val="0"/>
  <p:tag name="KSO_WM_UNIT_DIAGRAM_ISNUMVISUAL" val="0"/>
  <p:tag name="KSO_WM_UNIT_DIAGRAM_ISREFERUNIT" val="0"/>
  <p:tag name="KSO_WM_DIAGRAM_GROUP_CODE" val="l1-1"/>
  <p:tag name="KSO_WM_UNIT_TYPE" val="l_h_i"/>
  <p:tag name="KSO_WM_UNIT_INDEX" val="1_3_1"/>
  <p:tag name="KSO_WM_UNIT_ID" val="diagram20198927_1*l_h_i*1_3_1"/>
  <p:tag name="KSO_WM_TEMPLATE_CATEGORY" val="diagram"/>
  <p:tag name="KSO_WM_TEMPLATE_INDEX" val="20198927"/>
  <p:tag name="KSO_WM_UNIT_LAYERLEVEL" val="1_1_1"/>
  <p:tag name="KSO_WM_TAG_VERSION" val="1.0"/>
  <p:tag name="KSO_WM_BEAUTIFY_FLAG" val="#wm#"/>
  <p:tag name="KSO_WM_UNIT_LINE_FORE_SCHEMECOLOR_INDEX" val="14"/>
  <p:tag name="KSO_WM_UNIT_LINE_FILL_TYPE" val="2"/>
  <p:tag name="KSO_WM_UNIT_USESOURCEFORMAT_APPLY" val="1"/>
</p:tagLst>
</file>

<file path=ppt/tags/tag9.xml><?xml version="1.0" encoding="utf-8"?>
<p:tagLst xmlns:a="http://schemas.openxmlformats.org/drawingml/2006/main" xmlns:r="http://schemas.openxmlformats.org/officeDocument/2006/relationships" xmlns:p="http://schemas.openxmlformats.org/presentationml/2006/main">
  <p:tag name="KSO_WM_UNIT_DIAGRAM_MODELTYPE" val="stripeEnum"/>
  <p:tag name="KSO_WM_UNIT_HIGHLIGHT" val="0"/>
  <p:tag name="KSO_WM_UNIT_COMPATIBLE" val="0"/>
  <p:tag name="KSO_WM_UNIT_DIAGRAM_ISNUMVISUAL" val="0"/>
  <p:tag name="KSO_WM_UNIT_DIAGRAM_ISREFERUNIT" val="0"/>
  <p:tag name="KSO_WM_DIAGRAM_GROUP_CODE" val="l1-1"/>
  <p:tag name="KSO_WM_UNIT_TYPE" val="l_h_i"/>
  <p:tag name="KSO_WM_UNIT_INDEX" val="1_4_1"/>
  <p:tag name="KSO_WM_UNIT_ID" val="diagram20198927_1*l_h_i*1_4_1"/>
  <p:tag name="KSO_WM_TEMPLATE_CATEGORY" val="diagram"/>
  <p:tag name="KSO_WM_TEMPLATE_INDEX" val="20198927"/>
  <p:tag name="KSO_WM_UNIT_LAYERLEVEL" val="1_1_1"/>
  <p:tag name="KSO_WM_TAG_VERSION" val="1.0"/>
  <p:tag name="KSO_WM_BEAUTIFY_FLAG" val="#wm#"/>
  <p:tag name="KSO_WM_UNIT_LINE_FORE_SCHEMECOLOR_INDEX" val="14"/>
  <p:tag name="KSO_WM_UNIT_LINE_FILL_TYPE" val="2"/>
  <p:tag name="KSO_WM_UNIT_USESOURCEFORMAT_APPLY" val="1"/>
</p:tagLst>
</file>

<file path=ppt/theme/theme1.xml><?xml version="1.0" encoding="utf-8"?>
<a:theme xmlns:a="http://schemas.openxmlformats.org/drawingml/2006/main" name="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10.xml><?xml version="1.0" encoding="utf-8"?>
<a:theme xmlns:a="http://schemas.openxmlformats.org/drawingml/2006/main" name="4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11.xml><?xml version="1.0" encoding="utf-8"?>
<a:theme xmlns:a="http://schemas.openxmlformats.org/drawingml/2006/main" name="7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12.xml><?xml version="1.0" encoding="utf-8"?>
<a:theme xmlns:a="http://schemas.openxmlformats.org/drawingml/2006/main" name="11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13.xml><?xml version="1.0" encoding="utf-8"?>
<a:theme xmlns:a="http://schemas.openxmlformats.org/drawingml/2006/main" name="12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14.xml><?xml version="1.0" encoding="utf-8"?>
<a:theme xmlns:a="http://schemas.openxmlformats.org/drawingml/2006/main" name="13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15.xml><?xml version="1.0" encoding="utf-8"?>
<a:theme xmlns:a="http://schemas.openxmlformats.org/drawingml/2006/main" name="14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DengXian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DengXian"/>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5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3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ppt/theme/theme5.xml><?xml version="1.0" encoding="utf-8"?>
<a:theme xmlns:a="http://schemas.openxmlformats.org/drawingml/2006/main" name="6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0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自定义设计方案">
  <a:themeElements>
    <a:clrScheme name="自定义 1">
      <a:dk1>
        <a:sysClr val="windowText" lastClr="000000"/>
      </a:dk1>
      <a:lt1>
        <a:sysClr val="window" lastClr="FFFFFF"/>
      </a:lt1>
      <a:dk2>
        <a:srgbClr val="41615B"/>
      </a:dk2>
      <a:lt2>
        <a:srgbClr val="E7E6E6"/>
      </a:lt2>
      <a:accent1>
        <a:srgbClr val="26AB8E"/>
      </a:accent1>
      <a:accent2>
        <a:srgbClr val="ED7D31"/>
      </a:accent2>
      <a:accent3>
        <a:srgbClr val="F2F2F2"/>
      </a:accent3>
      <a:accent4>
        <a:srgbClr val="FFC000"/>
      </a:accent4>
      <a:accent5>
        <a:srgbClr val="6F3B55"/>
      </a:accent5>
      <a:accent6>
        <a:srgbClr val="85C0FB"/>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0C0"/>
        </a:solidFill>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91</TotalTime>
  <Words>1603</Words>
  <Application>Microsoft Office PowerPoint</Application>
  <PresentationFormat>自定义</PresentationFormat>
  <Paragraphs>380</Paragraphs>
  <Slides>14</Slides>
  <Notes>2</Notes>
  <HiddenSlides>0</HiddenSlides>
  <MMClips>0</MMClips>
  <ScaleCrop>false</ScaleCrop>
  <HeadingPairs>
    <vt:vector size="6" baseType="variant">
      <vt:variant>
        <vt:lpstr>已用的字体</vt:lpstr>
      </vt:variant>
      <vt:variant>
        <vt:i4>15</vt:i4>
      </vt:variant>
      <vt:variant>
        <vt:lpstr>主题</vt:lpstr>
      </vt:variant>
      <vt:variant>
        <vt:i4>15</vt:i4>
      </vt:variant>
      <vt:variant>
        <vt:lpstr>幻灯片标题</vt:lpstr>
      </vt:variant>
      <vt:variant>
        <vt:i4>14</vt:i4>
      </vt:variant>
    </vt:vector>
  </HeadingPairs>
  <TitlesOfParts>
    <vt:vector size="44" baseType="lpstr">
      <vt:lpstr>Huawei Sans</vt:lpstr>
      <vt:lpstr>Microsoft YaHei UI Light</vt:lpstr>
      <vt:lpstr>MS PGothic</vt:lpstr>
      <vt:lpstr>SF Orson Casual Heavy</vt:lpstr>
      <vt:lpstr>DengXian</vt:lpstr>
      <vt:lpstr>DengXian</vt:lpstr>
      <vt:lpstr>宋体</vt:lpstr>
      <vt:lpstr>微软雅黑</vt:lpstr>
      <vt:lpstr>Arial</vt:lpstr>
      <vt:lpstr>Calibri</vt:lpstr>
      <vt:lpstr>Calibri Light</vt:lpstr>
      <vt:lpstr>Segoe UI</vt:lpstr>
      <vt:lpstr>Segoe UI Light</vt:lpstr>
      <vt:lpstr>Segoe UI Semibold</vt:lpstr>
      <vt:lpstr>Wingdings</vt:lpstr>
      <vt:lpstr>自定义设计方案</vt:lpstr>
      <vt:lpstr>1_自定义设计方案</vt:lpstr>
      <vt:lpstr>5_自定义设计方案</vt:lpstr>
      <vt:lpstr>3_自定义设计方案</vt:lpstr>
      <vt:lpstr>6_自定义设计方案</vt:lpstr>
      <vt:lpstr>10_自定义设计方案</vt:lpstr>
      <vt:lpstr>8_自定义设计方案</vt:lpstr>
      <vt:lpstr>9_自定义设计方案</vt:lpstr>
      <vt:lpstr>2_自定义设计方案</vt:lpstr>
      <vt:lpstr>4_自定义设计方案</vt:lpstr>
      <vt:lpstr>7_自定义设计方案</vt:lpstr>
      <vt:lpstr>11_自定义设计方案</vt:lpstr>
      <vt:lpstr>12_自定义设计方案</vt:lpstr>
      <vt:lpstr>13_自定义设计方案</vt:lpstr>
      <vt:lpstr>14_自定义设计方案</vt:lpstr>
      <vt:lpstr>中软国际智慧园区 咨询服务使用指南</vt:lpstr>
      <vt:lpstr>中软国际简介</vt:lpstr>
      <vt:lpstr>全球客户分布</vt:lpstr>
      <vt:lpstr>重点行业客户</vt:lpstr>
      <vt:lpstr>传统园区发展痛点</vt:lpstr>
      <vt:lpstr>园区转型升级要求</vt:lpstr>
      <vt:lpstr>智慧园区发展路径</vt:lpstr>
      <vt:lpstr>智慧园区技术支撑</vt:lpstr>
      <vt:lpstr>智慧园区建设流程</vt:lpstr>
      <vt:lpstr>智慧园区咨询服务</vt:lpstr>
      <vt:lpstr>咨询服务体系架构</vt:lpstr>
      <vt:lpstr>智慧园区典型案例</vt:lpstr>
      <vt:lpstr>华为严选操作步骤</vt:lpstr>
      <vt:lpstr>PowerPoint 演示文稿</vt:lpstr>
    </vt:vector>
  </TitlesOfParts>
  <Company>Chinasoft Internation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XX解决方案 高层主打胶片</dc:title>
  <dc:subject>上市资料模板</dc:subject>
  <dc:creator>王四海</dc:creator>
  <cp:lastModifiedBy>shooterqin</cp:lastModifiedBy>
  <cp:revision>172</cp:revision>
  <cp:lastPrinted>2019-03-19T09:42:00Z</cp:lastPrinted>
  <dcterms:created xsi:type="dcterms:W3CDTF">2018-08-08T19:00:00Z</dcterms:created>
  <dcterms:modified xsi:type="dcterms:W3CDTF">2021-10-18T03:30:07Z</dcterms:modified>
  <dc:language>中文</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12ad69f-4850-464b-9f29-c492bafb7623_Enabled">
    <vt:lpwstr>True</vt:lpwstr>
  </property>
  <property fmtid="{D5CDD505-2E9C-101B-9397-08002B2CF9AE}" pid="3" name="MSIP_Label_d12ad69f-4850-464b-9f29-c492bafb7623_SiteId">
    <vt:lpwstr>d0659de2-684e-49bd-9b1f-1fd4cd0942d9</vt:lpwstr>
  </property>
  <property fmtid="{D5CDD505-2E9C-101B-9397-08002B2CF9AE}" pid="4" name="MSIP_Label_d12ad69f-4850-464b-9f29-c492bafb7623_Owner">
    <vt:lpwstr>frank.waung@catapultsystems.com</vt:lpwstr>
  </property>
  <property fmtid="{D5CDD505-2E9C-101B-9397-08002B2CF9AE}" pid="5" name="MSIP_Label_d12ad69f-4850-464b-9f29-c492bafb7623_SetDate">
    <vt:lpwstr>2018-08-28T16:43:46.3201660Z</vt:lpwstr>
  </property>
  <property fmtid="{D5CDD505-2E9C-101B-9397-08002B2CF9AE}" pid="6" name="MSIP_Label_d12ad69f-4850-464b-9f29-c492bafb7623_Name">
    <vt:lpwstr>Sensitive (General Business)</vt:lpwstr>
  </property>
  <property fmtid="{D5CDD505-2E9C-101B-9397-08002B2CF9AE}" pid="7" name="MSIP_Label_d12ad69f-4850-464b-9f29-c492bafb7623_Application">
    <vt:lpwstr>Microsoft Azure Information Protection</vt:lpwstr>
  </property>
  <property fmtid="{D5CDD505-2E9C-101B-9397-08002B2CF9AE}" pid="8" name="MSIP_Label_d12ad69f-4850-464b-9f29-c492bafb7623_Extended_MSFT_Method">
    <vt:lpwstr>Automatic</vt:lpwstr>
  </property>
  <property fmtid="{D5CDD505-2E9C-101B-9397-08002B2CF9AE}" pid="9" name="Sensitivity">
    <vt:lpwstr>Sensitive (General Business)</vt:lpwstr>
  </property>
  <property fmtid="{D5CDD505-2E9C-101B-9397-08002B2CF9AE}" pid="10" name="ContentTypeId">
    <vt:lpwstr>0x010100E77ED5CE83F20546A6591AB8165221C1</vt:lpwstr>
  </property>
  <property fmtid="{D5CDD505-2E9C-101B-9397-08002B2CF9AE}" pid="11" name="KSOProductBuildVer">
    <vt:lpwstr>2052-11.1.0.8976</vt:lpwstr>
  </property>
</Properties>
</file>